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4"/>
  </p:sldMasterIdLst>
  <p:notesMasterIdLst>
    <p:notesMasterId r:id="rId58"/>
  </p:notesMasterIdLst>
  <p:handoutMasterIdLst>
    <p:handoutMasterId r:id="rId59"/>
  </p:handoutMasterIdLst>
  <p:sldIdLst>
    <p:sldId id="1286" r:id="rId5"/>
    <p:sldId id="4061" r:id="rId6"/>
    <p:sldId id="1152" r:id="rId7"/>
    <p:sldId id="4062" r:id="rId8"/>
    <p:sldId id="4066" r:id="rId9"/>
    <p:sldId id="4067" r:id="rId10"/>
    <p:sldId id="4068" r:id="rId11"/>
    <p:sldId id="1196" r:id="rId12"/>
    <p:sldId id="1022" r:id="rId13"/>
    <p:sldId id="1155" r:id="rId14"/>
    <p:sldId id="1221" r:id="rId15"/>
    <p:sldId id="4064" r:id="rId16"/>
    <p:sldId id="965" r:id="rId17"/>
    <p:sldId id="1128" r:id="rId18"/>
    <p:sldId id="1165" r:id="rId19"/>
    <p:sldId id="1195" r:id="rId20"/>
    <p:sldId id="1285" r:id="rId21"/>
    <p:sldId id="1255" r:id="rId22"/>
    <p:sldId id="974" r:id="rId23"/>
    <p:sldId id="973" r:id="rId24"/>
    <p:sldId id="4069" r:id="rId25"/>
    <p:sldId id="1192" r:id="rId26"/>
    <p:sldId id="1208" r:id="rId27"/>
    <p:sldId id="1143" r:id="rId28"/>
    <p:sldId id="1182" r:id="rId29"/>
    <p:sldId id="1149" r:id="rId30"/>
    <p:sldId id="1062" r:id="rId31"/>
    <p:sldId id="1054" r:id="rId32"/>
    <p:sldId id="1281" r:id="rId33"/>
    <p:sldId id="1282" r:id="rId34"/>
    <p:sldId id="4070" r:id="rId35"/>
    <p:sldId id="956" r:id="rId36"/>
    <p:sldId id="958" r:id="rId37"/>
    <p:sldId id="954" r:id="rId38"/>
    <p:sldId id="957" r:id="rId39"/>
    <p:sldId id="1026" r:id="rId40"/>
    <p:sldId id="1086" r:id="rId41"/>
    <p:sldId id="1227" r:id="rId42"/>
    <p:sldId id="1228" r:id="rId43"/>
    <p:sldId id="1223" r:id="rId44"/>
    <p:sldId id="1106" r:id="rId45"/>
    <p:sldId id="1197" r:id="rId46"/>
    <p:sldId id="951" r:id="rId47"/>
    <p:sldId id="952" r:id="rId48"/>
    <p:sldId id="1006" r:id="rId49"/>
    <p:sldId id="1007" r:id="rId50"/>
    <p:sldId id="953" r:id="rId51"/>
    <p:sldId id="1005" r:id="rId52"/>
    <p:sldId id="649" r:id="rId53"/>
    <p:sldId id="650" r:id="rId54"/>
    <p:sldId id="651" r:id="rId55"/>
    <p:sldId id="652" r:id="rId56"/>
    <p:sldId id="4060" r:id="rId57"/>
  </p:sldIdLst>
  <p:sldSz cx="9144000" cy="5143500" type="screen16x9"/>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olKit" id="{F7ECC599-F0F9-48B0-A7A8-BF9F0A801523}">
          <p14:sldIdLst>
            <p14:sldId id="1286"/>
            <p14:sldId id="4061"/>
            <p14:sldId id="1152"/>
            <p14:sldId id="4062"/>
            <p14:sldId id="4066"/>
            <p14:sldId id="4067"/>
            <p14:sldId id="4068"/>
            <p14:sldId id="1196"/>
            <p14:sldId id="1022"/>
            <p14:sldId id="1155"/>
            <p14:sldId id="1221"/>
            <p14:sldId id="4064"/>
            <p14:sldId id="965"/>
            <p14:sldId id="1128"/>
            <p14:sldId id="1165"/>
            <p14:sldId id="1195"/>
            <p14:sldId id="1285"/>
            <p14:sldId id="1255"/>
            <p14:sldId id="974"/>
            <p14:sldId id="973"/>
            <p14:sldId id="4069"/>
            <p14:sldId id="1192"/>
            <p14:sldId id="1208"/>
            <p14:sldId id="1143"/>
            <p14:sldId id="1182"/>
            <p14:sldId id="1149"/>
            <p14:sldId id="1062"/>
            <p14:sldId id="1054"/>
            <p14:sldId id="1281"/>
            <p14:sldId id="1282"/>
            <p14:sldId id="4070"/>
            <p14:sldId id="956"/>
            <p14:sldId id="958"/>
            <p14:sldId id="954"/>
            <p14:sldId id="957"/>
            <p14:sldId id="1026"/>
            <p14:sldId id="1086"/>
            <p14:sldId id="1227"/>
            <p14:sldId id="1228"/>
            <p14:sldId id="1223"/>
            <p14:sldId id="1106"/>
            <p14:sldId id="1197"/>
            <p14:sldId id="951"/>
            <p14:sldId id="952"/>
            <p14:sldId id="1006"/>
            <p14:sldId id="1007"/>
            <p14:sldId id="953"/>
            <p14:sldId id="1005"/>
          </p14:sldIdLst>
        </p14:section>
        <p14:section name="Icons" id="{C616A5A7-4E9F-49AB-BC87-6E1382E07680}">
          <p14:sldIdLst>
            <p14:sldId id="649"/>
            <p14:sldId id="650"/>
            <p14:sldId id="651"/>
            <p14:sldId id="652"/>
          </p14:sldIdLst>
        </p14:section>
        <p14:section name="Maps" id="{6FEFED9F-E0D9-8848-AF76-A5D31F8B4F91}">
          <p14:sldIdLst>
            <p14:sldId id="4060"/>
          </p14:sldIdLst>
        </p14:section>
      </p14:sectionLst>
    </p:ext>
    <p:ext uri="{EFAFB233-063F-42B5-8137-9DF3F51BA10A}">
      <p15:sldGuideLst xmlns:p15="http://schemas.microsoft.com/office/powerpoint/2012/main">
        <p15:guide id="8" pos="2880" userDrawn="1">
          <p15:clr>
            <a:srgbClr val="A4A3A4"/>
          </p15:clr>
        </p15:guide>
        <p15:guide id="9" orient="horz" pos="1476" userDrawn="1">
          <p15:clr>
            <a:srgbClr val="A4A3A4"/>
          </p15:clr>
        </p15:guide>
        <p15:guide id="10" pos="4224" userDrawn="1">
          <p15:clr>
            <a:srgbClr val="A4A3A4"/>
          </p15:clr>
        </p15:guide>
        <p15:guide id="11" pos="1536" userDrawn="1">
          <p15:clr>
            <a:srgbClr val="A4A3A4"/>
          </p15:clr>
        </p15:guide>
        <p15:guide id="12" orient="horz" pos="1764"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1D28"/>
    <a:srgbClr val="2B6FAB"/>
    <a:srgbClr val="7BAEDD"/>
    <a:srgbClr val="FB7264"/>
    <a:srgbClr val="EDBD97"/>
    <a:srgbClr val="A5A5A5"/>
    <a:srgbClr val="427F64"/>
    <a:srgbClr val="48457E"/>
    <a:srgbClr val="B0BBB9"/>
    <a:srgbClr val="62A1D7"/>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41DF7D-D390-9841-8948-15F94F39FE01}" v="2" dt="2025-04-16T12:11:49.227"/>
    <p1510:client id="{64B71BCA-0D2E-4AA0-A0BA-49CD56CC12A3}" v="166" dt="2025-04-16T14:17:37.147"/>
    <p1510:client id="{65986EBE-C608-4435-8939-DA951178F7CC}" v="1" dt="2025-04-15T20:50:39.573"/>
    <p1510:client id="{C02270BC-634B-7400-47EC-3C3B731667A0}" v="2" dt="2025-04-15T20:56:48.2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2880"/>
        <p:guide orient="horz" pos="1476"/>
        <p:guide pos="4224"/>
        <p:guide pos="1536"/>
        <p:guide orient="horz" pos="1764"/>
      </p:guideLst>
    </p:cSldViewPr>
  </p:slideViewPr>
  <p:notesViewPr>
    <p:cSldViewPr snapToGrid="0">
      <p:cViewPr>
        <p:scale>
          <a:sx n="1" d="2"/>
          <a:sy n="1" d="2"/>
        </p:scale>
        <p:origin x="0" y="0"/>
      </p:cViewPr>
      <p:guideLst>
        <p:guide orient="horz" pos="2924"/>
        <p:guide pos="220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thony Abi Badra" userId="d4490163-8ca2-4abe-ad38-3d70c5b7f8dc" providerId="ADAL" clId="{4A41DF7D-D390-9841-8948-15F94F39FE01}"/>
    <pc:docChg chg="modSld">
      <pc:chgData name="Anthony Abi Badra" userId="d4490163-8ca2-4abe-ad38-3d70c5b7f8dc" providerId="ADAL" clId="{4A41DF7D-D390-9841-8948-15F94F39FE01}" dt="2025-04-16T12:11:49.226" v="1" actId="767"/>
      <pc:docMkLst>
        <pc:docMk/>
      </pc:docMkLst>
      <pc:sldChg chg="addSp modSp">
        <pc:chgData name="Anthony Abi Badra" userId="d4490163-8ca2-4abe-ad38-3d70c5b7f8dc" providerId="ADAL" clId="{4A41DF7D-D390-9841-8948-15F94F39FE01}" dt="2025-04-16T12:11:49.226" v="1" actId="767"/>
        <pc:sldMkLst>
          <pc:docMk/>
          <pc:sldMk cId="1104652478" sldId="1221"/>
        </pc:sldMkLst>
        <pc:spChg chg="add mod">
          <ac:chgData name="Anthony Abi Badra" userId="d4490163-8ca2-4abe-ad38-3d70c5b7f8dc" providerId="ADAL" clId="{4A41DF7D-D390-9841-8948-15F94F39FE01}" dt="2025-04-16T12:11:48.235" v="0" actId="767"/>
          <ac:spMkLst>
            <pc:docMk/>
            <pc:sldMk cId="1104652478" sldId="1221"/>
            <ac:spMk id="2" creationId="{2E01FC30-8BB6-7CB0-23A9-E8E60D478E9B}"/>
          </ac:spMkLst>
        </pc:spChg>
        <pc:spChg chg="add mod">
          <ac:chgData name="Anthony Abi Badra" userId="d4490163-8ca2-4abe-ad38-3d70c5b7f8dc" providerId="ADAL" clId="{4A41DF7D-D390-9841-8948-15F94F39FE01}" dt="2025-04-16T12:11:49.226" v="1" actId="767"/>
          <ac:spMkLst>
            <pc:docMk/>
            <pc:sldMk cId="1104652478" sldId="1221"/>
            <ac:spMk id="3" creationId="{CF262A74-6E48-D96E-ACBB-2B110BD6D1B3}"/>
          </ac:spMkLst>
        </pc:spChg>
      </pc:sldChg>
    </pc:docChg>
  </pc:docChgLst>
  <pc:docChgLst>
    <pc:chgData name="Janeen Schuh" userId="b333c9bc-995f-4e7b-84e7-0f7883b0e6ca" providerId="ADAL" clId="{64B71BCA-0D2E-4AA0-A0BA-49CD56CC12A3}"/>
    <pc:docChg chg="undo custSel modSld modMainMaster">
      <pc:chgData name="Janeen Schuh" userId="b333c9bc-995f-4e7b-84e7-0f7883b0e6ca" providerId="ADAL" clId="{64B71BCA-0D2E-4AA0-A0BA-49CD56CC12A3}" dt="2025-04-16T14:17:37.147" v="165" actId="1076"/>
      <pc:docMkLst>
        <pc:docMk/>
      </pc:docMkLst>
      <pc:sldChg chg="addSp delSp modSp mod">
        <pc:chgData name="Janeen Schuh" userId="b333c9bc-995f-4e7b-84e7-0f7883b0e6ca" providerId="ADAL" clId="{64B71BCA-0D2E-4AA0-A0BA-49CD56CC12A3}" dt="2025-04-15T21:02:56.160" v="31" actId="1076"/>
        <pc:sldMkLst>
          <pc:docMk/>
          <pc:sldMk cId="2856832" sldId="1286"/>
        </pc:sldMkLst>
        <pc:picChg chg="add mod">
          <ac:chgData name="Janeen Schuh" userId="b333c9bc-995f-4e7b-84e7-0f7883b0e6ca" providerId="ADAL" clId="{64B71BCA-0D2E-4AA0-A0BA-49CD56CC12A3}" dt="2025-04-15T21:02:56.160" v="31" actId="1076"/>
          <ac:picMkLst>
            <pc:docMk/>
            <pc:sldMk cId="2856832" sldId="1286"/>
            <ac:picMk id="14" creationId="{234AD2CA-7058-02EE-0319-E7DD69AE66C9}"/>
          </ac:picMkLst>
        </pc:picChg>
        <pc:picChg chg="del">
          <ac:chgData name="Janeen Schuh" userId="b333c9bc-995f-4e7b-84e7-0f7883b0e6ca" providerId="ADAL" clId="{64B71BCA-0D2E-4AA0-A0BA-49CD56CC12A3}" dt="2025-04-15T21:02:53.690" v="30" actId="478"/>
          <ac:picMkLst>
            <pc:docMk/>
            <pc:sldMk cId="2856832" sldId="1286"/>
            <ac:picMk id="19" creationId="{8C8F792B-D631-0425-0801-8A3CF4D398F0}"/>
          </ac:picMkLst>
        </pc:picChg>
      </pc:sldChg>
      <pc:sldMasterChg chg="modSldLayout">
        <pc:chgData name="Janeen Schuh" userId="b333c9bc-995f-4e7b-84e7-0f7883b0e6ca" providerId="ADAL" clId="{64B71BCA-0D2E-4AA0-A0BA-49CD56CC12A3}" dt="2025-04-16T14:17:37.147" v="165" actId="1076"/>
        <pc:sldMasterMkLst>
          <pc:docMk/>
          <pc:sldMasterMk cId="2393987413" sldId="2147483728"/>
        </pc:sldMasterMkLst>
        <pc:sldLayoutChg chg="addSp delSp modSp mod">
          <pc:chgData name="Janeen Schuh" userId="b333c9bc-995f-4e7b-84e7-0f7883b0e6ca" providerId="ADAL" clId="{64B71BCA-0D2E-4AA0-A0BA-49CD56CC12A3}" dt="2025-04-15T21:05:14.858" v="73"/>
          <pc:sldLayoutMkLst>
            <pc:docMk/>
            <pc:sldMasterMk cId="2393987413" sldId="2147483728"/>
            <pc:sldLayoutMk cId="3666952286" sldId="2147483965"/>
          </pc:sldLayoutMkLst>
          <pc:picChg chg="del">
            <ac:chgData name="Janeen Schuh" userId="b333c9bc-995f-4e7b-84e7-0f7883b0e6ca" providerId="ADAL" clId="{64B71BCA-0D2E-4AA0-A0BA-49CD56CC12A3}" dt="2025-04-15T21:05:13.866" v="72" actId="478"/>
            <ac:picMkLst>
              <pc:docMk/>
              <pc:sldMasterMk cId="2393987413" sldId="2147483728"/>
              <pc:sldLayoutMk cId="3666952286" sldId="2147483965"/>
              <ac:picMk id="2" creationId="{C1DF2D9C-3DBA-0413-C0C6-0A1579AE4FD2}"/>
            </ac:picMkLst>
          </pc:picChg>
          <pc:picChg chg="add mod">
            <ac:chgData name="Janeen Schuh" userId="b333c9bc-995f-4e7b-84e7-0f7883b0e6ca" providerId="ADAL" clId="{64B71BCA-0D2E-4AA0-A0BA-49CD56CC12A3}" dt="2025-04-15T21:05:14.858" v="73"/>
            <ac:picMkLst>
              <pc:docMk/>
              <pc:sldMasterMk cId="2393987413" sldId="2147483728"/>
              <pc:sldLayoutMk cId="3666952286" sldId="2147483965"/>
              <ac:picMk id="7" creationId="{62EF78F6-3F8F-5671-FC3B-7B22663B0093}"/>
            </ac:picMkLst>
          </pc:picChg>
        </pc:sldLayoutChg>
        <pc:sldLayoutChg chg="addSp delSp modSp mod">
          <pc:chgData name="Janeen Schuh" userId="b333c9bc-995f-4e7b-84e7-0f7883b0e6ca" providerId="ADAL" clId="{64B71BCA-0D2E-4AA0-A0BA-49CD56CC12A3}" dt="2025-04-15T21:05:59.726" v="93"/>
          <pc:sldLayoutMkLst>
            <pc:docMk/>
            <pc:sldMasterMk cId="2393987413" sldId="2147483728"/>
            <pc:sldLayoutMk cId="3805140041" sldId="2147483967"/>
          </pc:sldLayoutMkLst>
          <pc:picChg chg="add mod">
            <ac:chgData name="Janeen Schuh" userId="b333c9bc-995f-4e7b-84e7-0f7883b0e6ca" providerId="ADAL" clId="{64B71BCA-0D2E-4AA0-A0BA-49CD56CC12A3}" dt="2025-04-15T21:05:59.726" v="93"/>
            <ac:picMkLst>
              <pc:docMk/>
              <pc:sldMasterMk cId="2393987413" sldId="2147483728"/>
              <pc:sldLayoutMk cId="3805140041" sldId="2147483967"/>
              <ac:picMk id="2" creationId="{4F77462C-6ADC-2BDB-02CB-A6EF10897D26}"/>
            </ac:picMkLst>
          </pc:picChg>
          <pc:picChg chg="del">
            <ac:chgData name="Janeen Schuh" userId="b333c9bc-995f-4e7b-84e7-0f7883b0e6ca" providerId="ADAL" clId="{64B71BCA-0D2E-4AA0-A0BA-49CD56CC12A3}" dt="2025-04-15T21:05:58.468" v="92" actId="478"/>
            <ac:picMkLst>
              <pc:docMk/>
              <pc:sldMasterMk cId="2393987413" sldId="2147483728"/>
              <pc:sldLayoutMk cId="3805140041" sldId="2147483967"/>
              <ac:picMk id="3" creationId="{5099C8B4-735F-FFE6-5262-4B0D75512B13}"/>
            </ac:picMkLst>
          </pc:picChg>
        </pc:sldLayoutChg>
        <pc:sldLayoutChg chg="addSp delSp modSp mod">
          <pc:chgData name="Janeen Schuh" userId="b333c9bc-995f-4e7b-84e7-0f7883b0e6ca" providerId="ADAL" clId="{64B71BCA-0D2E-4AA0-A0BA-49CD56CC12A3}" dt="2025-04-15T21:06:37.086" v="111"/>
          <pc:sldLayoutMkLst>
            <pc:docMk/>
            <pc:sldMasterMk cId="2393987413" sldId="2147483728"/>
            <pc:sldLayoutMk cId="794883397" sldId="2147483986"/>
          </pc:sldLayoutMkLst>
          <pc:picChg chg="add mod">
            <ac:chgData name="Janeen Schuh" userId="b333c9bc-995f-4e7b-84e7-0f7883b0e6ca" providerId="ADAL" clId="{64B71BCA-0D2E-4AA0-A0BA-49CD56CC12A3}" dt="2025-04-15T21:06:37.086" v="111"/>
            <ac:picMkLst>
              <pc:docMk/>
              <pc:sldMasterMk cId="2393987413" sldId="2147483728"/>
              <pc:sldLayoutMk cId="794883397" sldId="2147483986"/>
              <ac:picMk id="2" creationId="{4F2B261B-F06F-3DAA-2436-D61DA35CA6FC}"/>
            </ac:picMkLst>
          </pc:picChg>
          <pc:picChg chg="del">
            <ac:chgData name="Janeen Schuh" userId="b333c9bc-995f-4e7b-84e7-0f7883b0e6ca" providerId="ADAL" clId="{64B71BCA-0D2E-4AA0-A0BA-49CD56CC12A3}" dt="2025-04-15T21:06:36.090" v="110" actId="478"/>
            <ac:picMkLst>
              <pc:docMk/>
              <pc:sldMasterMk cId="2393987413" sldId="2147483728"/>
              <pc:sldLayoutMk cId="794883397" sldId="2147483986"/>
              <ac:picMk id="3" creationId="{F0517487-A8F8-053C-6693-C2EB8FC047E6}"/>
            </ac:picMkLst>
          </pc:picChg>
        </pc:sldLayoutChg>
        <pc:sldLayoutChg chg="addSp delSp modSp mod">
          <pc:chgData name="Janeen Schuh" userId="b333c9bc-995f-4e7b-84e7-0f7883b0e6ca" providerId="ADAL" clId="{64B71BCA-0D2E-4AA0-A0BA-49CD56CC12A3}" dt="2025-04-15T21:06:04.787" v="95"/>
          <pc:sldLayoutMkLst>
            <pc:docMk/>
            <pc:sldMasterMk cId="2393987413" sldId="2147483728"/>
            <pc:sldLayoutMk cId="1283454048" sldId="2147483990"/>
          </pc:sldLayoutMkLst>
          <pc:picChg chg="del">
            <ac:chgData name="Janeen Schuh" userId="b333c9bc-995f-4e7b-84e7-0f7883b0e6ca" providerId="ADAL" clId="{64B71BCA-0D2E-4AA0-A0BA-49CD56CC12A3}" dt="2025-04-15T21:06:03.696" v="94" actId="478"/>
            <ac:picMkLst>
              <pc:docMk/>
              <pc:sldMasterMk cId="2393987413" sldId="2147483728"/>
              <pc:sldLayoutMk cId="1283454048" sldId="2147483990"/>
              <ac:picMk id="2" creationId="{00329E15-0745-A0E2-AECB-97C5852E54F1}"/>
            </ac:picMkLst>
          </pc:picChg>
          <pc:picChg chg="add mod">
            <ac:chgData name="Janeen Schuh" userId="b333c9bc-995f-4e7b-84e7-0f7883b0e6ca" providerId="ADAL" clId="{64B71BCA-0D2E-4AA0-A0BA-49CD56CC12A3}" dt="2025-04-15T21:06:04.787" v="95"/>
            <ac:picMkLst>
              <pc:docMk/>
              <pc:sldMasterMk cId="2393987413" sldId="2147483728"/>
              <pc:sldLayoutMk cId="1283454048" sldId="2147483990"/>
              <ac:picMk id="6" creationId="{977738B2-B01A-1C16-92B3-974FD7948502}"/>
            </ac:picMkLst>
          </pc:picChg>
        </pc:sldLayoutChg>
        <pc:sldLayoutChg chg="addSp delSp modSp mod">
          <pc:chgData name="Janeen Schuh" userId="b333c9bc-995f-4e7b-84e7-0f7883b0e6ca" providerId="ADAL" clId="{64B71BCA-0D2E-4AA0-A0BA-49CD56CC12A3}" dt="2025-04-15T21:08:08.894" v="146"/>
          <pc:sldLayoutMkLst>
            <pc:docMk/>
            <pc:sldMasterMk cId="2393987413" sldId="2147483728"/>
            <pc:sldLayoutMk cId="3785801552" sldId="2147483994"/>
          </pc:sldLayoutMkLst>
          <pc:picChg chg="add mod">
            <ac:chgData name="Janeen Schuh" userId="b333c9bc-995f-4e7b-84e7-0f7883b0e6ca" providerId="ADAL" clId="{64B71BCA-0D2E-4AA0-A0BA-49CD56CC12A3}" dt="2025-04-15T21:08:08.894" v="146"/>
            <ac:picMkLst>
              <pc:docMk/>
              <pc:sldMasterMk cId="2393987413" sldId="2147483728"/>
              <pc:sldLayoutMk cId="3785801552" sldId="2147483994"/>
              <ac:picMk id="2" creationId="{01D59B7D-4425-FFC8-7808-3E3960DE4A5B}"/>
            </ac:picMkLst>
          </pc:picChg>
          <pc:picChg chg="del">
            <ac:chgData name="Janeen Schuh" userId="b333c9bc-995f-4e7b-84e7-0f7883b0e6ca" providerId="ADAL" clId="{64B71BCA-0D2E-4AA0-A0BA-49CD56CC12A3}" dt="2025-04-15T21:08:07.704" v="145" actId="478"/>
            <ac:picMkLst>
              <pc:docMk/>
              <pc:sldMasterMk cId="2393987413" sldId="2147483728"/>
              <pc:sldLayoutMk cId="3785801552" sldId="2147483994"/>
              <ac:picMk id="9" creationId="{0EC1FA5C-9EEB-B4DC-FD4D-993CFAD87906}"/>
            </ac:picMkLst>
          </pc:picChg>
        </pc:sldLayoutChg>
        <pc:sldLayoutChg chg="addSp delSp modSp mod">
          <pc:chgData name="Janeen Schuh" userId="b333c9bc-995f-4e7b-84e7-0f7883b0e6ca" providerId="ADAL" clId="{64B71BCA-0D2E-4AA0-A0BA-49CD56CC12A3}" dt="2025-04-15T21:04:56.800" v="63"/>
          <pc:sldLayoutMkLst>
            <pc:docMk/>
            <pc:sldMasterMk cId="2393987413" sldId="2147483728"/>
            <pc:sldLayoutMk cId="3684236284" sldId="2147484000"/>
          </pc:sldLayoutMkLst>
          <pc:picChg chg="add mod">
            <ac:chgData name="Janeen Schuh" userId="b333c9bc-995f-4e7b-84e7-0f7883b0e6ca" providerId="ADAL" clId="{64B71BCA-0D2E-4AA0-A0BA-49CD56CC12A3}" dt="2025-04-15T21:04:56.800" v="63"/>
            <ac:picMkLst>
              <pc:docMk/>
              <pc:sldMasterMk cId="2393987413" sldId="2147483728"/>
              <pc:sldLayoutMk cId="3684236284" sldId="2147484000"/>
              <ac:picMk id="2" creationId="{A4E6B534-5C65-D22E-4D2C-9AC20C7DA7BA}"/>
            </ac:picMkLst>
          </pc:picChg>
          <pc:picChg chg="del">
            <ac:chgData name="Janeen Schuh" userId="b333c9bc-995f-4e7b-84e7-0f7883b0e6ca" providerId="ADAL" clId="{64B71BCA-0D2E-4AA0-A0BA-49CD56CC12A3}" dt="2025-04-15T21:04:55.809" v="62" actId="478"/>
            <ac:picMkLst>
              <pc:docMk/>
              <pc:sldMasterMk cId="2393987413" sldId="2147483728"/>
              <pc:sldLayoutMk cId="3684236284" sldId="2147484000"/>
              <ac:picMk id="8" creationId="{E3923CD4-0298-A1C9-457E-DAD343DB14D0}"/>
            </ac:picMkLst>
          </pc:picChg>
        </pc:sldLayoutChg>
        <pc:sldLayoutChg chg="addSp delSp modSp mod">
          <pc:chgData name="Janeen Schuh" userId="b333c9bc-995f-4e7b-84e7-0f7883b0e6ca" providerId="ADAL" clId="{64B71BCA-0D2E-4AA0-A0BA-49CD56CC12A3}" dt="2025-04-15T21:03:25.842" v="32" actId="1076"/>
          <pc:sldLayoutMkLst>
            <pc:docMk/>
            <pc:sldMasterMk cId="2393987413" sldId="2147483728"/>
            <pc:sldLayoutMk cId="311033805" sldId="2147484001"/>
          </pc:sldLayoutMkLst>
          <pc:picChg chg="del mod">
            <ac:chgData name="Janeen Schuh" userId="b333c9bc-995f-4e7b-84e7-0f7883b0e6ca" providerId="ADAL" clId="{64B71BCA-0D2E-4AA0-A0BA-49CD56CC12A3}" dt="2025-04-15T21:01:58.232" v="17" actId="478"/>
            <ac:picMkLst>
              <pc:docMk/>
              <pc:sldMasterMk cId="2393987413" sldId="2147483728"/>
              <pc:sldLayoutMk cId="311033805" sldId="2147484001"/>
              <ac:picMk id="3" creationId="{9576C02F-5107-16B9-7999-0E3E3A5DE336}"/>
            </ac:picMkLst>
          </pc:picChg>
          <pc:picChg chg="add del mod">
            <ac:chgData name="Janeen Schuh" userId="b333c9bc-995f-4e7b-84e7-0f7883b0e6ca" providerId="ADAL" clId="{64B71BCA-0D2E-4AA0-A0BA-49CD56CC12A3}" dt="2025-04-15T20:58:14.704" v="5" actId="478"/>
            <ac:picMkLst>
              <pc:docMk/>
              <pc:sldMasterMk cId="2393987413" sldId="2147483728"/>
              <pc:sldLayoutMk cId="311033805" sldId="2147484001"/>
              <ac:picMk id="7" creationId="{9849AC9F-DB29-4028-BAAF-F9D6F9B38471}"/>
            </ac:picMkLst>
          </pc:picChg>
          <pc:picChg chg="add del mod">
            <ac:chgData name="Janeen Schuh" userId="b333c9bc-995f-4e7b-84e7-0f7883b0e6ca" providerId="ADAL" clId="{64B71BCA-0D2E-4AA0-A0BA-49CD56CC12A3}" dt="2025-04-15T20:58:42.634" v="7" actId="478"/>
            <ac:picMkLst>
              <pc:docMk/>
              <pc:sldMasterMk cId="2393987413" sldId="2147483728"/>
              <pc:sldLayoutMk cId="311033805" sldId="2147484001"/>
              <ac:picMk id="11" creationId="{25458F39-D97D-786A-6E7C-6F698CB3BAFC}"/>
            </ac:picMkLst>
          </pc:picChg>
          <pc:picChg chg="add del mod">
            <ac:chgData name="Janeen Schuh" userId="b333c9bc-995f-4e7b-84e7-0f7883b0e6ca" providerId="ADAL" clId="{64B71BCA-0D2E-4AA0-A0BA-49CD56CC12A3}" dt="2025-04-15T20:59:35.873" v="12" actId="478"/>
            <ac:picMkLst>
              <pc:docMk/>
              <pc:sldMasterMk cId="2393987413" sldId="2147483728"/>
              <pc:sldLayoutMk cId="311033805" sldId="2147484001"/>
              <ac:picMk id="14" creationId="{28E7470C-5EE9-C211-AACA-C8449CD4AF26}"/>
            </ac:picMkLst>
          </pc:picChg>
          <pc:picChg chg="add del mod">
            <ac:chgData name="Janeen Schuh" userId="b333c9bc-995f-4e7b-84e7-0f7883b0e6ca" providerId="ADAL" clId="{64B71BCA-0D2E-4AA0-A0BA-49CD56CC12A3}" dt="2025-04-15T20:59:35.248" v="11" actId="478"/>
            <ac:picMkLst>
              <pc:docMk/>
              <pc:sldMasterMk cId="2393987413" sldId="2147483728"/>
              <pc:sldLayoutMk cId="311033805" sldId="2147484001"/>
              <ac:picMk id="16" creationId="{98C5CD78-07C1-C9D2-B1BE-1BFC2EF53409}"/>
            </ac:picMkLst>
          </pc:picChg>
          <pc:picChg chg="add mod">
            <ac:chgData name="Janeen Schuh" userId="b333c9bc-995f-4e7b-84e7-0f7883b0e6ca" providerId="ADAL" clId="{64B71BCA-0D2E-4AA0-A0BA-49CD56CC12A3}" dt="2025-04-15T21:03:25.842" v="32" actId="1076"/>
            <ac:picMkLst>
              <pc:docMk/>
              <pc:sldMasterMk cId="2393987413" sldId="2147483728"/>
              <pc:sldLayoutMk cId="311033805" sldId="2147484001"/>
              <ac:picMk id="18" creationId="{46B37483-B03F-53A1-3B8C-1041BF92F7A2}"/>
            </ac:picMkLst>
          </pc:picChg>
        </pc:sldLayoutChg>
        <pc:sldLayoutChg chg="addSp delSp modSp mod">
          <pc:chgData name="Janeen Schuh" userId="b333c9bc-995f-4e7b-84e7-0f7883b0e6ca" providerId="ADAL" clId="{64B71BCA-0D2E-4AA0-A0BA-49CD56CC12A3}" dt="2025-04-15T21:07:21.955" v="132" actId="14100"/>
          <pc:sldLayoutMkLst>
            <pc:docMk/>
            <pc:sldMasterMk cId="2393987413" sldId="2147483728"/>
            <pc:sldLayoutMk cId="99739541" sldId="2147484003"/>
          </pc:sldLayoutMkLst>
          <pc:picChg chg="del">
            <ac:chgData name="Janeen Schuh" userId="b333c9bc-995f-4e7b-84e7-0f7883b0e6ca" providerId="ADAL" clId="{64B71BCA-0D2E-4AA0-A0BA-49CD56CC12A3}" dt="2025-04-15T21:07:12.617" v="127" actId="478"/>
            <ac:picMkLst>
              <pc:docMk/>
              <pc:sldMasterMk cId="2393987413" sldId="2147483728"/>
              <pc:sldLayoutMk cId="99739541" sldId="2147484003"/>
              <ac:picMk id="2" creationId="{41B8F382-5127-92D4-D572-C803E2D2FD55}"/>
            </ac:picMkLst>
          </pc:picChg>
          <pc:picChg chg="add mod">
            <ac:chgData name="Janeen Schuh" userId="b333c9bc-995f-4e7b-84e7-0f7883b0e6ca" providerId="ADAL" clId="{64B71BCA-0D2E-4AA0-A0BA-49CD56CC12A3}" dt="2025-04-15T21:07:21.955" v="132" actId="14100"/>
            <ac:picMkLst>
              <pc:docMk/>
              <pc:sldMasterMk cId="2393987413" sldId="2147483728"/>
              <pc:sldLayoutMk cId="99739541" sldId="2147484003"/>
              <ac:picMk id="3" creationId="{D1A71D10-8887-B8C5-EE20-A0C7B8FA8170}"/>
            </ac:picMkLst>
          </pc:picChg>
        </pc:sldLayoutChg>
        <pc:sldLayoutChg chg="addSp delSp modSp mod">
          <pc:chgData name="Janeen Schuh" userId="b333c9bc-995f-4e7b-84e7-0f7883b0e6ca" providerId="ADAL" clId="{64B71BCA-0D2E-4AA0-A0BA-49CD56CC12A3}" dt="2025-04-15T21:06:43.311" v="116"/>
          <pc:sldLayoutMkLst>
            <pc:docMk/>
            <pc:sldMasterMk cId="2393987413" sldId="2147483728"/>
            <pc:sldLayoutMk cId="1188510968" sldId="2147484004"/>
          </pc:sldLayoutMkLst>
          <pc:picChg chg="add mod">
            <ac:chgData name="Janeen Schuh" userId="b333c9bc-995f-4e7b-84e7-0f7883b0e6ca" providerId="ADAL" clId="{64B71BCA-0D2E-4AA0-A0BA-49CD56CC12A3}" dt="2025-04-15T21:06:43.311" v="116"/>
            <ac:picMkLst>
              <pc:docMk/>
              <pc:sldMasterMk cId="2393987413" sldId="2147483728"/>
              <pc:sldLayoutMk cId="1188510968" sldId="2147484004"/>
              <ac:picMk id="3" creationId="{398F908F-89F2-9437-F2A8-B4ED8ED7C08C}"/>
            </ac:picMkLst>
          </pc:picChg>
          <pc:picChg chg="del">
            <ac:chgData name="Janeen Schuh" userId="b333c9bc-995f-4e7b-84e7-0f7883b0e6ca" providerId="ADAL" clId="{64B71BCA-0D2E-4AA0-A0BA-49CD56CC12A3}" dt="2025-04-15T21:06:42.360" v="115" actId="478"/>
            <ac:picMkLst>
              <pc:docMk/>
              <pc:sldMasterMk cId="2393987413" sldId="2147483728"/>
              <pc:sldLayoutMk cId="1188510968" sldId="2147484004"/>
              <ac:picMk id="4" creationId="{FB2AA15C-5E5F-653F-45BB-2BDC64E72A31}"/>
            </ac:picMkLst>
          </pc:picChg>
        </pc:sldLayoutChg>
        <pc:sldLayoutChg chg="addSp delSp modSp mod">
          <pc:chgData name="Janeen Schuh" userId="b333c9bc-995f-4e7b-84e7-0f7883b0e6ca" providerId="ADAL" clId="{64B71BCA-0D2E-4AA0-A0BA-49CD56CC12A3}" dt="2025-04-15T21:06:34.026" v="109"/>
          <pc:sldLayoutMkLst>
            <pc:docMk/>
            <pc:sldMasterMk cId="2393987413" sldId="2147483728"/>
            <pc:sldLayoutMk cId="1801136099" sldId="2147484010"/>
          </pc:sldLayoutMkLst>
          <pc:picChg chg="add mod">
            <ac:chgData name="Janeen Schuh" userId="b333c9bc-995f-4e7b-84e7-0f7883b0e6ca" providerId="ADAL" clId="{64B71BCA-0D2E-4AA0-A0BA-49CD56CC12A3}" dt="2025-04-15T21:06:34.026" v="109"/>
            <ac:picMkLst>
              <pc:docMk/>
              <pc:sldMasterMk cId="2393987413" sldId="2147483728"/>
              <pc:sldLayoutMk cId="1801136099" sldId="2147484010"/>
              <ac:picMk id="2" creationId="{BD4E73C2-DF34-4049-ECF4-10DF940B5B79}"/>
            </ac:picMkLst>
          </pc:picChg>
          <pc:picChg chg="del">
            <ac:chgData name="Janeen Schuh" userId="b333c9bc-995f-4e7b-84e7-0f7883b0e6ca" providerId="ADAL" clId="{64B71BCA-0D2E-4AA0-A0BA-49CD56CC12A3}" dt="2025-04-15T21:06:32.978" v="108" actId="478"/>
            <ac:picMkLst>
              <pc:docMk/>
              <pc:sldMasterMk cId="2393987413" sldId="2147483728"/>
              <pc:sldLayoutMk cId="1801136099" sldId="2147484010"/>
              <ac:picMk id="5" creationId="{32A4983F-BB5D-5982-9B22-53E0FC59977A}"/>
            </ac:picMkLst>
          </pc:picChg>
        </pc:sldLayoutChg>
        <pc:sldLayoutChg chg="addSp delSp modSp mod">
          <pc:chgData name="Janeen Schuh" userId="b333c9bc-995f-4e7b-84e7-0f7883b0e6ca" providerId="ADAL" clId="{64B71BCA-0D2E-4AA0-A0BA-49CD56CC12A3}" dt="2025-04-15T21:04:38.725" v="55"/>
          <pc:sldLayoutMkLst>
            <pc:docMk/>
            <pc:sldMasterMk cId="2393987413" sldId="2147483728"/>
            <pc:sldLayoutMk cId="2093666937" sldId="2147484016"/>
          </pc:sldLayoutMkLst>
          <pc:picChg chg="del">
            <ac:chgData name="Janeen Schuh" userId="b333c9bc-995f-4e7b-84e7-0f7883b0e6ca" providerId="ADAL" clId="{64B71BCA-0D2E-4AA0-A0BA-49CD56CC12A3}" dt="2025-04-15T21:04:37.626" v="54" actId="478"/>
            <ac:picMkLst>
              <pc:docMk/>
              <pc:sldMasterMk cId="2393987413" sldId="2147483728"/>
              <pc:sldLayoutMk cId="2093666937" sldId="2147484016"/>
              <ac:picMk id="2" creationId="{745A4050-3C62-0F3C-C4E9-E8B957B54E48}"/>
            </ac:picMkLst>
          </pc:picChg>
          <pc:picChg chg="add mod">
            <ac:chgData name="Janeen Schuh" userId="b333c9bc-995f-4e7b-84e7-0f7883b0e6ca" providerId="ADAL" clId="{64B71BCA-0D2E-4AA0-A0BA-49CD56CC12A3}" dt="2025-04-15T21:04:38.725" v="55"/>
            <ac:picMkLst>
              <pc:docMk/>
              <pc:sldMasterMk cId="2393987413" sldId="2147483728"/>
              <pc:sldLayoutMk cId="2093666937" sldId="2147484016"/>
              <ac:picMk id="5" creationId="{63434D21-657E-92C1-98D5-FA50D5EAEBFD}"/>
            </ac:picMkLst>
          </pc:picChg>
        </pc:sldLayoutChg>
        <pc:sldLayoutChg chg="addSp delSp modSp mod">
          <pc:chgData name="Janeen Schuh" userId="b333c9bc-995f-4e7b-84e7-0f7883b0e6ca" providerId="ADAL" clId="{64B71BCA-0D2E-4AA0-A0BA-49CD56CC12A3}" dt="2025-04-15T21:06:48.579" v="118"/>
          <pc:sldLayoutMkLst>
            <pc:docMk/>
            <pc:sldMasterMk cId="2393987413" sldId="2147483728"/>
            <pc:sldLayoutMk cId="760527592" sldId="2147484018"/>
          </pc:sldLayoutMkLst>
          <pc:picChg chg="add mod">
            <ac:chgData name="Janeen Schuh" userId="b333c9bc-995f-4e7b-84e7-0f7883b0e6ca" providerId="ADAL" clId="{64B71BCA-0D2E-4AA0-A0BA-49CD56CC12A3}" dt="2025-04-15T21:06:48.579" v="118"/>
            <ac:picMkLst>
              <pc:docMk/>
              <pc:sldMasterMk cId="2393987413" sldId="2147483728"/>
              <pc:sldLayoutMk cId="760527592" sldId="2147484018"/>
              <ac:picMk id="3" creationId="{E7FC6F2D-DA85-37B6-334A-78B488A326C4}"/>
            </ac:picMkLst>
          </pc:picChg>
          <pc:picChg chg="del">
            <ac:chgData name="Janeen Schuh" userId="b333c9bc-995f-4e7b-84e7-0f7883b0e6ca" providerId="ADAL" clId="{64B71BCA-0D2E-4AA0-A0BA-49CD56CC12A3}" dt="2025-04-15T21:06:47.447" v="117" actId="478"/>
            <ac:picMkLst>
              <pc:docMk/>
              <pc:sldMasterMk cId="2393987413" sldId="2147483728"/>
              <pc:sldLayoutMk cId="760527592" sldId="2147484018"/>
              <ac:picMk id="4" creationId="{889FF3A4-FFB2-DD85-1B99-37D96C958BAA}"/>
            </ac:picMkLst>
          </pc:picChg>
        </pc:sldLayoutChg>
        <pc:sldLayoutChg chg="addSp delSp modSp mod">
          <pc:chgData name="Janeen Schuh" userId="b333c9bc-995f-4e7b-84e7-0f7883b0e6ca" providerId="ADAL" clId="{64B71BCA-0D2E-4AA0-A0BA-49CD56CC12A3}" dt="2025-04-15T21:07:40.082" v="140" actId="1076"/>
          <pc:sldLayoutMkLst>
            <pc:docMk/>
            <pc:sldMasterMk cId="2393987413" sldId="2147483728"/>
            <pc:sldLayoutMk cId="1613856448" sldId="2147484023"/>
          </pc:sldLayoutMkLst>
          <pc:picChg chg="add mod">
            <ac:chgData name="Janeen Schuh" userId="b333c9bc-995f-4e7b-84e7-0f7883b0e6ca" providerId="ADAL" clId="{64B71BCA-0D2E-4AA0-A0BA-49CD56CC12A3}" dt="2025-04-15T21:07:40.082" v="140" actId="1076"/>
            <ac:picMkLst>
              <pc:docMk/>
              <pc:sldMasterMk cId="2393987413" sldId="2147483728"/>
              <pc:sldLayoutMk cId="1613856448" sldId="2147484023"/>
              <ac:picMk id="2" creationId="{A33C3264-129C-E5F4-9A32-163362486089}"/>
            </ac:picMkLst>
          </pc:picChg>
          <pc:picChg chg="del">
            <ac:chgData name="Janeen Schuh" userId="b333c9bc-995f-4e7b-84e7-0f7883b0e6ca" providerId="ADAL" clId="{64B71BCA-0D2E-4AA0-A0BA-49CD56CC12A3}" dt="2025-04-15T21:07:38.239" v="139" actId="478"/>
            <ac:picMkLst>
              <pc:docMk/>
              <pc:sldMasterMk cId="2393987413" sldId="2147483728"/>
              <pc:sldLayoutMk cId="1613856448" sldId="2147484023"/>
              <ac:picMk id="6" creationId="{26463ED3-4B9A-E5F0-F623-C4BF8F970379}"/>
            </ac:picMkLst>
          </pc:picChg>
        </pc:sldLayoutChg>
        <pc:sldLayoutChg chg="addSp delSp modSp mod">
          <pc:chgData name="Janeen Schuh" userId="b333c9bc-995f-4e7b-84e7-0f7883b0e6ca" providerId="ADAL" clId="{64B71BCA-0D2E-4AA0-A0BA-49CD56CC12A3}" dt="2025-04-15T21:06:54.875" v="122"/>
          <pc:sldLayoutMkLst>
            <pc:docMk/>
            <pc:sldMasterMk cId="2393987413" sldId="2147483728"/>
            <pc:sldLayoutMk cId="3928264221" sldId="2147484030"/>
          </pc:sldLayoutMkLst>
          <pc:picChg chg="add mod">
            <ac:chgData name="Janeen Schuh" userId="b333c9bc-995f-4e7b-84e7-0f7883b0e6ca" providerId="ADAL" clId="{64B71BCA-0D2E-4AA0-A0BA-49CD56CC12A3}" dt="2025-04-15T21:06:54.875" v="122"/>
            <ac:picMkLst>
              <pc:docMk/>
              <pc:sldMasterMk cId="2393987413" sldId="2147483728"/>
              <pc:sldLayoutMk cId="3928264221" sldId="2147484030"/>
              <ac:picMk id="2" creationId="{74BB1C09-4A34-FAB1-894F-BABE9B8DDA6A}"/>
            </ac:picMkLst>
          </pc:picChg>
          <pc:picChg chg="del">
            <ac:chgData name="Janeen Schuh" userId="b333c9bc-995f-4e7b-84e7-0f7883b0e6ca" providerId="ADAL" clId="{64B71BCA-0D2E-4AA0-A0BA-49CD56CC12A3}" dt="2025-04-15T21:06:53.759" v="121" actId="478"/>
            <ac:picMkLst>
              <pc:docMk/>
              <pc:sldMasterMk cId="2393987413" sldId="2147483728"/>
              <pc:sldLayoutMk cId="3928264221" sldId="2147484030"/>
              <ac:picMk id="3" creationId="{66F377A2-13ED-C8B6-CEE1-2D574A808465}"/>
            </ac:picMkLst>
          </pc:picChg>
        </pc:sldLayoutChg>
        <pc:sldLayoutChg chg="addSp delSp modSp mod">
          <pc:chgData name="Janeen Schuh" userId="b333c9bc-995f-4e7b-84e7-0f7883b0e6ca" providerId="ADAL" clId="{64B71BCA-0D2E-4AA0-A0BA-49CD56CC12A3}" dt="2025-04-15T21:05:18.177" v="75"/>
          <pc:sldLayoutMkLst>
            <pc:docMk/>
            <pc:sldMasterMk cId="2393987413" sldId="2147483728"/>
            <pc:sldLayoutMk cId="3668069653" sldId="2147484035"/>
          </pc:sldLayoutMkLst>
          <pc:picChg chg="del">
            <ac:chgData name="Janeen Schuh" userId="b333c9bc-995f-4e7b-84e7-0f7883b0e6ca" providerId="ADAL" clId="{64B71BCA-0D2E-4AA0-A0BA-49CD56CC12A3}" dt="2025-04-15T21:05:17.049" v="74" actId="478"/>
            <ac:picMkLst>
              <pc:docMk/>
              <pc:sldMasterMk cId="2393987413" sldId="2147483728"/>
              <pc:sldLayoutMk cId="3668069653" sldId="2147484035"/>
              <ac:picMk id="2" creationId="{B41EB552-0A01-B310-F34E-BD9D0CCB7F8E}"/>
            </ac:picMkLst>
          </pc:picChg>
          <pc:picChg chg="add mod">
            <ac:chgData name="Janeen Schuh" userId="b333c9bc-995f-4e7b-84e7-0f7883b0e6ca" providerId="ADAL" clId="{64B71BCA-0D2E-4AA0-A0BA-49CD56CC12A3}" dt="2025-04-15T21:05:18.177" v="75"/>
            <ac:picMkLst>
              <pc:docMk/>
              <pc:sldMasterMk cId="2393987413" sldId="2147483728"/>
              <pc:sldLayoutMk cId="3668069653" sldId="2147484035"/>
              <ac:picMk id="3" creationId="{9438054B-D4C1-DE95-4310-DA94775FB239}"/>
            </ac:picMkLst>
          </pc:picChg>
        </pc:sldLayoutChg>
        <pc:sldLayoutChg chg="addSp delSp modSp mod">
          <pc:chgData name="Janeen Schuh" userId="b333c9bc-995f-4e7b-84e7-0f7883b0e6ca" providerId="ADAL" clId="{64B71BCA-0D2E-4AA0-A0BA-49CD56CC12A3}" dt="2025-04-15T21:05:04.326" v="67"/>
          <pc:sldLayoutMkLst>
            <pc:docMk/>
            <pc:sldMasterMk cId="2393987413" sldId="2147483728"/>
            <pc:sldLayoutMk cId="2879763855" sldId="2147484038"/>
          </pc:sldLayoutMkLst>
          <pc:picChg chg="del">
            <ac:chgData name="Janeen Schuh" userId="b333c9bc-995f-4e7b-84e7-0f7883b0e6ca" providerId="ADAL" clId="{64B71BCA-0D2E-4AA0-A0BA-49CD56CC12A3}" dt="2025-04-15T21:05:03.315" v="66" actId="478"/>
            <ac:picMkLst>
              <pc:docMk/>
              <pc:sldMasterMk cId="2393987413" sldId="2147483728"/>
              <pc:sldLayoutMk cId="2879763855" sldId="2147484038"/>
              <ac:picMk id="2" creationId="{5FA35266-0CE4-B09F-85A3-02BBF5F347A3}"/>
            </ac:picMkLst>
          </pc:picChg>
          <pc:picChg chg="add mod">
            <ac:chgData name="Janeen Schuh" userId="b333c9bc-995f-4e7b-84e7-0f7883b0e6ca" providerId="ADAL" clId="{64B71BCA-0D2E-4AA0-A0BA-49CD56CC12A3}" dt="2025-04-15T21:05:04.326" v="67"/>
            <ac:picMkLst>
              <pc:docMk/>
              <pc:sldMasterMk cId="2393987413" sldId="2147483728"/>
              <pc:sldLayoutMk cId="2879763855" sldId="2147484038"/>
              <ac:picMk id="4" creationId="{8372A012-A7D8-6F21-BBC7-76173C68BA18}"/>
            </ac:picMkLst>
          </pc:picChg>
        </pc:sldLayoutChg>
        <pc:sldLayoutChg chg="addSp delSp modSp mod">
          <pc:chgData name="Janeen Schuh" userId="b333c9bc-995f-4e7b-84e7-0f7883b0e6ca" providerId="ADAL" clId="{64B71BCA-0D2E-4AA0-A0BA-49CD56CC12A3}" dt="2025-04-15T21:05:44.785" v="85"/>
          <pc:sldLayoutMkLst>
            <pc:docMk/>
            <pc:sldMasterMk cId="2393987413" sldId="2147483728"/>
            <pc:sldLayoutMk cId="3545414721" sldId="2147484042"/>
          </pc:sldLayoutMkLst>
          <pc:picChg chg="add mod">
            <ac:chgData name="Janeen Schuh" userId="b333c9bc-995f-4e7b-84e7-0f7883b0e6ca" providerId="ADAL" clId="{64B71BCA-0D2E-4AA0-A0BA-49CD56CC12A3}" dt="2025-04-15T21:05:44.785" v="85"/>
            <ac:picMkLst>
              <pc:docMk/>
              <pc:sldMasterMk cId="2393987413" sldId="2147483728"/>
              <pc:sldLayoutMk cId="3545414721" sldId="2147484042"/>
              <ac:picMk id="2" creationId="{94A7661E-EFED-0681-2104-4D62D0110630}"/>
            </ac:picMkLst>
          </pc:picChg>
          <pc:picChg chg="del">
            <ac:chgData name="Janeen Schuh" userId="b333c9bc-995f-4e7b-84e7-0f7883b0e6ca" providerId="ADAL" clId="{64B71BCA-0D2E-4AA0-A0BA-49CD56CC12A3}" dt="2025-04-15T21:05:43.636" v="84" actId="478"/>
            <ac:picMkLst>
              <pc:docMk/>
              <pc:sldMasterMk cId="2393987413" sldId="2147483728"/>
              <pc:sldLayoutMk cId="3545414721" sldId="2147484042"/>
              <ac:picMk id="5" creationId="{42067781-A3D7-3086-2453-2C043C28BB8A}"/>
            </ac:picMkLst>
          </pc:picChg>
        </pc:sldLayoutChg>
        <pc:sldLayoutChg chg="addSp delSp modSp mod">
          <pc:chgData name="Janeen Schuh" userId="b333c9bc-995f-4e7b-84e7-0f7883b0e6ca" providerId="ADAL" clId="{64B71BCA-0D2E-4AA0-A0BA-49CD56CC12A3}" dt="2025-04-15T21:05:49.298" v="87"/>
          <pc:sldLayoutMkLst>
            <pc:docMk/>
            <pc:sldMasterMk cId="2393987413" sldId="2147483728"/>
            <pc:sldLayoutMk cId="1704179332" sldId="2147484043"/>
          </pc:sldLayoutMkLst>
          <pc:picChg chg="add mod">
            <ac:chgData name="Janeen Schuh" userId="b333c9bc-995f-4e7b-84e7-0f7883b0e6ca" providerId="ADAL" clId="{64B71BCA-0D2E-4AA0-A0BA-49CD56CC12A3}" dt="2025-04-15T21:05:49.298" v="87"/>
            <ac:picMkLst>
              <pc:docMk/>
              <pc:sldMasterMk cId="2393987413" sldId="2147483728"/>
              <pc:sldLayoutMk cId="1704179332" sldId="2147484043"/>
              <ac:picMk id="2" creationId="{D1319983-57F5-2401-0E46-EFD3F92242F1}"/>
            </ac:picMkLst>
          </pc:picChg>
          <pc:picChg chg="del">
            <ac:chgData name="Janeen Schuh" userId="b333c9bc-995f-4e7b-84e7-0f7883b0e6ca" providerId="ADAL" clId="{64B71BCA-0D2E-4AA0-A0BA-49CD56CC12A3}" dt="2025-04-15T21:05:48.284" v="86" actId="478"/>
            <ac:picMkLst>
              <pc:docMk/>
              <pc:sldMasterMk cId="2393987413" sldId="2147483728"/>
              <pc:sldLayoutMk cId="1704179332" sldId="2147484043"/>
              <ac:picMk id="3" creationId="{56689D84-02D9-132D-2424-049649ADA2B7}"/>
            </ac:picMkLst>
          </pc:picChg>
        </pc:sldLayoutChg>
        <pc:sldLayoutChg chg="addSp delSp modSp mod">
          <pc:chgData name="Janeen Schuh" userId="b333c9bc-995f-4e7b-84e7-0f7883b0e6ca" providerId="ADAL" clId="{64B71BCA-0D2E-4AA0-A0BA-49CD56CC12A3}" dt="2025-04-15T21:04:18.136" v="45"/>
          <pc:sldLayoutMkLst>
            <pc:docMk/>
            <pc:sldMasterMk cId="2393987413" sldId="2147483728"/>
            <pc:sldLayoutMk cId="122315243" sldId="2147484044"/>
          </pc:sldLayoutMkLst>
          <pc:picChg chg="del">
            <ac:chgData name="Janeen Schuh" userId="b333c9bc-995f-4e7b-84e7-0f7883b0e6ca" providerId="ADAL" clId="{64B71BCA-0D2E-4AA0-A0BA-49CD56CC12A3}" dt="2025-04-15T21:04:16.280" v="44" actId="478"/>
            <ac:picMkLst>
              <pc:docMk/>
              <pc:sldMasterMk cId="2393987413" sldId="2147483728"/>
              <pc:sldLayoutMk cId="122315243" sldId="2147484044"/>
              <ac:picMk id="3" creationId="{AA28664E-5A5F-D860-D3C9-84E0292816D8}"/>
            </ac:picMkLst>
          </pc:picChg>
          <pc:picChg chg="add mod">
            <ac:chgData name="Janeen Schuh" userId="b333c9bc-995f-4e7b-84e7-0f7883b0e6ca" providerId="ADAL" clId="{64B71BCA-0D2E-4AA0-A0BA-49CD56CC12A3}" dt="2025-04-15T21:04:18.136" v="45"/>
            <ac:picMkLst>
              <pc:docMk/>
              <pc:sldMasterMk cId="2393987413" sldId="2147483728"/>
              <pc:sldLayoutMk cId="122315243" sldId="2147484044"/>
              <ac:picMk id="7" creationId="{C0288DBE-F45B-5E79-95F9-661ABFEE9544}"/>
            </ac:picMkLst>
          </pc:picChg>
        </pc:sldLayoutChg>
        <pc:sldLayoutChg chg="addSp delSp modSp mod">
          <pc:chgData name="Janeen Schuh" userId="b333c9bc-995f-4e7b-84e7-0f7883b0e6ca" providerId="ADAL" clId="{64B71BCA-0D2E-4AA0-A0BA-49CD56CC12A3}" dt="2025-04-15T21:04:47.924" v="59"/>
          <pc:sldLayoutMkLst>
            <pc:docMk/>
            <pc:sldMasterMk cId="2393987413" sldId="2147483728"/>
            <pc:sldLayoutMk cId="2544538770" sldId="2147484045"/>
          </pc:sldLayoutMkLst>
          <pc:picChg chg="del">
            <ac:chgData name="Janeen Schuh" userId="b333c9bc-995f-4e7b-84e7-0f7883b0e6ca" providerId="ADAL" clId="{64B71BCA-0D2E-4AA0-A0BA-49CD56CC12A3}" dt="2025-04-15T21:04:46.559" v="58" actId="478"/>
            <ac:picMkLst>
              <pc:docMk/>
              <pc:sldMasterMk cId="2393987413" sldId="2147483728"/>
              <pc:sldLayoutMk cId="2544538770" sldId="2147484045"/>
              <ac:picMk id="3" creationId="{ACCFD25A-C96C-7577-D8BF-B4EB1CBAD041}"/>
            </ac:picMkLst>
          </pc:picChg>
          <pc:picChg chg="add mod">
            <ac:chgData name="Janeen Schuh" userId="b333c9bc-995f-4e7b-84e7-0f7883b0e6ca" providerId="ADAL" clId="{64B71BCA-0D2E-4AA0-A0BA-49CD56CC12A3}" dt="2025-04-15T21:04:47.924" v="59"/>
            <ac:picMkLst>
              <pc:docMk/>
              <pc:sldMasterMk cId="2393987413" sldId="2147483728"/>
              <pc:sldLayoutMk cId="2544538770" sldId="2147484045"/>
              <ac:picMk id="5" creationId="{249C5EE8-C1F2-D015-61AD-63D5E80E7F58}"/>
            </ac:picMkLst>
          </pc:picChg>
        </pc:sldLayoutChg>
        <pc:sldLayoutChg chg="addSp delSp modSp mod">
          <pc:chgData name="Janeen Schuh" userId="b333c9bc-995f-4e7b-84e7-0f7883b0e6ca" providerId="ADAL" clId="{64B71BCA-0D2E-4AA0-A0BA-49CD56CC12A3}" dt="2025-04-15T21:06:12.668" v="99"/>
          <pc:sldLayoutMkLst>
            <pc:docMk/>
            <pc:sldMasterMk cId="2393987413" sldId="2147483728"/>
            <pc:sldLayoutMk cId="2843585989" sldId="2147484046"/>
          </pc:sldLayoutMkLst>
          <pc:picChg chg="add mod">
            <ac:chgData name="Janeen Schuh" userId="b333c9bc-995f-4e7b-84e7-0f7883b0e6ca" providerId="ADAL" clId="{64B71BCA-0D2E-4AA0-A0BA-49CD56CC12A3}" dt="2025-04-15T21:06:12.668" v="99"/>
            <ac:picMkLst>
              <pc:docMk/>
              <pc:sldMasterMk cId="2393987413" sldId="2147483728"/>
              <pc:sldLayoutMk cId="2843585989" sldId="2147484046"/>
              <ac:picMk id="2" creationId="{766EEFFD-FA66-9068-9E7A-F72EE1EC0421}"/>
            </ac:picMkLst>
          </pc:picChg>
          <pc:picChg chg="del">
            <ac:chgData name="Janeen Schuh" userId="b333c9bc-995f-4e7b-84e7-0f7883b0e6ca" providerId="ADAL" clId="{64B71BCA-0D2E-4AA0-A0BA-49CD56CC12A3}" dt="2025-04-15T21:06:11.593" v="98" actId="478"/>
            <ac:picMkLst>
              <pc:docMk/>
              <pc:sldMasterMk cId="2393987413" sldId="2147483728"/>
              <pc:sldLayoutMk cId="2843585989" sldId="2147484046"/>
              <ac:picMk id="6" creationId="{05BFA55D-DA54-CA8B-A338-38777CE5EEB4}"/>
            </ac:picMkLst>
          </pc:picChg>
        </pc:sldLayoutChg>
        <pc:sldLayoutChg chg="addSp delSp modSp mod">
          <pc:chgData name="Janeen Schuh" userId="b333c9bc-995f-4e7b-84e7-0f7883b0e6ca" providerId="ADAL" clId="{64B71BCA-0D2E-4AA0-A0BA-49CD56CC12A3}" dt="2025-04-15T21:06:19.453" v="103"/>
          <pc:sldLayoutMkLst>
            <pc:docMk/>
            <pc:sldMasterMk cId="2393987413" sldId="2147483728"/>
            <pc:sldLayoutMk cId="1807321876" sldId="2147484048"/>
          </pc:sldLayoutMkLst>
          <pc:picChg chg="del">
            <ac:chgData name="Janeen Schuh" userId="b333c9bc-995f-4e7b-84e7-0f7883b0e6ca" providerId="ADAL" clId="{64B71BCA-0D2E-4AA0-A0BA-49CD56CC12A3}" dt="2025-04-15T21:06:18.341" v="102" actId="478"/>
            <ac:picMkLst>
              <pc:docMk/>
              <pc:sldMasterMk cId="2393987413" sldId="2147483728"/>
              <pc:sldLayoutMk cId="1807321876" sldId="2147484048"/>
              <ac:picMk id="2" creationId="{09FDCF1D-93D4-EC09-8997-5EBD012B8802}"/>
            </ac:picMkLst>
          </pc:picChg>
          <pc:picChg chg="add mod">
            <ac:chgData name="Janeen Schuh" userId="b333c9bc-995f-4e7b-84e7-0f7883b0e6ca" providerId="ADAL" clId="{64B71BCA-0D2E-4AA0-A0BA-49CD56CC12A3}" dt="2025-04-15T21:06:19.453" v="103"/>
            <ac:picMkLst>
              <pc:docMk/>
              <pc:sldMasterMk cId="2393987413" sldId="2147483728"/>
              <pc:sldLayoutMk cId="1807321876" sldId="2147484048"/>
              <ac:picMk id="3" creationId="{BD99DC18-B4FC-2573-2682-36059E609A69}"/>
            </ac:picMkLst>
          </pc:picChg>
        </pc:sldLayoutChg>
        <pc:sldLayoutChg chg="addSp delSp modSp mod">
          <pc:chgData name="Janeen Schuh" userId="b333c9bc-995f-4e7b-84e7-0f7883b0e6ca" providerId="ADAL" clId="{64B71BCA-0D2E-4AA0-A0BA-49CD56CC12A3}" dt="2025-04-15T21:05:54.816" v="91"/>
          <pc:sldLayoutMkLst>
            <pc:docMk/>
            <pc:sldMasterMk cId="2393987413" sldId="2147483728"/>
            <pc:sldLayoutMk cId="662280095" sldId="2147484050"/>
          </pc:sldLayoutMkLst>
          <pc:picChg chg="add mod">
            <ac:chgData name="Janeen Schuh" userId="b333c9bc-995f-4e7b-84e7-0f7883b0e6ca" providerId="ADAL" clId="{64B71BCA-0D2E-4AA0-A0BA-49CD56CC12A3}" dt="2025-04-15T21:05:54.816" v="91"/>
            <ac:picMkLst>
              <pc:docMk/>
              <pc:sldMasterMk cId="2393987413" sldId="2147483728"/>
              <pc:sldLayoutMk cId="662280095" sldId="2147484050"/>
              <ac:picMk id="2" creationId="{1FF7F09B-BA7A-0700-AC00-EFDF8E86CE4C}"/>
            </ac:picMkLst>
          </pc:picChg>
          <pc:picChg chg="del">
            <ac:chgData name="Janeen Schuh" userId="b333c9bc-995f-4e7b-84e7-0f7883b0e6ca" providerId="ADAL" clId="{64B71BCA-0D2E-4AA0-A0BA-49CD56CC12A3}" dt="2025-04-15T21:05:53.609" v="90" actId="478"/>
            <ac:picMkLst>
              <pc:docMk/>
              <pc:sldMasterMk cId="2393987413" sldId="2147483728"/>
              <pc:sldLayoutMk cId="662280095" sldId="2147484050"/>
              <ac:picMk id="3" creationId="{E27A785B-3BA8-16AC-F077-0060CB6544CC}"/>
            </ac:picMkLst>
          </pc:picChg>
        </pc:sldLayoutChg>
        <pc:sldLayoutChg chg="addSp delSp modSp mod">
          <pc:chgData name="Janeen Schuh" userId="b333c9bc-995f-4e7b-84e7-0f7883b0e6ca" providerId="ADAL" clId="{64B71BCA-0D2E-4AA0-A0BA-49CD56CC12A3}" dt="2025-04-15T21:05:21.622" v="77"/>
          <pc:sldLayoutMkLst>
            <pc:docMk/>
            <pc:sldMasterMk cId="2393987413" sldId="2147483728"/>
            <pc:sldLayoutMk cId="815401499" sldId="2147484051"/>
          </pc:sldLayoutMkLst>
          <pc:picChg chg="del">
            <ac:chgData name="Janeen Schuh" userId="b333c9bc-995f-4e7b-84e7-0f7883b0e6ca" providerId="ADAL" clId="{64B71BCA-0D2E-4AA0-A0BA-49CD56CC12A3}" dt="2025-04-15T21:05:20.424" v="76" actId="478"/>
            <ac:picMkLst>
              <pc:docMk/>
              <pc:sldMasterMk cId="2393987413" sldId="2147483728"/>
              <pc:sldLayoutMk cId="815401499" sldId="2147484051"/>
              <ac:picMk id="2" creationId="{CE58443C-09CF-7D42-DB35-5E101ABA2CDE}"/>
            </ac:picMkLst>
          </pc:picChg>
          <pc:picChg chg="add mod">
            <ac:chgData name="Janeen Schuh" userId="b333c9bc-995f-4e7b-84e7-0f7883b0e6ca" providerId="ADAL" clId="{64B71BCA-0D2E-4AA0-A0BA-49CD56CC12A3}" dt="2025-04-15T21:05:21.622" v="77"/>
            <ac:picMkLst>
              <pc:docMk/>
              <pc:sldMasterMk cId="2393987413" sldId="2147483728"/>
              <pc:sldLayoutMk cId="815401499" sldId="2147484051"/>
              <ac:picMk id="5" creationId="{CE4103A1-C088-8FBA-C3DD-0670C86855F1}"/>
            </ac:picMkLst>
          </pc:picChg>
        </pc:sldLayoutChg>
        <pc:sldLayoutChg chg="addSp delSp modSp mod">
          <pc:chgData name="Janeen Schuh" userId="b333c9bc-995f-4e7b-84e7-0f7883b0e6ca" providerId="ADAL" clId="{64B71BCA-0D2E-4AA0-A0BA-49CD56CC12A3}" dt="2025-04-15T21:05:37.305" v="81"/>
          <pc:sldLayoutMkLst>
            <pc:docMk/>
            <pc:sldMasterMk cId="2393987413" sldId="2147483728"/>
            <pc:sldLayoutMk cId="1789519231" sldId="2147484052"/>
          </pc:sldLayoutMkLst>
          <pc:picChg chg="del">
            <ac:chgData name="Janeen Schuh" userId="b333c9bc-995f-4e7b-84e7-0f7883b0e6ca" providerId="ADAL" clId="{64B71BCA-0D2E-4AA0-A0BA-49CD56CC12A3}" dt="2025-04-15T21:05:36.045" v="80" actId="478"/>
            <ac:picMkLst>
              <pc:docMk/>
              <pc:sldMasterMk cId="2393987413" sldId="2147483728"/>
              <pc:sldLayoutMk cId="1789519231" sldId="2147484052"/>
              <ac:picMk id="2" creationId="{76BE0472-972E-41AD-2A3D-2381C1969C93}"/>
            </ac:picMkLst>
          </pc:picChg>
          <pc:picChg chg="add mod">
            <ac:chgData name="Janeen Schuh" userId="b333c9bc-995f-4e7b-84e7-0f7883b0e6ca" providerId="ADAL" clId="{64B71BCA-0D2E-4AA0-A0BA-49CD56CC12A3}" dt="2025-04-15T21:05:37.305" v="81"/>
            <ac:picMkLst>
              <pc:docMk/>
              <pc:sldMasterMk cId="2393987413" sldId="2147483728"/>
              <pc:sldLayoutMk cId="1789519231" sldId="2147484052"/>
              <ac:picMk id="3" creationId="{DC346764-A43D-DDC7-9FE6-F678DCA01E69}"/>
            </ac:picMkLst>
          </pc:picChg>
        </pc:sldLayoutChg>
        <pc:sldLayoutChg chg="addSp delSp modSp mod">
          <pc:chgData name="Janeen Schuh" userId="b333c9bc-995f-4e7b-84e7-0f7883b0e6ca" providerId="ADAL" clId="{64B71BCA-0D2E-4AA0-A0BA-49CD56CC12A3}" dt="2025-04-15T21:05:28.016" v="79"/>
          <pc:sldLayoutMkLst>
            <pc:docMk/>
            <pc:sldMasterMk cId="2393987413" sldId="2147483728"/>
            <pc:sldLayoutMk cId="693213962" sldId="2147484053"/>
          </pc:sldLayoutMkLst>
          <pc:picChg chg="del">
            <ac:chgData name="Janeen Schuh" userId="b333c9bc-995f-4e7b-84e7-0f7883b0e6ca" providerId="ADAL" clId="{64B71BCA-0D2E-4AA0-A0BA-49CD56CC12A3}" dt="2025-04-15T21:05:26.585" v="78" actId="478"/>
            <ac:picMkLst>
              <pc:docMk/>
              <pc:sldMasterMk cId="2393987413" sldId="2147483728"/>
              <pc:sldLayoutMk cId="693213962" sldId="2147484053"/>
              <ac:picMk id="2" creationId="{6DC63094-E754-E720-85E5-3CA841623EEF}"/>
            </ac:picMkLst>
          </pc:picChg>
          <pc:picChg chg="add mod">
            <ac:chgData name="Janeen Schuh" userId="b333c9bc-995f-4e7b-84e7-0f7883b0e6ca" providerId="ADAL" clId="{64B71BCA-0D2E-4AA0-A0BA-49CD56CC12A3}" dt="2025-04-15T21:05:28.016" v="79"/>
            <ac:picMkLst>
              <pc:docMk/>
              <pc:sldMasterMk cId="2393987413" sldId="2147483728"/>
              <pc:sldLayoutMk cId="693213962" sldId="2147484053"/>
              <ac:picMk id="6" creationId="{915145D5-ABAF-EDE5-296C-09F5594A412E}"/>
            </ac:picMkLst>
          </pc:picChg>
        </pc:sldLayoutChg>
        <pc:sldLayoutChg chg="addSp delSp modSp mod">
          <pc:chgData name="Janeen Schuh" userId="b333c9bc-995f-4e7b-84e7-0f7883b0e6ca" providerId="ADAL" clId="{64B71BCA-0D2E-4AA0-A0BA-49CD56CC12A3}" dt="2025-04-15T21:04:53.338" v="61"/>
          <pc:sldLayoutMkLst>
            <pc:docMk/>
            <pc:sldMasterMk cId="2393987413" sldId="2147483728"/>
            <pc:sldLayoutMk cId="833921535" sldId="2147484054"/>
          </pc:sldLayoutMkLst>
          <pc:picChg chg="add mod">
            <ac:chgData name="Janeen Schuh" userId="b333c9bc-995f-4e7b-84e7-0f7883b0e6ca" providerId="ADAL" clId="{64B71BCA-0D2E-4AA0-A0BA-49CD56CC12A3}" dt="2025-04-15T21:04:53.338" v="61"/>
            <ac:picMkLst>
              <pc:docMk/>
              <pc:sldMasterMk cId="2393987413" sldId="2147483728"/>
              <pc:sldLayoutMk cId="833921535" sldId="2147484054"/>
              <ac:picMk id="2" creationId="{0610D766-2A7C-E8FA-61E1-5AC617603D4F}"/>
            </ac:picMkLst>
          </pc:picChg>
          <pc:picChg chg="del">
            <ac:chgData name="Janeen Schuh" userId="b333c9bc-995f-4e7b-84e7-0f7883b0e6ca" providerId="ADAL" clId="{64B71BCA-0D2E-4AA0-A0BA-49CD56CC12A3}" dt="2025-04-15T21:04:51.842" v="60" actId="478"/>
            <ac:picMkLst>
              <pc:docMk/>
              <pc:sldMasterMk cId="2393987413" sldId="2147483728"/>
              <pc:sldLayoutMk cId="833921535" sldId="2147484054"/>
              <ac:picMk id="6" creationId="{21A7737E-A0B3-E2E2-0557-8EF04D3D470D}"/>
            </ac:picMkLst>
          </pc:picChg>
        </pc:sldLayoutChg>
        <pc:sldLayoutChg chg="addSp delSp modSp mod">
          <pc:chgData name="Janeen Schuh" userId="b333c9bc-995f-4e7b-84e7-0f7883b0e6ca" providerId="ADAL" clId="{64B71BCA-0D2E-4AA0-A0BA-49CD56CC12A3}" dt="2025-04-15T21:06:30.532" v="107"/>
          <pc:sldLayoutMkLst>
            <pc:docMk/>
            <pc:sldMasterMk cId="2393987413" sldId="2147483728"/>
            <pc:sldLayoutMk cId="3831643549" sldId="2147484056"/>
          </pc:sldLayoutMkLst>
          <pc:picChg chg="add mod">
            <ac:chgData name="Janeen Schuh" userId="b333c9bc-995f-4e7b-84e7-0f7883b0e6ca" providerId="ADAL" clId="{64B71BCA-0D2E-4AA0-A0BA-49CD56CC12A3}" dt="2025-04-15T21:06:30.532" v="107"/>
            <ac:picMkLst>
              <pc:docMk/>
              <pc:sldMasterMk cId="2393987413" sldId="2147483728"/>
              <pc:sldLayoutMk cId="3831643549" sldId="2147484056"/>
              <ac:picMk id="2" creationId="{13529F9D-07A0-1630-3BE2-9CF4A332D7EF}"/>
            </ac:picMkLst>
          </pc:picChg>
          <pc:picChg chg="del">
            <ac:chgData name="Janeen Schuh" userId="b333c9bc-995f-4e7b-84e7-0f7883b0e6ca" providerId="ADAL" clId="{64B71BCA-0D2E-4AA0-A0BA-49CD56CC12A3}" dt="2025-04-15T21:06:29.464" v="106" actId="478"/>
            <ac:picMkLst>
              <pc:docMk/>
              <pc:sldMasterMk cId="2393987413" sldId="2147483728"/>
              <pc:sldLayoutMk cId="3831643549" sldId="2147484056"/>
              <ac:picMk id="4" creationId="{30E4AB64-F41F-E75E-AA1E-8FC536B4853A}"/>
            </ac:picMkLst>
          </pc:picChg>
        </pc:sldLayoutChg>
        <pc:sldLayoutChg chg="addSp delSp modSp mod">
          <pc:chgData name="Janeen Schuh" userId="b333c9bc-995f-4e7b-84e7-0f7883b0e6ca" providerId="ADAL" clId="{64B71BCA-0D2E-4AA0-A0BA-49CD56CC12A3}" dt="2025-04-15T21:06:08.896" v="97"/>
          <pc:sldLayoutMkLst>
            <pc:docMk/>
            <pc:sldMasterMk cId="2393987413" sldId="2147483728"/>
            <pc:sldLayoutMk cId="2685940603" sldId="2147484058"/>
          </pc:sldLayoutMkLst>
          <pc:picChg chg="del">
            <ac:chgData name="Janeen Schuh" userId="b333c9bc-995f-4e7b-84e7-0f7883b0e6ca" providerId="ADAL" clId="{64B71BCA-0D2E-4AA0-A0BA-49CD56CC12A3}" dt="2025-04-15T21:06:07.856" v="96" actId="478"/>
            <ac:picMkLst>
              <pc:docMk/>
              <pc:sldMasterMk cId="2393987413" sldId="2147483728"/>
              <pc:sldLayoutMk cId="2685940603" sldId="2147484058"/>
              <ac:picMk id="2" creationId="{03493A86-A05B-7A5C-431D-F837B42B569E}"/>
            </ac:picMkLst>
          </pc:picChg>
          <pc:picChg chg="add mod">
            <ac:chgData name="Janeen Schuh" userId="b333c9bc-995f-4e7b-84e7-0f7883b0e6ca" providerId="ADAL" clId="{64B71BCA-0D2E-4AA0-A0BA-49CD56CC12A3}" dt="2025-04-15T21:06:08.896" v="97"/>
            <ac:picMkLst>
              <pc:docMk/>
              <pc:sldMasterMk cId="2393987413" sldId="2147483728"/>
              <pc:sldLayoutMk cId="2685940603" sldId="2147484058"/>
              <ac:picMk id="4" creationId="{2F33196E-3011-9CDA-2E98-9BEAFE9E16CD}"/>
            </ac:picMkLst>
          </pc:picChg>
        </pc:sldLayoutChg>
        <pc:sldLayoutChg chg="addSp delSp modSp mod">
          <pc:chgData name="Janeen Schuh" userId="b333c9bc-995f-4e7b-84e7-0f7883b0e6ca" providerId="ADAL" clId="{64B71BCA-0D2E-4AA0-A0BA-49CD56CC12A3}" dt="2025-04-15T21:06:40.482" v="114"/>
          <pc:sldLayoutMkLst>
            <pc:docMk/>
            <pc:sldMasterMk cId="2393987413" sldId="2147483728"/>
            <pc:sldLayoutMk cId="1891238898" sldId="2147484059"/>
          </pc:sldLayoutMkLst>
          <pc:picChg chg="add mod">
            <ac:chgData name="Janeen Schuh" userId="b333c9bc-995f-4e7b-84e7-0f7883b0e6ca" providerId="ADAL" clId="{64B71BCA-0D2E-4AA0-A0BA-49CD56CC12A3}" dt="2025-04-15T21:06:40.482" v="114"/>
            <ac:picMkLst>
              <pc:docMk/>
              <pc:sldMasterMk cId="2393987413" sldId="2147483728"/>
              <pc:sldLayoutMk cId="1891238898" sldId="2147484059"/>
              <ac:picMk id="3" creationId="{34A13B55-EBD3-EFDA-25C9-7F609EC4983E}"/>
            </ac:picMkLst>
          </pc:picChg>
          <pc:picChg chg="del mod">
            <ac:chgData name="Janeen Schuh" userId="b333c9bc-995f-4e7b-84e7-0f7883b0e6ca" providerId="ADAL" clId="{64B71BCA-0D2E-4AA0-A0BA-49CD56CC12A3}" dt="2025-04-15T21:06:39.299" v="113" actId="478"/>
            <ac:picMkLst>
              <pc:docMk/>
              <pc:sldMasterMk cId="2393987413" sldId="2147483728"/>
              <pc:sldLayoutMk cId="1891238898" sldId="2147484059"/>
              <ac:picMk id="4" creationId="{A2C5242A-2DEC-3BB7-1CF1-7D31ACEF0E53}"/>
            </ac:picMkLst>
          </pc:picChg>
        </pc:sldLayoutChg>
        <pc:sldLayoutChg chg="addSp delSp modSp mod">
          <pc:chgData name="Janeen Schuh" userId="b333c9bc-995f-4e7b-84e7-0f7883b0e6ca" providerId="ADAL" clId="{64B71BCA-0D2E-4AA0-A0BA-49CD56CC12A3}" dt="2025-04-15T21:06:16.012" v="101"/>
          <pc:sldLayoutMkLst>
            <pc:docMk/>
            <pc:sldMasterMk cId="2393987413" sldId="2147483728"/>
            <pc:sldLayoutMk cId="1416698228" sldId="2147484060"/>
          </pc:sldLayoutMkLst>
          <pc:picChg chg="add mod">
            <ac:chgData name="Janeen Schuh" userId="b333c9bc-995f-4e7b-84e7-0f7883b0e6ca" providerId="ADAL" clId="{64B71BCA-0D2E-4AA0-A0BA-49CD56CC12A3}" dt="2025-04-15T21:06:16.012" v="101"/>
            <ac:picMkLst>
              <pc:docMk/>
              <pc:sldMasterMk cId="2393987413" sldId="2147483728"/>
              <pc:sldLayoutMk cId="1416698228" sldId="2147484060"/>
              <ac:picMk id="2" creationId="{FBA5C2C8-2760-8F16-1746-9F157E29F4ED}"/>
            </ac:picMkLst>
          </pc:picChg>
          <pc:picChg chg="del">
            <ac:chgData name="Janeen Schuh" userId="b333c9bc-995f-4e7b-84e7-0f7883b0e6ca" providerId="ADAL" clId="{64B71BCA-0D2E-4AA0-A0BA-49CD56CC12A3}" dt="2025-04-15T21:06:14.959" v="100" actId="478"/>
            <ac:picMkLst>
              <pc:docMk/>
              <pc:sldMasterMk cId="2393987413" sldId="2147483728"/>
              <pc:sldLayoutMk cId="1416698228" sldId="2147484060"/>
              <ac:picMk id="4" creationId="{C5307E45-6EFB-B025-A879-B7661A1856F7}"/>
            </ac:picMkLst>
          </pc:picChg>
        </pc:sldLayoutChg>
        <pc:sldLayoutChg chg="addSp delSp modSp mod">
          <pc:chgData name="Janeen Schuh" userId="b333c9bc-995f-4e7b-84e7-0f7883b0e6ca" providerId="ADAL" clId="{64B71BCA-0D2E-4AA0-A0BA-49CD56CC12A3}" dt="2025-04-15T21:07:03.768" v="124"/>
          <pc:sldLayoutMkLst>
            <pc:docMk/>
            <pc:sldMasterMk cId="2393987413" sldId="2147483728"/>
            <pc:sldLayoutMk cId="3192183988" sldId="2147484061"/>
          </pc:sldLayoutMkLst>
          <pc:picChg chg="add mod">
            <ac:chgData name="Janeen Schuh" userId="b333c9bc-995f-4e7b-84e7-0f7883b0e6ca" providerId="ADAL" clId="{64B71BCA-0D2E-4AA0-A0BA-49CD56CC12A3}" dt="2025-04-15T21:07:03.768" v="124"/>
            <ac:picMkLst>
              <pc:docMk/>
              <pc:sldMasterMk cId="2393987413" sldId="2147483728"/>
              <pc:sldLayoutMk cId="3192183988" sldId="2147484061"/>
              <ac:picMk id="2" creationId="{9EC29BF9-4BB9-E2D8-8C22-21DD67999372}"/>
            </ac:picMkLst>
          </pc:picChg>
          <pc:picChg chg="del">
            <ac:chgData name="Janeen Schuh" userId="b333c9bc-995f-4e7b-84e7-0f7883b0e6ca" providerId="ADAL" clId="{64B71BCA-0D2E-4AA0-A0BA-49CD56CC12A3}" dt="2025-04-15T21:07:02.769" v="123" actId="478"/>
            <ac:picMkLst>
              <pc:docMk/>
              <pc:sldMasterMk cId="2393987413" sldId="2147483728"/>
              <pc:sldLayoutMk cId="3192183988" sldId="2147484061"/>
              <ac:picMk id="3" creationId="{9CDA262F-5FC5-D428-5241-499B59484A6F}"/>
            </ac:picMkLst>
          </pc:picChg>
        </pc:sldLayoutChg>
        <pc:sldLayoutChg chg="addSp delSp modSp mod">
          <pc:chgData name="Janeen Schuh" userId="b333c9bc-995f-4e7b-84e7-0f7883b0e6ca" providerId="ADAL" clId="{64B71BCA-0D2E-4AA0-A0BA-49CD56CC12A3}" dt="2025-04-16T14:16:49.155" v="153" actId="1076"/>
          <pc:sldLayoutMkLst>
            <pc:docMk/>
            <pc:sldMasterMk cId="2393987413" sldId="2147483728"/>
            <pc:sldLayoutMk cId="2745310832" sldId="2147484062"/>
          </pc:sldLayoutMkLst>
          <pc:picChg chg="del">
            <ac:chgData name="Janeen Schuh" userId="b333c9bc-995f-4e7b-84e7-0f7883b0e6ca" providerId="ADAL" clId="{64B71BCA-0D2E-4AA0-A0BA-49CD56CC12A3}" dt="2025-04-16T14:15:20.833" v="147" actId="478"/>
            <ac:picMkLst>
              <pc:docMk/>
              <pc:sldMasterMk cId="2393987413" sldId="2147483728"/>
              <pc:sldLayoutMk cId="2745310832" sldId="2147484062"/>
              <ac:picMk id="2" creationId="{11B74A18-3E20-E499-8664-AE2DA2B20A31}"/>
            </ac:picMkLst>
          </pc:picChg>
          <pc:picChg chg="add mod">
            <ac:chgData name="Janeen Schuh" userId="b333c9bc-995f-4e7b-84e7-0f7883b0e6ca" providerId="ADAL" clId="{64B71BCA-0D2E-4AA0-A0BA-49CD56CC12A3}" dt="2025-04-16T14:16:49.155" v="153" actId="1076"/>
            <ac:picMkLst>
              <pc:docMk/>
              <pc:sldMasterMk cId="2393987413" sldId="2147483728"/>
              <pc:sldLayoutMk cId="2745310832" sldId="2147484062"/>
              <ac:picMk id="9" creationId="{EBE6DDB4-FACC-A777-FAC7-1E09CEFB6157}"/>
            </ac:picMkLst>
          </pc:picChg>
        </pc:sldLayoutChg>
        <pc:sldLayoutChg chg="addSp delSp modSp mod">
          <pc:chgData name="Janeen Schuh" userId="b333c9bc-995f-4e7b-84e7-0f7883b0e6ca" providerId="ADAL" clId="{64B71BCA-0D2E-4AA0-A0BA-49CD56CC12A3}" dt="2025-04-15T21:06:26.087" v="105"/>
          <pc:sldLayoutMkLst>
            <pc:docMk/>
            <pc:sldMasterMk cId="2393987413" sldId="2147483728"/>
            <pc:sldLayoutMk cId="3524133061" sldId="2147484064"/>
          </pc:sldLayoutMkLst>
          <pc:picChg chg="add mod">
            <ac:chgData name="Janeen Schuh" userId="b333c9bc-995f-4e7b-84e7-0f7883b0e6ca" providerId="ADAL" clId="{64B71BCA-0D2E-4AA0-A0BA-49CD56CC12A3}" dt="2025-04-15T21:06:26.087" v="105"/>
            <ac:picMkLst>
              <pc:docMk/>
              <pc:sldMasterMk cId="2393987413" sldId="2147483728"/>
              <pc:sldLayoutMk cId="3524133061" sldId="2147484064"/>
              <ac:picMk id="2" creationId="{7C4E4FD0-2E12-FCC1-9D0C-A3C235839600}"/>
            </ac:picMkLst>
          </pc:picChg>
          <pc:picChg chg="del">
            <ac:chgData name="Janeen Schuh" userId="b333c9bc-995f-4e7b-84e7-0f7883b0e6ca" providerId="ADAL" clId="{64B71BCA-0D2E-4AA0-A0BA-49CD56CC12A3}" dt="2025-04-15T21:06:24.865" v="104" actId="478"/>
            <ac:picMkLst>
              <pc:docMk/>
              <pc:sldMasterMk cId="2393987413" sldId="2147483728"/>
              <pc:sldLayoutMk cId="3524133061" sldId="2147484064"/>
              <ac:picMk id="3" creationId="{261CBAF9-DC01-FC0E-4927-7CCB6E94C73A}"/>
            </ac:picMkLst>
          </pc:picChg>
        </pc:sldLayoutChg>
        <pc:sldLayoutChg chg="addSp delSp modSp mod">
          <pc:chgData name="Janeen Schuh" userId="b333c9bc-995f-4e7b-84e7-0f7883b0e6ca" providerId="ADAL" clId="{64B71BCA-0D2E-4AA0-A0BA-49CD56CC12A3}" dt="2025-04-15T21:07:07.632" v="126"/>
          <pc:sldLayoutMkLst>
            <pc:docMk/>
            <pc:sldMasterMk cId="2393987413" sldId="2147483728"/>
            <pc:sldLayoutMk cId="1316322616" sldId="2147484065"/>
          </pc:sldLayoutMkLst>
          <pc:picChg chg="add mod">
            <ac:chgData name="Janeen Schuh" userId="b333c9bc-995f-4e7b-84e7-0f7883b0e6ca" providerId="ADAL" clId="{64B71BCA-0D2E-4AA0-A0BA-49CD56CC12A3}" dt="2025-04-15T21:07:07.632" v="126"/>
            <ac:picMkLst>
              <pc:docMk/>
              <pc:sldMasterMk cId="2393987413" sldId="2147483728"/>
              <pc:sldLayoutMk cId="1316322616" sldId="2147484065"/>
              <ac:picMk id="2" creationId="{02BC2D36-0D31-9591-682A-7BE04EFBB90E}"/>
            </ac:picMkLst>
          </pc:picChg>
          <pc:picChg chg="del">
            <ac:chgData name="Janeen Schuh" userId="b333c9bc-995f-4e7b-84e7-0f7883b0e6ca" providerId="ADAL" clId="{64B71BCA-0D2E-4AA0-A0BA-49CD56CC12A3}" dt="2025-04-15T21:07:06.558" v="125" actId="478"/>
            <ac:picMkLst>
              <pc:docMk/>
              <pc:sldMasterMk cId="2393987413" sldId="2147483728"/>
              <pc:sldLayoutMk cId="1316322616" sldId="2147484065"/>
              <ac:picMk id="5" creationId="{C2E437E4-966D-BB54-C5B2-51FEF913079E}"/>
            </ac:picMkLst>
          </pc:picChg>
        </pc:sldLayoutChg>
        <pc:sldLayoutChg chg="addSp delSp modSp mod">
          <pc:chgData name="Janeen Schuh" userId="b333c9bc-995f-4e7b-84e7-0f7883b0e6ca" providerId="ADAL" clId="{64B71BCA-0D2E-4AA0-A0BA-49CD56CC12A3}" dt="2025-04-15T21:04:05.052" v="43" actId="14100"/>
          <pc:sldLayoutMkLst>
            <pc:docMk/>
            <pc:sldMasterMk cId="2393987413" sldId="2147483728"/>
            <pc:sldLayoutMk cId="3154237984" sldId="2147484067"/>
          </pc:sldLayoutMkLst>
          <pc:picChg chg="del">
            <ac:chgData name="Janeen Schuh" userId="b333c9bc-995f-4e7b-84e7-0f7883b0e6ca" providerId="ADAL" clId="{64B71BCA-0D2E-4AA0-A0BA-49CD56CC12A3}" dt="2025-04-15T21:03:46.362" v="40" actId="478"/>
            <ac:picMkLst>
              <pc:docMk/>
              <pc:sldMasterMk cId="2393987413" sldId="2147483728"/>
              <pc:sldLayoutMk cId="3154237984" sldId="2147484067"/>
              <ac:picMk id="3" creationId="{55C40DFD-FD5B-470F-1460-A5985BAA6920}"/>
            </ac:picMkLst>
          </pc:picChg>
          <pc:picChg chg="add mod">
            <ac:chgData name="Janeen Schuh" userId="b333c9bc-995f-4e7b-84e7-0f7883b0e6ca" providerId="ADAL" clId="{64B71BCA-0D2E-4AA0-A0BA-49CD56CC12A3}" dt="2025-04-15T21:04:05.052" v="43" actId="14100"/>
            <ac:picMkLst>
              <pc:docMk/>
              <pc:sldMasterMk cId="2393987413" sldId="2147483728"/>
              <pc:sldLayoutMk cId="3154237984" sldId="2147484067"/>
              <ac:picMk id="8" creationId="{F1A3F134-778B-C99F-E6D4-916021C1E11D}"/>
            </ac:picMkLst>
          </pc:picChg>
        </pc:sldLayoutChg>
        <pc:sldLayoutChg chg="addSp delSp modSp mod">
          <pc:chgData name="Janeen Schuh" userId="b333c9bc-995f-4e7b-84e7-0f7883b0e6ca" providerId="ADAL" clId="{64B71BCA-0D2E-4AA0-A0BA-49CD56CC12A3}" dt="2025-04-15T21:04:31.836" v="51"/>
          <pc:sldLayoutMkLst>
            <pc:docMk/>
            <pc:sldMasterMk cId="2393987413" sldId="2147483728"/>
            <pc:sldLayoutMk cId="3341109678" sldId="2147484068"/>
          </pc:sldLayoutMkLst>
          <pc:picChg chg="del">
            <ac:chgData name="Janeen Schuh" userId="b333c9bc-995f-4e7b-84e7-0f7883b0e6ca" providerId="ADAL" clId="{64B71BCA-0D2E-4AA0-A0BA-49CD56CC12A3}" dt="2025-04-15T21:04:30.530" v="50" actId="478"/>
            <ac:picMkLst>
              <pc:docMk/>
              <pc:sldMasterMk cId="2393987413" sldId="2147483728"/>
              <pc:sldLayoutMk cId="3341109678" sldId="2147484068"/>
              <ac:picMk id="2" creationId="{51E1581D-4937-16AC-FCD5-4F27D1DBAFFF}"/>
            </ac:picMkLst>
          </pc:picChg>
          <pc:picChg chg="add mod">
            <ac:chgData name="Janeen Schuh" userId="b333c9bc-995f-4e7b-84e7-0f7883b0e6ca" providerId="ADAL" clId="{64B71BCA-0D2E-4AA0-A0BA-49CD56CC12A3}" dt="2025-04-15T21:04:31.836" v="51"/>
            <ac:picMkLst>
              <pc:docMk/>
              <pc:sldMasterMk cId="2393987413" sldId="2147483728"/>
              <pc:sldLayoutMk cId="3341109678" sldId="2147484068"/>
              <ac:picMk id="3" creationId="{44D02104-6E06-3560-27B4-D9FAA821146B}"/>
            </ac:picMkLst>
          </pc:picChg>
        </pc:sldLayoutChg>
        <pc:sldLayoutChg chg="addSp delSp modSp mod">
          <pc:chgData name="Janeen Schuh" userId="b333c9bc-995f-4e7b-84e7-0f7883b0e6ca" providerId="ADAL" clId="{64B71BCA-0D2E-4AA0-A0BA-49CD56CC12A3}" dt="2025-04-15T21:04:35.459" v="53"/>
          <pc:sldLayoutMkLst>
            <pc:docMk/>
            <pc:sldMasterMk cId="2393987413" sldId="2147483728"/>
            <pc:sldLayoutMk cId="3763461979" sldId="2147484069"/>
          </pc:sldLayoutMkLst>
          <pc:picChg chg="del">
            <ac:chgData name="Janeen Schuh" userId="b333c9bc-995f-4e7b-84e7-0f7883b0e6ca" providerId="ADAL" clId="{64B71BCA-0D2E-4AA0-A0BA-49CD56CC12A3}" dt="2025-04-15T21:04:34.072" v="52" actId="478"/>
            <ac:picMkLst>
              <pc:docMk/>
              <pc:sldMasterMk cId="2393987413" sldId="2147483728"/>
              <pc:sldLayoutMk cId="3763461979" sldId="2147484069"/>
              <ac:picMk id="2" creationId="{33AECCEF-C8E9-5622-3568-9791EE12DE87}"/>
            </ac:picMkLst>
          </pc:picChg>
          <pc:picChg chg="add mod">
            <ac:chgData name="Janeen Schuh" userId="b333c9bc-995f-4e7b-84e7-0f7883b0e6ca" providerId="ADAL" clId="{64B71BCA-0D2E-4AA0-A0BA-49CD56CC12A3}" dt="2025-04-15T21:04:35.459" v="53"/>
            <ac:picMkLst>
              <pc:docMk/>
              <pc:sldMasterMk cId="2393987413" sldId="2147483728"/>
              <pc:sldLayoutMk cId="3763461979" sldId="2147484069"/>
              <ac:picMk id="5" creationId="{B4D3DD08-6980-D9CF-C3BD-1A8866984D7D}"/>
            </ac:picMkLst>
          </pc:picChg>
        </pc:sldLayoutChg>
        <pc:sldLayoutChg chg="addSp delSp modSp mod">
          <pc:chgData name="Janeen Schuh" userId="b333c9bc-995f-4e7b-84e7-0f7883b0e6ca" providerId="ADAL" clId="{64B71BCA-0D2E-4AA0-A0BA-49CD56CC12A3}" dt="2025-04-16T14:17:37.147" v="165" actId="1076"/>
          <pc:sldLayoutMkLst>
            <pc:docMk/>
            <pc:sldMasterMk cId="2393987413" sldId="2147483728"/>
            <pc:sldLayoutMk cId="3595061381" sldId="2147484070"/>
          </pc:sldLayoutMkLst>
          <pc:picChg chg="del">
            <ac:chgData name="Janeen Schuh" userId="b333c9bc-995f-4e7b-84e7-0f7883b0e6ca" providerId="ADAL" clId="{64B71BCA-0D2E-4AA0-A0BA-49CD56CC12A3}" dt="2025-04-16T14:17:33.100" v="164" actId="478"/>
            <ac:picMkLst>
              <pc:docMk/>
              <pc:sldMasterMk cId="2393987413" sldId="2147483728"/>
              <pc:sldLayoutMk cId="3595061381" sldId="2147484070"/>
              <ac:picMk id="3" creationId="{F42FE910-11B5-EA9C-3DF1-8A3D1CAC9334}"/>
            </ac:picMkLst>
          </pc:picChg>
          <pc:picChg chg="add mod">
            <ac:chgData name="Janeen Schuh" userId="b333c9bc-995f-4e7b-84e7-0f7883b0e6ca" providerId="ADAL" clId="{64B71BCA-0D2E-4AA0-A0BA-49CD56CC12A3}" dt="2025-04-16T14:17:37.147" v="165" actId="1076"/>
            <ac:picMkLst>
              <pc:docMk/>
              <pc:sldMasterMk cId="2393987413" sldId="2147483728"/>
              <pc:sldLayoutMk cId="3595061381" sldId="2147484070"/>
              <ac:picMk id="7" creationId="{3D612A98-8FC7-5C4B-D41D-B60138A9FE8D}"/>
            </ac:picMkLst>
          </pc:picChg>
        </pc:sldLayoutChg>
        <pc:sldLayoutChg chg="addSp delSp modSp mod">
          <pc:chgData name="Janeen Schuh" userId="b333c9bc-995f-4e7b-84e7-0f7883b0e6ca" providerId="ADAL" clId="{64B71BCA-0D2E-4AA0-A0BA-49CD56CC12A3}" dt="2025-04-15T21:07:45.506" v="142"/>
          <pc:sldLayoutMkLst>
            <pc:docMk/>
            <pc:sldMasterMk cId="2393987413" sldId="2147483728"/>
            <pc:sldLayoutMk cId="1535471707" sldId="2147484072"/>
          </pc:sldLayoutMkLst>
          <pc:picChg chg="del">
            <ac:chgData name="Janeen Schuh" userId="b333c9bc-995f-4e7b-84e7-0f7883b0e6ca" providerId="ADAL" clId="{64B71BCA-0D2E-4AA0-A0BA-49CD56CC12A3}" dt="2025-04-15T21:07:44.099" v="141" actId="478"/>
            <ac:picMkLst>
              <pc:docMk/>
              <pc:sldMasterMk cId="2393987413" sldId="2147483728"/>
              <pc:sldLayoutMk cId="1535471707" sldId="2147484072"/>
              <ac:picMk id="2" creationId="{49E41D0D-7147-DD85-5E8F-1EB4C03524B5}"/>
            </ac:picMkLst>
          </pc:picChg>
          <pc:picChg chg="add mod">
            <ac:chgData name="Janeen Schuh" userId="b333c9bc-995f-4e7b-84e7-0f7883b0e6ca" providerId="ADAL" clId="{64B71BCA-0D2E-4AA0-A0BA-49CD56CC12A3}" dt="2025-04-15T21:07:45.506" v="142"/>
            <ac:picMkLst>
              <pc:docMk/>
              <pc:sldMasterMk cId="2393987413" sldId="2147483728"/>
              <pc:sldLayoutMk cId="1535471707" sldId="2147484072"/>
              <ac:picMk id="3" creationId="{0C9A9C99-46FD-D8C4-A588-4B8D582C377C}"/>
            </ac:picMkLst>
          </pc:picChg>
        </pc:sldLayoutChg>
        <pc:sldLayoutChg chg="addSp delSp modSp mod">
          <pc:chgData name="Janeen Schuh" userId="b333c9bc-995f-4e7b-84e7-0f7883b0e6ca" providerId="ADAL" clId="{64B71BCA-0D2E-4AA0-A0BA-49CD56CC12A3}" dt="2025-04-15T21:07:49.799" v="144"/>
          <pc:sldLayoutMkLst>
            <pc:docMk/>
            <pc:sldMasterMk cId="2393987413" sldId="2147483728"/>
            <pc:sldLayoutMk cId="901975768" sldId="2147484074"/>
          </pc:sldLayoutMkLst>
          <pc:picChg chg="del">
            <ac:chgData name="Janeen Schuh" userId="b333c9bc-995f-4e7b-84e7-0f7883b0e6ca" providerId="ADAL" clId="{64B71BCA-0D2E-4AA0-A0BA-49CD56CC12A3}" dt="2025-04-15T21:07:48.207" v="143" actId="478"/>
            <ac:picMkLst>
              <pc:docMk/>
              <pc:sldMasterMk cId="2393987413" sldId="2147483728"/>
              <pc:sldLayoutMk cId="901975768" sldId="2147484074"/>
              <ac:picMk id="4" creationId="{6D1C7C85-069D-6632-5834-48C25E2EB8D3}"/>
            </ac:picMkLst>
          </pc:picChg>
          <pc:picChg chg="add mod">
            <ac:chgData name="Janeen Schuh" userId="b333c9bc-995f-4e7b-84e7-0f7883b0e6ca" providerId="ADAL" clId="{64B71BCA-0D2E-4AA0-A0BA-49CD56CC12A3}" dt="2025-04-15T21:07:49.799" v="144"/>
            <ac:picMkLst>
              <pc:docMk/>
              <pc:sldMasterMk cId="2393987413" sldId="2147483728"/>
              <pc:sldLayoutMk cId="901975768" sldId="2147484074"/>
              <ac:picMk id="6" creationId="{94A7ECAE-00D9-7412-5D55-D1FCBACDE264}"/>
            </ac:picMkLst>
          </pc:picChg>
        </pc:sldLayoutChg>
        <pc:sldLayoutChg chg="addSp delSp modSp mod">
          <pc:chgData name="Janeen Schuh" userId="b333c9bc-995f-4e7b-84e7-0f7883b0e6ca" providerId="ADAL" clId="{64B71BCA-0D2E-4AA0-A0BA-49CD56CC12A3}" dt="2025-04-15T21:05:11.608" v="71"/>
          <pc:sldLayoutMkLst>
            <pc:docMk/>
            <pc:sldMasterMk cId="2393987413" sldId="2147483728"/>
            <pc:sldLayoutMk cId="562253987" sldId="2147484077"/>
          </pc:sldLayoutMkLst>
          <pc:picChg chg="del">
            <ac:chgData name="Janeen Schuh" userId="b333c9bc-995f-4e7b-84e7-0f7883b0e6ca" providerId="ADAL" clId="{64B71BCA-0D2E-4AA0-A0BA-49CD56CC12A3}" dt="2025-04-15T21:05:10.577" v="70" actId="478"/>
            <ac:picMkLst>
              <pc:docMk/>
              <pc:sldMasterMk cId="2393987413" sldId="2147483728"/>
              <pc:sldLayoutMk cId="562253987" sldId="2147484077"/>
              <ac:picMk id="2" creationId="{56E419AA-B365-7268-5D69-71FE2DCDA029}"/>
            </ac:picMkLst>
          </pc:picChg>
          <pc:picChg chg="add mod">
            <ac:chgData name="Janeen Schuh" userId="b333c9bc-995f-4e7b-84e7-0f7883b0e6ca" providerId="ADAL" clId="{64B71BCA-0D2E-4AA0-A0BA-49CD56CC12A3}" dt="2025-04-15T21:05:11.608" v="71"/>
            <ac:picMkLst>
              <pc:docMk/>
              <pc:sldMasterMk cId="2393987413" sldId="2147483728"/>
              <pc:sldLayoutMk cId="562253987" sldId="2147484077"/>
              <ac:picMk id="4" creationId="{8EBE307A-F821-4D48-536D-5B4688B1BBF8}"/>
            </ac:picMkLst>
          </pc:picChg>
        </pc:sldLayoutChg>
        <pc:sldLayoutChg chg="addSp delSp modSp mod">
          <pc:chgData name="Janeen Schuh" userId="b333c9bc-995f-4e7b-84e7-0f7883b0e6ca" providerId="ADAL" clId="{64B71BCA-0D2E-4AA0-A0BA-49CD56CC12A3}" dt="2025-04-15T21:04:22.397" v="47"/>
          <pc:sldLayoutMkLst>
            <pc:docMk/>
            <pc:sldMasterMk cId="2393987413" sldId="2147483728"/>
            <pc:sldLayoutMk cId="2012683096" sldId="2147484078"/>
          </pc:sldLayoutMkLst>
          <pc:picChg chg="del">
            <ac:chgData name="Janeen Schuh" userId="b333c9bc-995f-4e7b-84e7-0f7883b0e6ca" providerId="ADAL" clId="{64B71BCA-0D2E-4AA0-A0BA-49CD56CC12A3}" dt="2025-04-15T21:04:21.048" v="46" actId="478"/>
            <ac:picMkLst>
              <pc:docMk/>
              <pc:sldMasterMk cId="2393987413" sldId="2147483728"/>
              <pc:sldLayoutMk cId="2012683096" sldId="2147484078"/>
              <ac:picMk id="4" creationId="{99DA5A11-54BE-739F-7D9E-A517D7493837}"/>
            </ac:picMkLst>
          </pc:picChg>
          <pc:picChg chg="add mod">
            <ac:chgData name="Janeen Schuh" userId="b333c9bc-995f-4e7b-84e7-0f7883b0e6ca" providerId="ADAL" clId="{64B71BCA-0D2E-4AA0-A0BA-49CD56CC12A3}" dt="2025-04-15T21:04:22.397" v="47"/>
            <ac:picMkLst>
              <pc:docMk/>
              <pc:sldMasterMk cId="2393987413" sldId="2147483728"/>
              <pc:sldLayoutMk cId="2012683096" sldId="2147484078"/>
              <ac:picMk id="6" creationId="{408AD394-5FBF-3FD2-2A2B-FCF77768F42A}"/>
            </ac:picMkLst>
          </pc:picChg>
        </pc:sldLayoutChg>
        <pc:sldLayoutChg chg="addSp delSp modSp mod">
          <pc:chgData name="Janeen Schuh" userId="b333c9bc-995f-4e7b-84e7-0f7883b0e6ca" providerId="ADAL" clId="{64B71BCA-0D2E-4AA0-A0BA-49CD56CC12A3}" dt="2025-04-15T21:04:26.641" v="49"/>
          <pc:sldLayoutMkLst>
            <pc:docMk/>
            <pc:sldMasterMk cId="2393987413" sldId="2147483728"/>
            <pc:sldLayoutMk cId="2266879995" sldId="2147484079"/>
          </pc:sldLayoutMkLst>
          <pc:picChg chg="del">
            <ac:chgData name="Janeen Schuh" userId="b333c9bc-995f-4e7b-84e7-0f7883b0e6ca" providerId="ADAL" clId="{64B71BCA-0D2E-4AA0-A0BA-49CD56CC12A3}" dt="2025-04-15T21:04:25.330" v="48" actId="478"/>
            <ac:picMkLst>
              <pc:docMk/>
              <pc:sldMasterMk cId="2393987413" sldId="2147483728"/>
              <pc:sldLayoutMk cId="2266879995" sldId="2147484079"/>
              <ac:picMk id="4" creationId="{CF57C820-F79E-CE1B-028E-73FBDF1F83BA}"/>
            </ac:picMkLst>
          </pc:picChg>
          <pc:picChg chg="add mod">
            <ac:chgData name="Janeen Schuh" userId="b333c9bc-995f-4e7b-84e7-0f7883b0e6ca" providerId="ADAL" clId="{64B71BCA-0D2E-4AA0-A0BA-49CD56CC12A3}" dt="2025-04-15T21:04:26.641" v="49"/>
            <ac:picMkLst>
              <pc:docMk/>
              <pc:sldMasterMk cId="2393987413" sldId="2147483728"/>
              <pc:sldLayoutMk cId="2266879995" sldId="2147484079"/>
              <ac:picMk id="7" creationId="{C555B3B8-13FC-4C49-9C41-CD1EC1559132}"/>
            </ac:picMkLst>
          </pc:picChg>
        </pc:sldLayoutChg>
        <pc:sldLayoutChg chg="addSp delSp modSp mod">
          <pc:chgData name="Janeen Schuh" userId="b333c9bc-995f-4e7b-84e7-0f7883b0e6ca" providerId="ADAL" clId="{64B71BCA-0D2E-4AA0-A0BA-49CD56CC12A3}" dt="2025-04-15T21:04:43.653" v="57"/>
          <pc:sldLayoutMkLst>
            <pc:docMk/>
            <pc:sldMasterMk cId="2393987413" sldId="2147483728"/>
            <pc:sldLayoutMk cId="537065193" sldId="2147484080"/>
          </pc:sldLayoutMkLst>
          <pc:picChg chg="del">
            <ac:chgData name="Janeen Schuh" userId="b333c9bc-995f-4e7b-84e7-0f7883b0e6ca" providerId="ADAL" clId="{64B71BCA-0D2E-4AA0-A0BA-49CD56CC12A3}" dt="2025-04-15T21:04:42.544" v="56" actId="478"/>
            <ac:picMkLst>
              <pc:docMk/>
              <pc:sldMasterMk cId="2393987413" sldId="2147483728"/>
              <pc:sldLayoutMk cId="537065193" sldId="2147484080"/>
              <ac:picMk id="2" creationId="{AB481038-DAD0-0782-4DC2-FBDF80727D01}"/>
            </ac:picMkLst>
          </pc:picChg>
          <pc:picChg chg="add mod">
            <ac:chgData name="Janeen Schuh" userId="b333c9bc-995f-4e7b-84e7-0f7883b0e6ca" providerId="ADAL" clId="{64B71BCA-0D2E-4AA0-A0BA-49CD56CC12A3}" dt="2025-04-15T21:04:43.653" v="57"/>
            <ac:picMkLst>
              <pc:docMk/>
              <pc:sldMasterMk cId="2393987413" sldId="2147483728"/>
              <pc:sldLayoutMk cId="537065193" sldId="2147484080"/>
              <ac:picMk id="5" creationId="{391E4AC3-13F0-4A49-CDF3-E0BB5CA26DD4}"/>
            </ac:picMkLst>
          </pc:picChg>
        </pc:sldLayoutChg>
        <pc:sldLayoutChg chg="addSp delSp modSp mod">
          <pc:chgData name="Janeen Schuh" userId="b333c9bc-995f-4e7b-84e7-0f7883b0e6ca" providerId="ADAL" clId="{64B71BCA-0D2E-4AA0-A0BA-49CD56CC12A3}" dt="2025-04-15T21:04:59.559" v="65"/>
          <pc:sldLayoutMkLst>
            <pc:docMk/>
            <pc:sldMasterMk cId="2393987413" sldId="2147483728"/>
            <pc:sldLayoutMk cId="3867312112" sldId="2147484081"/>
          </pc:sldLayoutMkLst>
          <pc:picChg chg="del">
            <ac:chgData name="Janeen Schuh" userId="b333c9bc-995f-4e7b-84e7-0f7883b0e6ca" providerId="ADAL" clId="{64B71BCA-0D2E-4AA0-A0BA-49CD56CC12A3}" dt="2025-04-15T21:04:58.544" v="64" actId="478"/>
            <ac:picMkLst>
              <pc:docMk/>
              <pc:sldMasterMk cId="2393987413" sldId="2147483728"/>
              <pc:sldLayoutMk cId="3867312112" sldId="2147484081"/>
              <ac:picMk id="2" creationId="{6E20EFA8-C73F-8049-EC42-799D686B3D4E}"/>
            </ac:picMkLst>
          </pc:picChg>
          <pc:picChg chg="add mod">
            <ac:chgData name="Janeen Schuh" userId="b333c9bc-995f-4e7b-84e7-0f7883b0e6ca" providerId="ADAL" clId="{64B71BCA-0D2E-4AA0-A0BA-49CD56CC12A3}" dt="2025-04-15T21:04:59.559" v="65"/>
            <ac:picMkLst>
              <pc:docMk/>
              <pc:sldMasterMk cId="2393987413" sldId="2147483728"/>
              <pc:sldLayoutMk cId="3867312112" sldId="2147484081"/>
              <ac:picMk id="8" creationId="{42D7C537-A9B5-B547-8C9C-3911C04CA10B}"/>
            </ac:picMkLst>
          </pc:picChg>
        </pc:sldLayoutChg>
        <pc:sldLayoutChg chg="addSp delSp modSp mod">
          <pc:chgData name="Janeen Schuh" userId="b333c9bc-995f-4e7b-84e7-0f7883b0e6ca" providerId="ADAL" clId="{64B71BCA-0D2E-4AA0-A0BA-49CD56CC12A3}" dt="2025-04-15T21:06:51.547" v="120"/>
          <pc:sldLayoutMkLst>
            <pc:docMk/>
            <pc:sldMasterMk cId="2393987413" sldId="2147483728"/>
            <pc:sldLayoutMk cId="3910717079" sldId="2147484082"/>
          </pc:sldLayoutMkLst>
          <pc:picChg chg="add mod">
            <ac:chgData name="Janeen Schuh" userId="b333c9bc-995f-4e7b-84e7-0f7883b0e6ca" providerId="ADAL" clId="{64B71BCA-0D2E-4AA0-A0BA-49CD56CC12A3}" dt="2025-04-15T21:06:51.547" v="120"/>
            <ac:picMkLst>
              <pc:docMk/>
              <pc:sldMasterMk cId="2393987413" sldId="2147483728"/>
              <pc:sldLayoutMk cId="3910717079" sldId="2147484082"/>
              <ac:picMk id="3" creationId="{F40AA6BE-6BDF-8456-8EA9-A10DC280FB19}"/>
            </ac:picMkLst>
          </pc:picChg>
          <pc:picChg chg="del">
            <ac:chgData name="Janeen Schuh" userId="b333c9bc-995f-4e7b-84e7-0f7883b0e6ca" providerId="ADAL" clId="{64B71BCA-0D2E-4AA0-A0BA-49CD56CC12A3}" dt="2025-04-15T21:06:50.593" v="119" actId="478"/>
            <ac:picMkLst>
              <pc:docMk/>
              <pc:sldMasterMk cId="2393987413" sldId="2147483728"/>
              <pc:sldLayoutMk cId="3910717079" sldId="2147484082"/>
              <ac:picMk id="4" creationId="{256185F5-3CDE-7F06-9CF7-D11281F16B94}"/>
            </ac:picMkLst>
          </pc:picChg>
        </pc:sldLayoutChg>
        <pc:sldLayoutChg chg="addSp delSp modSp mod">
          <pc:chgData name="Janeen Schuh" userId="b333c9bc-995f-4e7b-84e7-0f7883b0e6ca" providerId="ADAL" clId="{64B71BCA-0D2E-4AA0-A0BA-49CD56CC12A3}" dt="2025-04-15T21:05:40.091" v="83"/>
          <pc:sldLayoutMkLst>
            <pc:docMk/>
            <pc:sldMasterMk cId="2393987413" sldId="2147483728"/>
            <pc:sldLayoutMk cId="3565071994" sldId="2147484083"/>
          </pc:sldLayoutMkLst>
          <pc:picChg chg="del">
            <ac:chgData name="Janeen Schuh" userId="b333c9bc-995f-4e7b-84e7-0f7883b0e6ca" providerId="ADAL" clId="{64B71BCA-0D2E-4AA0-A0BA-49CD56CC12A3}" dt="2025-04-15T21:05:39.105" v="82" actId="478"/>
            <ac:picMkLst>
              <pc:docMk/>
              <pc:sldMasterMk cId="2393987413" sldId="2147483728"/>
              <pc:sldLayoutMk cId="3565071994" sldId="2147484083"/>
              <ac:picMk id="2" creationId="{F3C96883-E2B7-97AD-3C41-B37FCCDBBFF5}"/>
            </ac:picMkLst>
          </pc:picChg>
          <pc:picChg chg="add mod">
            <ac:chgData name="Janeen Schuh" userId="b333c9bc-995f-4e7b-84e7-0f7883b0e6ca" providerId="ADAL" clId="{64B71BCA-0D2E-4AA0-A0BA-49CD56CC12A3}" dt="2025-04-15T21:05:40.091" v="83"/>
            <ac:picMkLst>
              <pc:docMk/>
              <pc:sldMasterMk cId="2393987413" sldId="2147483728"/>
              <pc:sldLayoutMk cId="3565071994" sldId="2147484083"/>
              <ac:picMk id="3" creationId="{2E873A2F-A968-86ED-650B-9C1A46FE17A5}"/>
            </ac:picMkLst>
          </pc:picChg>
        </pc:sldLayoutChg>
        <pc:sldLayoutChg chg="addSp delSp modSp mod">
          <pc:chgData name="Janeen Schuh" userId="b333c9bc-995f-4e7b-84e7-0f7883b0e6ca" providerId="ADAL" clId="{64B71BCA-0D2E-4AA0-A0BA-49CD56CC12A3}" dt="2025-04-15T21:05:07.785" v="69"/>
          <pc:sldLayoutMkLst>
            <pc:docMk/>
            <pc:sldMasterMk cId="2393987413" sldId="2147483728"/>
            <pc:sldLayoutMk cId="2636341604" sldId="2147484084"/>
          </pc:sldLayoutMkLst>
          <pc:picChg chg="del">
            <ac:chgData name="Janeen Schuh" userId="b333c9bc-995f-4e7b-84e7-0f7883b0e6ca" providerId="ADAL" clId="{64B71BCA-0D2E-4AA0-A0BA-49CD56CC12A3}" dt="2025-04-15T21:05:06.573" v="68" actId="478"/>
            <ac:picMkLst>
              <pc:docMk/>
              <pc:sldMasterMk cId="2393987413" sldId="2147483728"/>
              <pc:sldLayoutMk cId="2636341604" sldId="2147484084"/>
              <ac:picMk id="2" creationId="{53A62350-646E-B352-A010-0526B9912537}"/>
            </ac:picMkLst>
          </pc:picChg>
          <pc:picChg chg="add mod">
            <ac:chgData name="Janeen Schuh" userId="b333c9bc-995f-4e7b-84e7-0f7883b0e6ca" providerId="ADAL" clId="{64B71BCA-0D2E-4AA0-A0BA-49CD56CC12A3}" dt="2025-04-15T21:05:07.785" v="69"/>
            <ac:picMkLst>
              <pc:docMk/>
              <pc:sldMasterMk cId="2393987413" sldId="2147483728"/>
              <pc:sldLayoutMk cId="2636341604" sldId="2147484084"/>
              <ac:picMk id="4" creationId="{A30C4CFF-3650-CF18-8501-778B5A6EA20B}"/>
            </ac:picMkLst>
          </pc:picChg>
        </pc:sldLayoutChg>
        <pc:sldLayoutChg chg="addSp delSp modSp mod">
          <pc:chgData name="Janeen Schuh" userId="b333c9bc-995f-4e7b-84e7-0f7883b0e6ca" providerId="ADAL" clId="{64B71BCA-0D2E-4AA0-A0BA-49CD56CC12A3}" dt="2025-04-15T21:05:51.811" v="89"/>
          <pc:sldLayoutMkLst>
            <pc:docMk/>
            <pc:sldMasterMk cId="2393987413" sldId="2147483728"/>
            <pc:sldLayoutMk cId="2291913459" sldId="2147484085"/>
          </pc:sldLayoutMkLst>
          <pc:picChg chg="del">
            <ac:chgData name="Janeen Schuh" userId="b333c9bc-995f-4e7b-84e7-0f7883b0e6ca" providerId="ADAL" clId="{64B71BCA-0D2E-4AA0-A0BA-49CD56CC12A3}" dt="2025-04-15T21:05:50.881" v="88" actId="478"/>
            <ac:picMkLst>
              <pc:docMk/>
              <pc:sldMasterMk cId="2393987413" sldId="2147483728"/>
              <pc:sldLayoutMk cId="2291913459" sldId="2147484085"/>
              <ac:picMk id="3" creationId="{D7BC8DC8-C712-7A62-64B6-8616C95CE245}"/>
            </ac:picMkLst>
          </pc:picChg>
          <pc:picChg chg="add mod">
            <ac:chgData name="Janeen Schuh" userId="b333c9bc-995f-4e7b-84e7-0f7883b0e6ca" providerId="ADAL" clId="{64B71BCA-0D2E-4AA0-A0BA-49CD56CC12A3}" dt="2025-04-15T21:05:51.811" v="89"/>
            <ac:picMkLst>
              <pc:docMk/>
              <pc:sldMasterMk cId="2393987413" sldId="2147483728"/>
              <pc:sldLayoutMk cId="2291913459" sldId="2147484085"/>
              <ac:picMk id="7" creationId="{30150079-D12D-1E6A-1884-A9EF30DAA8F4}"/>
            </ac:picMkLst>
          </pc:picChg>
        </pc:sldLayoutChg>
      </pc:sldMasterChg>
    </pc:docChg>
  </pc:docChgLst>
  <pc:docChgLst>
    <pc:chgData name="Anthony Abi Badra" userId="S::anthony.abibadra@incose.net::d4490163-8ca2-4abe-ad38-3d70c5b7f8dc" providerId="AD" clId="Web-{C02270BC-634B-7400-47EC-3C3B731667A0}"/>
    <pc:docChg chg="modSld">
      <pc:chgData name="Anthony Abi Badra" userId="S::anthony.abibadra@incose.net::d4490163-8ca2-4abe-ad38-3d70c5b7f8dc" providerId="AD" clId="Web-{C02270BC-634B-7400-47EC-3C3B731667A0}" dt="2025-04-15T20:56:48.226" v="1" actId="1076"/>
      <pc:docMkLst>
        <pc:docMk/>
      </pc:docMkLst>
      <pc:sldChg chg="modSp">
        <pc:chgData name="Anthony Abi Badra" userId="S::anthony.abibadra@incose.net::d4490163-8ca2-4abe-ad38-3d70c5b7f8dc" providerId="AD" clId="Web-{C02270BC-634B-7400-47EC-3C3B731667A0}" dt="2025-04-15T20:56:48.226" v="1" actId="1076"/>
        <pc:sldMkLst>
          <pc:docMk/>
          <pc:sldMk cId="2856832" sldId="1286"/>
        </pc:sldMkLst>
        <pc:picChg chg="mod">
          <ac:chgData name="Anthony Abi Badra" userId="S::anthony.abibadra@incose.net::d4490163-8ca2-4abe-ad38-3d70c5b7f8dc" providerId="AD" clId="Web-{C02270BC-634B-7400-47EC-3C3B731667A0}" dt="2025-04-15T20:56:48.226" v="1" actId="1076"/>
          <ac:picMkLst>
            <pc:docMk/>
            <pc:sldMk cId="2856832" sldId="1286"/>
            <ac:picMk id="19" creationId="{8C8F792B-D631-0425-0801-8A3CF4D398F0}"/>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_3BC_A437418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3BE_FF94999B.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3BD_A279C2E1.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402_50C1F2D.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_43E_40CEB996.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_43E_40CEB9961.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_4CC_B20CFFCA.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barChart>
        <c:barDir val="bar"/>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A46-408B-9C03-A62323156C29}"/>
            </c:ext>
          </c:extLst>
        </c:ser>
        <c:ser>
          <c:idx val="1"/>
          <c:order val="1"/>
          <c:tx>
            <c:strRef>
              <c:f>Sheet1!$C$1</c:f>
              <c:strCache>
                <c:ptCount val="1"/>
                <c:pt idx="0">
                  <c:v>Series 2</c:v>
                </c:pt>
              </c:strCache>
            </c:strRef>
          </c:tx>
          <c:spPr>
            <a:solidFill>
              <a:schemeClr val="accent3"/>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A46-408B-9C03-A62323156C29}"/>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A46-408B-9C03-A62323156C29}"/>
            </c:ext>
          </c:extLst>
        </c:ser>
        <c:ser>
          <c:idx val="3"/>
          <c:order val="3"/>
          <c:tx>
            <c:strRef>
              <c:f>Sheet1!$E$1</c:f>
              <c:strCache>
                <c:ptCount val="1"/>
                <c:pt idx="0">
                  <c:v>Series 4</c:v>
                </c:pt>
              </c:strCache>
            </c:strRef>
          </c:tx>
          <c:spPr>
            <a:solidFill>
              <a:srgbClr val="C01D28"/>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3</c:v>
                </c:pt>
                <c:pt idx="2">
                  <c:v>2</c:v>
                </c:pt>
                <c:pt idx="3">
                  <c:v>1.5</c:v>
                </c:pt>
              </c:numCache>
            </c:numRef>
          </c:val>
          <c:extLst>
            <c:ext xmlns:c16="http://schemas.microsoft.com/office/drawing/2014/chart" uri="{C3380CC4-5D6E-409C-BE32-E72D297353CC}">
              <c16:uniqueId val="{00000003-0A46-408B-9C03-A62323156C29}"/>
            </c:ext>
          </c:extLst>
        </c:ser>
        <c:dLbls>
          <c:showLegendKey val="0"/>
          <c:showVal val="1"/>
          <c:showCatName val="0"/>
          <c:showSerName val="0"/>
          <c:showPercent val="0"/>
          <c:showBubbleSize val="0"/>
        </c:dLbls>
        <c:gapWidth val="95"/>
        <c:overlap val="100"/>
        <c:axId val="2144677936"/>
        <c:axId val="2145704048"/>
      </c:barChart>
      <c:catAx>
        <c:axId val="21446779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45704048"/>
        <c:crosses val="autoZero"/>
        <c:auto val="1"/>
        <c:lblAlgn val="ctr"/>
        <c:lblOffset val="100"/>
        <c:noMultiLvlLbl val="0"/>
      </c:catAx>
      <c:valAx>
        <c:axId val="2145704048"/>
        <c:scaling>
          <c:orientation val="minMax"/>
        </c:scaling>
        <c:delete val="1"/>
        <c:axPos val="b"/>
        <c:numFmt formatCode="0%" sourceLinked="1"/>
        <c:majorTickMark val="none"/>
        <c:minorTickMark val="none"/>
        <c:tickLblPos val="nextTo"/>
        <c:crossAx val="2144677936"/>
        <c:crosses val="autoZero"/>
        <c:crossBetween val="between"/>
      </c:valAx>
      <c:spPr>
        <a:noFill/>
        <a:ln>
          <a:noFill/>
        </a:ln>
        <a:effectLst/>
      </c:spPr>
    </c:plotArea>
    <c:legend>
      <c:legendPos val="t"/>
      <c:overlay val="0"/>
    </c:legend>
    <c:plotVisOnly val="1"/>
    <c:dispBlanksAs val="gap"/>
    <c:showDLblsOverMax val="0"/>
  </c:chart>
  <c:spPr>
    <a:noFill/>
    <a:ln>
      <a:noFill/>
    </a:ln>
    <a:effectLst/>
  </c:spPr>
  <c:txPr>
    <a:bodyPr/>
    <a:lstStyle/>
    <a:p>
      <a:pPr>
        <a:defRPr/>
      </a:pPr>
      <a:endParaRPr lang="en-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C</c:v>
                </c:pt>
              </c:strCache>
            </c:strRef>
          </c:tx>
          <c:spPr>
            <a:solidFill>
              <a:schemeClr val="accent1"/>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B$2:$B$6</c:f>
              <c:numCache>
                <c:formatCode>General</c:formatCode>
                <c:ptCount val="5"/>
                <c:pt idx="0">
                  <c:v>4.3</c:v>
                </c:pt>
                <c:pt idx="1">
                  <c:v>2.5</c:v>
                </c:pt>
                <c:pt idx="2">
                  <c:v>3.5</c:v>
                </c:pt>
                <c:pt idx="3">
                  <c:v>4.5</c:v>
                </c:pt>
                <c:pt idx="4">
                  <c:v>3.7</c:v>
                </c:pt>
              </c:numCache>
            </c:numRef>
          </c:val>
          <c:extLst>
            <c:ext xmlns:c16="http://schemas.microsoft.com/office/drawing/2014/chart" uri="{C3380CC4-5D6E-409C-BE32-E72D297353CC}">
              <c16:uniqueId val="{00000000-B3CA-466F-8326-007F7764E687}"/>
            </c:ext>
          </c:extLst>
        </c:ser>
        <c:ser>
          <c:idx val="1"/>
          <c:order val="1"/>
          <c:tx>
            <c:strRef>
              <c:f>Sheet1!$C$1</c:f>
              <c:strCache>
                <c:ptCount val="1"/>
                <c:pt idx="0">
                  <c:v>Notebook</c:v>
                </c:pt>
              </c:strCache>
            </c:strRef>
          </c:tx>
          <c:spPr>
            <a:solidFill>
              <a:schemeClr val="accent3"/>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C$2:$C$6</c:f>
              <c:numCache>
                <c:formatCode>General</c:formatCode>
                <c:ptCount val="5"/>
                <c:pt idx="0">
                  <c:v>2.4</c:v>
                </c:pt>
                <c:pt idx="1">
                  <c:v>4.4000000000000004</c:v>
                </c:pt>
                <c:pt idx="2">
                  <c:v>1.8</c:v>
                </c:pt>
                <c:pt idx="3">
                  <c:v>2.8</c:v>
                </c:pt>
                <c:pt idx="4">
                  <c:v>2.5</c:v>
                </c:pt>
              </c:numCache>
            </c:numRef>
          </c:val>
          <c:extLst>
            <c:ext xmlns:c16="http://schemas.microsoft.com/office/drawing/2014/chart" uri="{C3380CC4-5D6E-409C-BE32-E72D297353CC}">
              <c16:uniqueId val="{00000001-B3CA-466F-8326-007F7764E687}"/>
            </c:ext>
          </c:extLst>
        </c:ser>
        <c:ser>
          <c:idx val="2"/>
          <c:order val="2"/>
          <c:tx>
            <c:strRef>
              <c:f>Sheet1!$D$1</c:f>
              <c:strCache>
                <c:ptCount val="1"/>
                <c:pt idx="0">
                  <c:v>Tablet</c:v>
                </c:pt>
              </c:strCache>
            </c:strRef>
          </c:tx>
          <c:spPr>
            <a:solidFill>
              <a:schemeClr val="accent5"/>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D$2:$D$6</c:f>
              <c:numCache>
                <c:formatCode>General</c:formatCode>
                <c:ptCount val="5"/>
                <c:pt idx="0">
                  <c:v>2</c:v>
                </c:pt>
                <c:pt idx="1">
                  <c:v>2</c:v>
                </c:pt>
                <c:pt idx="2">
                  <c:v>3</c:v>
                </c:pt>
                <c:pt idx="3">
                  <c:v>5</c:v>
                </c:pt>
                <c:pt idx="4">
                  <c:v>1.2</c:v>
                </c:pt>
              </c:numCache>
            </c:numRef>
          </c:val>
          <c:extLst>
            <c:ext xmlns:c16="http://schemas.microsoft.com/office/drawing/2014/chart" uri="{C3380CC4-5D6E-409C-BE32-E72D297353CC}">
              <c16:uniqueId val="{00000002-B3CA-466F-8326-007F7764E687}"/>
            </c:ext>
          </c:extLst>
        </c:ser>
        <c:ser>
          <c:idx val="3"/>
          <c:order val="3"/>
          <c:tx>
            <c:strRef>
              <c:f>Sheet1!$E$1</c:f>
              <c:strCache>
                <c:ptCount val="1"/>
                <c:pt idx="0">
                  <c:v>Other</c:v>
                </c:pt>
              </c:strCache>
            </c:strRef>
          </c:tx>
          <c:spPr>
            <a:solidFill>
              <a:srgbClr val="C01D28"/>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E$2:$E$6</c:f>
              <c:numCache>
                <c:formatCode>General</c:formatCode>
                <c:ptCount val="5"/>
                <c:pt idx="0">
                  <c:v>3.7</c:v>
                </c:pt>
                <c:pt idx="1">
                  <c:v>2.5</c:v>
                </c:pt>
                <c:pt idx="2">
                  <c:v>1.1000000000000001</c:v>
                </c:pt>
                <c:pt idx="3">
                  <c:v>1.4</c:v>
                </c:pt>
                <c:pt idx="4">
                  <c:v>4.4000000000000004</c:v>
                </c:pt>
              </c:numCache>
            </c:numRef>
          </c:val>
          <c:extLst>
            <c:ext xmlns:c16="http://schemas.microsoft.com/office/drawing/2014/chart" uri="{C3380CC4-5D6E-409C-BE32-E72D297353CC}">
              <c16:uniqueId val="{00000003-B3CA-466F-8326-007F7764E687}"/>
            </c:ext>
          </c:extLst>
        </c:ser>
        <c:dLbls>
          <c:showLegendKey val="0"/>
          <c:showVal val="0"/>
          <c:showCatName val="0"/>
          <c:showSerName val="0"/>
          <c:showPercent val="0"/>
          <c:showBubbleSize val="0"/>
        </c:dLbls>
        <c:gapWidth val="126"/>
        <c:axId val="2145690064"/>
        <c:axId val="2133704544"/>
      </c:barChart>
      <c:catAx>
        <c:axId val="2145690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crossAx val="2133704544"/>
        <c:crosses val="autoZero"/>
        <c:auto val="1"/>
        <c:lblAlgn val="ctr"/>
        <c:lblOffset val="100"/>
        <c:noMultiLvlLbl val="0"/>
      </c:catAx>
      <c:valAx>
        <c:axId val="2133704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crossAx val="2145690064"/>
        <c:crosses val="autoZero"/>
        <c:crossBetween val="between"/>
      </c:valAx>
      <c:spPr>
        <a:noFill/>
        <a:ln>
          <a:noFill/>
        </a:ln>
        <a:effectLst/>
      </c:spPr>
    </c:plotArea>
    <c:legend>
      <c:legendPos val="b"/>
      <c:layout>
        <c:manualLayout>
          <c:xMode val="edge"/>
          <c:yMode val="edge"/>
          <c:x val="0.27939504479685101"/>
          <c:y val="0.94001079147736499"/>
          <c:w val="0.44282297723436798"/>
          <c:h val="5.99892399007418E-2"/>
        </c:manualLayout>
      </c:layout>
      <c:overlay val="0"/>
      <c:spPr>
        <a:noFill/>
        <a:ln>
          <a:noFill/>
        </a:ln>
        <a:effectLst/>
      </c:spPr>
      <c:txPr>
        <a:bodyPr rot="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legend>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chemeClr val="tx2"/>
              </a:solidFill>
              <a:round/>
            </a:ln>
            <a:effectLst/>
          </c:spPr>
          <c:marker>
            <c:symbol val="circle"/>
            <c:size val="8"/>
            <c:spPr>
              <a:solidFill>
                <a:schemeClr val="bg1"/>
              </a:solidFill>
              <a:ln w="50800">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gradFill>
                      <a:gsLst>
                        <a:gs pos="24583">
                          <a:schemeClr val="tx1"/>
                        </a:gs>
                        <a:gs pos="41000">
                          <a:schemeClr val="tx1"/>
                        </a:gs>
                      </a:gsLst>
                      <a:lin ang="5400000" scaled="0"/>
                    </a:gradFill>
                    <a:latin typeface="+mn-lt"/>
                    <a:ea typeface="+mn-ea"/>
                    <a:cs typeface="+mn-cs"/>
                  </a:defRPr>
                </a:pPr>
                <a:endParaRPr lang="en-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One</c:v>
                </c:pt>
                <c:pt idx="1">
                  <c:v>Two</c:v>
                </c:pt>
                <c:pt idx="2">
                  <c:v>Three</c:v>
                </c:pt>
                <c:pt idx="3">
                  <c:v>Four</c:v>
                </c:pt>
                <c:pt idx="4">
                  <c:v>Five</c:v>
                </c:pt>
                <c:pt idx="5">
                  <c:v>Six</c:v>
                </c:pt>
                <c:pt idx="6">
                  <c:v>Seven</c:v>
                </c:pt>
                <c:pt idx="7">
                  <c:v>Eight</c:v>
                </c:pt>
                <c:pt idx="8">
                  <c:v>Nine</c:v>
                </c:pt>
                <c:pt idx="9">
                  <c:v>Ten</c:v>
                </c:pt>
              </c:strCache>
            </c:strRef>
          </c:cat>
          <c:val>
            <c:numRef>
              <c:f>Sheet1!$B$2:$B$11</c:f>
              <c:numCache>
                <c:formatCode>General</c:formatCode>
                <c:ptCount val="10"/>
                <c:pt idx="0">
                  <c:v>8</c:v>
                </c:pt>
                <c:pt idx="1">
                  <c:v>9</c:v>
                </c:pt>
                <c:pt idx="2">
                  <c:v>25</c:v>
                </c:pt>
                <c:pt idx="3">
                  <c:v>20</c:v>
                </c:pt>
                <c:pt idx="4">
                  <c:v>39</c:v>
                </c:pt>
                <c:pt idx="5">
                  <c:v>45</c:v>
                </c:pt>
                <c:pt idx="6">
                  <c:v>31</c:v>
                </c:pt>
                <c:pt idx="7">
                  <c:v>35</c:v>
                </c:pt>
                <c:pt idx="8">
                  <c:v>53</c:v>
                </c:pt>
                <c:pt idx="9">
                  <c:v>55</c:v>
                </c:pt>
              </c:numCache>
            </c:numRef>
          </c:val>
          <c:smooth val="0"/>
          <c:extLst>
            <c:ext xmlns:c16="http://schemas.microsoft.com/office/drawing/2014/chart" uri="{C3380CC4-5D6E-409C-BE32-E72D297353CC}">
              <c16:uniqueId val="{00000000-8CCD-4FD8-A8B9-21086146AF4F}"/>
            </c:ext>
          </c:extLst>
        </c:ser>
        <c:dLbls>
          <c:showLegendKey val="0"/>
          <c:showVal val="0"/>
          <c:showCatName val="0"/>
          <c:showSerName val="0"/>
          <c:showPercent val="0"/>
          <c:showBubbleSize val="0"/>
        </c:dLbls>
        <c:marker val="1"/>
        <c:smooth val="0"/>
        <c:axId val="2131641696"/>
        <c:axId val="2131644016"/>
      </c:lineChart>
      <c:catAx>
        <c:axId val="21316416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31644016"/>
        <c:crosses val="autoZero"/>
        <c:auto val="1"/>
        <c:lblAlgn val="ctr"/>
        <c:lblOffset val="100"/>
        <c:noMultiLvlLbl val="0"/>
      </c:catAx>
      <c:valAx>
        <c:axId val="213164401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31641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rgbClr val="C01D28"/>
              </a:solidFill>
              <a:round/>
            </a:ln>
            <a:effectLst/>
          </c:spPr>
          <c:marker>
            <c:symbol val="circle"/>
            <c:size val="8"/>
            <c:spPr>
              <a:solidFill>
                <a:schemeClr val="bg1"/>
              </a:solidFill>
              <a:ln w="38100">
                <a:solidFill>
                  <a:srgbClr val="C01D28"/>
                </a:solidFill>
              </a:ln>
              <a:effectLst/>
            </c:spPr>
          </c:marker>
          <c:dPt>
            <c:idx val="0"/>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4-4632-0B4C-B347-60A8F8955560}"/>
              </c:ext>
            </c:extLst>
          </c:dPt>
          <c:dPt>
            <c:idx val="1"/>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2-4632-0B4C-B347-60A8F8955560}"/>
              </c:ext>
            </c:extLst>
          </c:dPt>
          <c:dPt>
            <c:idx val="2"/>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1-4632-0B4C-B347-60A8F8955560}"/>
              </c:ext>
            </c:extLst>
          </c:dPt>
          <c:dPt>
            <c:idx val="3"/>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0-4632-0B4C-B347-60A8F8955560}"/>
              </c:ext>
            </c:extLst>
          </c:dPt>
          <c:dPt>
            <c:idx val="4"/>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3-4632-0B4C-B347-60A8F8955560}"/>
              </c:ext>
            </c:extLst>
          </c:dPt>
          <c:cat>
            <c:strRef>
              <c:f>Sheet1!$A$2:$A$6</c:f>
              <c:strCache>
                <c:ptCount val="5"/>
                <c:pt idx="0">
                  <c:v> One</c:v>
                </c:pt>
                <c:pt idx="1">
                  <c:v>Product Two</c:v>
                </c:pt>
                <c:pt idx="2">
                  <c:v>Product Three</c:v>
                </c:pt>
                <c:pt idx="3">
                  <c:v>Product Four</c:v>
                </c:pt>
                <c:pt idx="4">
                  <c:v>Product Five</c:v>
                </c:pt>
              </c:strCache>
            </c:strRef>
          </c:cat>
          <c:val>
            <c:numRef>
              <c:f>Sheet1!$B$2:$B$6</c:f>
              <c:numCache>
                <c:formatCode>General</c:formatCode>
                <c:ptCount val="5"/>
                <c:pt idx="0">
                  <c:v>200</c:v>
                </c:pt>
                <c:pt idx="1">
                  <c:v>250</c:v>
                </c:pt>
                <c:pt idx="2">
                  <c:v>270</c:v>
                </c:pt>
                <c:pt idx="3">
                  <c:v>350</c:v>
                </c:pt>
                <c:pt idx="4">
                  <c:v>390</c:v>
                </c:pt>
              </c:numCache>
            </c:numRef>
          </c:val>
          <c:smooth val="0"/>
          <c:extLst>
            <c:ext xmlns:c16="http://schemas.microsoft.com/office/drawing/2014/chart" uri="{C3380CC4-5D6E-409C-BE32-E72D297353CC}">
              <c16:uniqueId val="{00000000-F475-437E-AA72-706BE6B19CD2}"/>
            </c:ext>
          </c:extLst>
        </c:ser>
        <c:ser>
          <c:idx val="1"/>
          <c:order val="1"/>
          <c:tx>
            <c:strRef>
              <c:f>Sheet1!$C$1</c:f>
              <c:strCache>
                <c:ptCount val="1"/>
                <c:pt idx="0">
                  <c:v>Series 2</c:v>
                </c:pt>
              </c:strCache>
            </c:strRef>
          </c:tx>
          <c:spPr>
            <a:ln w="38100" cap="rnd">
              <a:solidFill>
                <a:schemeClr val="accent5"/>
              </a:solidFill>
              <a:round/>
            </a:ln>
            <a:effectLst/>
          </c:spPr>
          <c:marker>
            <c:symbol val="circle"/>
            <c:size val="8"/>
            <c:spPr>
              <a:solidFill>
                <a:schemeClr val="bg1"/>
              </a:solidFill>
              <a:ln w="38100">
                <a:solidFill>
                  <a:schemeClr val="accent5"/>
                </a:solidFill>
              </a:ln>
              <a:effectLst/>
            </c:spPr>
          </c:marker>
          <c:cat>
            <c:strRef>
              <c:f>Sheet1!$A$2:$A$6</c:f>
              <c:strCache>
                <c:ptCount val="5"/>
                <c:pt idx="0">
                  <c:v> One</c:v>
                </c:pt>
                <c:pt idx="1">
                  <c:v>Product Two</c:v>
                </c:pt>
                <c:pt idx="2">
                  <c:v>Product Three</c:v>
                </c:pt>
                <c:pt idx="3">
                  <c:v>Product Four</c:v>
                </c:pt>
                <c:pt idx="4">
                  <c:v>Product Five</c:v>
                </c:pt>
              </c:strCache>
            </c:strRef>
          </c:cat>
          <c:val>
            <c:numRef>
              <c:f>Sheet1!$C$2:$C$6</c:f>
              <c:numCache>
                <c:formatCode>General</c:formatCode>
                <c:ptCount val="5"/>
                <c:pt idx="0">
                  <c:v>125</c:v>
                </c:pt>
                <c:pt idx="1">
                  <c:v>360</c:v>
                </c:pt>
                <c:pt idx="2">
                  <c:v>180</c:v>
                </c:pt>
                <c:pt idx="3">
                  <c:v>280</c:v>
                </c:pt>
                <c:pt idx="4">
                  <c:v>530</c:v>
                </c:pt>
              </c:numCache>
            </c:numRef>
          </c:val>
          <c:smooth val="0"/>
          <c:extLst>
            <c:ext xmlns:c16="http://schemas.microsoft.com/office/drawing/2014/chart" uri="{C3380CC4-5D6E-409C-BE32-E72D297353CC}">
              <c16:uniqueId val="{00000001-F475-437E-AA72-706BE6B19CD2}"/>
            </c:ext>
          </c:extLst>
        </c:ser>
        <c:ser>
          <c:idx val="2"/>
          <c:order val="2"/>
          <c:tx>
            <c:strRef>
              <c:f>Sheet1!$D$1</c:f>
              <c:strCache>
                <c:ptCount val="1"/>
                <c:pt idx="0">
                  <c:v>Series 3</c:v>
                </c:pt>
              </c:strCache>
            </c:strRef>
          </c:tx>
          <c:spPr>
            <a:ln w="38100" cap="rnd">
              <a:solidFill>
                <a:schemeClr val="accent3"/>
              </a:solidFill>
              <a:round/>
            </a:ln>
            <a:effectLst/>
          </c:spPr>
          <c:marker>
            <c:symbol val="circle"/>
            <c:size val="8"/>
            <c:spPr>
              <a:solidFill>
                <a:schemeClr val="bg1"/>
              </a:solidFill>
              <a:ln w="38100">
                <a:solidFill>
                  <a:schemeClr val="accent3"/>
                </a:solidFill>
              </a:ln>
              <a:effectLst/>
            </c:spPr>
          </c:marker>
          <c:cat>
            <c:strRef>
              <c:f>Sheet1!$A$2:$A$6</c:f>
              <c:strCache>
                <c:ptCount val="5"/>
                <c:pt idx="0">
                  <c:v> One</c:v>
                </c:pt>
                <c:pt idx="1">
                  <c:v>Product Two</c:v>
                </c:pt>
                <c:pt idx="2">
                  <c:v>Product Three</c:v>
                </c:pt>
                <c:pt idx="3">
                  <c:v>Product Four</c:v>
                </c:pt>
                <c:pt idx="4">
                  <c:v>Product Five</c:v>
                </c:pt>
              </c:strCache>
            </c:strRef>
          </c:cat>
          <c:val>
            <c:numRef>
              <c:f>Sheet1!$D$2:$D$6</c:f>
              <c:numCache>
                <c:formatCode>General</c:formatCode>
                <c:ptCount val="5"/>
                <c:pt idx="0">
                  <c:v>72</c:v>
                </c:pt>
                <c:pt idx="1">
                  <c:v>80</c:v>
                </c:pt>
                <c:pt idx="2">
                  <c:v>360</c:v>
                </c:pt>
                <c:pt idx="3">
                  <c:v>500</c:v>
                </c:pt>
                <c:pt idx="4">
                  <c:v>450</c:v>
                </c:pt>
              </c:numCache>
            </c:numRef>
          </c:val>
          <c:smooth val="0"/>
          <c:extLst>
            <c:ext xmlns:c16="http://schemas.microsoft.com/office/drawing/2014/chart" uri="{C3380CC4-5D6E-409C-BE32-E72D297353CC}">
              <c16:uniqueId val="{00000002-F475-437E-AA72-706BE6B19CD2}"/>
            </c:ext>
          </c:extLst>
        </c:ser>
        <c:dLbls>
          <c:showLegendKey val="0"/>
          <c:showVal val="0"/>
          <c:showCatName val="0"/>
          <c:showSerName val="0"/>
          <c:showPercent val="0"/>
          <c:showBubbleSize val="0"/>
        </c:dLbls>
        <c:marker val="1"/>
        <c:smooth val="0"/>
        <c:axId val="2041681536"/>
        <c:axId val="2041682896"/>
      </c:lineChart>
      <c:catAx>
        <c:axId val="20416815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041682896"/>
        <c:crosses val="autoZero"/>
        <c:auto val="1"/>
        <c:lblAlgn val="ctr"/>
        <c:lblOffset val="100"/>
        <c:noMultiLvlLbl val="0"/>
      </c:catAx>
      <c:valAx>
        <c:axId val="204168289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041681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pie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B044-404D-AECA-19FA49BF7A68}"/>
              </c:ext>
            </c:extLst>
          </c:dPt>
          <c:dPt>
            <c:idx val="1"/>
            <c:bubble3D val="0"/>
            <c:spPr>
              <a:solidFill>
                <a:srgbClr val="C01D28"/>
              </a:solidFill>
            </c:spPr>
            <c:extLst>
              <c:ext xmlns:c16="http://schemas.microsoft.com/office/drawing/2014/chart" uri="{C3380CC4-5D6E-409C-BE32-E72D297353CC}">
                <c16:uniqueId val="{00000003-B044-404D-AECA-19FA49BF7A68}"/>
              </c:ext>
            </c:extLst>
          </c:dPt>
          <c:dPt>
            <c:idx val="2"/>
            <c:bubble3D val="0"/>
            <c:spPr>
              <a:solidFill>
                <a:schemeClr val="accent3"/>
              </a:solidFill>
            </c:spPr>
            <c:extLst>
              <c:ext xmlns:c16="http://schemas.microsoft.com/office/drawing/2014/chart" uri="{C3380CC4-5D6E-409C-BE32-E72D297353CC}">
                <c16:uniqueId val="{00000005-B044-404D-AECA-19FA49BF7A68}"/>
              </c:ext>
            </c:extLst>
          </c:dPt>
          <c:dPt>
            <c:idx val="3"/>
            <c:bubble3D val="0"/>
            <c:spPr>
              <a:solidFill>
                <a:schemeClr val="accent5"/>
              </a:solidFill>
            </c:spPr>
            <c:extLst>
              <c:ext xmlns:c16="http://schemas.microsoft.com/office/drawing/2014/chart" uri="{C3380CC4-5D6E-409C-BE32-E72D297353CC}">
                <c16:uniqueId val="{00000007-B044-404D-AECA-19FA49BF7A68}"/>
              </c:ext>
            </c:extLst>
          </c:dPt>
          <c:dLbls>
            <c:dLbl>
              <c:idx val="0"/>
              <c:layout>
                <c:manualLayout>
                  <c:x val="-0.23658742801451799"/>
                  <c:y val="-4.8908818096733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044-404D-AECA-19FA49BF7A68}"/>
                </c:ext>
              </c:extLst>
            </c:dLbl>
            <c:dLbl>
              <c:idx val="1"/>
              <c:layout>
                <c:manualLayout>
                  <c:x val="0.12934644002081599"/>
                  <c:y val="-7.825666750851349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44-404D-AECA-19FA49BF7A68}"/>
                </c:ext>
              </c:extLst>
            </c:dLbl>
            <c:dLbl>
              <c:idx val="2"/>
              <c:layout>
                <c:manualLayout>
                  <c:x val="0.11642116455924199"/>
                  <c:y val="0.12129195409129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044-404D-AECA-19FA49BF7A68}"/>
                </c:ext>
              </c:extLst>
            </c:dLbl>
            <c:dLbl>
              <c:idx val="3"/>
              <c:layout>
                <c:manualLayout>
                  <c:x val="6.1499337250244E-2"/>
                  <c:y val="0.18067103436550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44-404D-AECA-19FA49BF7A68}"/>
                </c:ext>
              </c:extLst>
            </c:dLbl>
            <c:spPr>
              <a:noFill/>
              <a:ln>
                <a:noFill/>
              </a:ln>
              <a:effectLst/>
            </c:spPr>
            <c:txPr>
              <a:bodyPr/>
              <a:lstStyle/>
              <a:p>
                <a:pPr>
                  <a:defRPr sz="1200" b="1">
                    <a:solidFill>
                      <a:schemeClr val="bg1"/>
                    </a:solidFill>
                    <a:latin typeface="Arial" panose="020B0604020202020204" pitchFamily="34" charset="0"/>
                    <a:cs typeface="Arial" panose="020B0604020202020204" pitchFamily="34" charset="0"/>
                  </a:defRPr>
                </a:pPr>
                <a:endParaRPr lang="en-FR"/>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Data A</c:v>
                </c:pt>
                <c:pt idx="1">
                  <c:v>Data B</c:v>
                </c:pt>
                <c:pt idx="2">
                  <c:v>Data C</c:v>
                </c:pt>
                <c:pt idx="3">
                  <c:v>Data D</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B044-404D-AECA-19FA49BF7A68}"/>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75493368139079298"/>
          <c:y val="0.32458297818701298"/>
          <c:w val="0.19537965157939499"/>
          <c:h val="0.38418528433714699"/>
        </c:manualLayout>
      </c:layout>
      <c:overlay val="1"/>
      <c:txPr>
        <a:bodyPr/>
        <a:lstStyle/>
        <a:p>
          <a:pPr>
            <a:defRPr sz="1000">
              <a:solidFill>
                <a:schemeClr val="tx2">
                  <a:lumMod val="75000"/>
                </a:schemeClr>
              </a:solidFill>
            </a:defRPr>
          </a:pPr>
          <a:endParaRPr lang="en-FR"/>
        </a:p>
      </c:txPr>
    </c:legend>
    <c:plotVisOnly val="1"/>
    <c:dispBlanksAs val="gap"/>
    <c:showDLblsOverMax val="0"/>
  </c:chart>
  <c:txPr>
    <a:bodyPr/>
    <a:lstStyle/>
    <a:p>
      <a:pPr>
        <a:defRPr sz="1800"/>
      </a:pPr>
      <a:endParaRPr lang="en-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doughnutChart>
        <c:varyColors val="1"/>
        <c:ser>
          <c:idx val="0"/>
          <c:order val="0"/>
          <c:tx>
            <c:strRef>
              <c:f>Sheet1!$B$1</c:f>
              <c:strCache>
                <c:ptCount val="1"/>
                <c:pt idx="0">
                  <c:v>Sales</c:v>
                </c:pt>
              </c:strCache>
            </c:strRef>
          </c:tx>
          <c:spPr>
            <a:solidFill>
              <a:schemeClr val="bg1">
                <a:lumMod val="95000"/>
              </a:schemeClr>
            </a:solidFill>
          </c:spPr>
          <c:dPt>
            <c:idx val="0"/>
            <c:bubble3D val="0"/>
            <c:spPr>
              <a:solidFill>
                <a:schemeClr val="bg1">
                  <a:lumMod val="85000"/>
                </a:schemeClr>
              </a:solidFill>
              <a:ln>
                <a:solidFill>
                  <a:schemeClr val="lt1">
                    <a:hueOff val="0"/>
                    <a:satOff val="0"/>
                    <a:lumOff val="0"/>
                  </a:schemeClr>
                </a:solidFill>
              </a:ln>
            </c:spPr>
            <c:extLst>
              <c:ext xmlns:c16="http://schemas.microsoft.com/office/drawing/2014/chart" uri="{C3380CC4-5D6E-409C-BE32-E72D297353CC}">
                <c16:uniqueId val="{00000001-F052-476B-8BA7-15E55642B28F}"/>
              </c:ext>
            </c:extLst>
          </c:dPt>
          <c:dPt>
            <c:idx val="1"/>
            <c:bubble3D val="0"/>
            <c:spPr>
              <a:solidFill>
                <a:schemeClr val="accent1"/>
              </a:solidFill>
            </c:spPr>
            <c:extLst>
              <c:ext xmlns:c16="http://schemas.microsoft.com/office/drawing/2014/chart" uri="{C3380CC4-5D6E-409C-BE32-E72D297353CC}">
                <c16:uniqueId val="{00000003-F052-476B-8BA7-15E55642B28F}"/>
              </c:ext>
            </c:extLst>
          </c:dPt>
          <c:dPt>
            <c:idx val="2"/>
            <c:bubble3D val="0"/>
            <c:extLst>
              <c:ext xmlns:c16="http://schemas.microsoft.com/office/drawing/2014/chart" uri="{C3380CC4-5D6E-409C-BE32-E72D297353CC}">
                <c16:uniqueId val="{00000005-F052-476B-8BA7-15E55642B28F}"/>
              </c:ext>
            </c:extLst>
          </c:dPt>
          <c:dPt>
            <c:idx val="3"/>
            <c:bubble3D val="0"/>
            <c:extLst>
              <c:ext xmlns:c16="http://schemas.microsoft.com/office/drawing/2014/chart" uri="{C3380CC4-5D6E-409C-BE32-E72D297353CC}">
                <c16:uniqueId val="{00000007-F052-476B-8BA7-15E55642B28F}"/>
              </c:ext>
            </c:extLst>
          </c:dPt>
          <c:cat>
            <c:strRef>
              <c:f>Sheet1!$A$2:$A$3</c:f>
              <c:strCache>
                <c:ptCount val="2"/>
                <c:pt idx="0">
                  <c:v>Data A</c:v>
                </c:pt>
                <c:pt idx="1">
                  <c:v>Data B</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8-F052-476B-8BA7-15E55642B28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spPr>
    <a:ln>
      <a:noFill/>
    </a:ln>
  </c:spPr>
  <c:txPr>
    <a:bodyPr/>
    <a:lstStyle/>
    <a:p>
      <a:pPr>
        <a:defRPr sz="1800"/>
      </a:pPr>
      <a:endParaRPr lang="en-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3"/>
              </a:solidFill>
              <a:ln w="6350">
                <a:noFill/>
              </a:ln>
              <a:effectLst/>
            </c:spPr>
            <c:extLst>
              <c:ext xmlns:c16="http://schemas.microsoft.com/office/drawing/2014/chart" uri="{C3380CC4-5D6E-409C-BE32-E72D297353CC}">
                <c16:uniqueId val="{00000001-8262-480B-9D60-E2AB564EC34E}"/>
              </c:ext>
            </c:extLst>
          </c:dPt>
          <c:dPt>
            <c:idx val="1"/>
            <c:bubble3D val="0"/>
            <c:spPr>
              <a:solidFill>
                <a:schemeClr val="accent3">
                  <a:lumMod val="75000"/>
                  <a:lumOff val="25000"/>
                </a:schemeClr>
              </a:solidFill>
              <a:ln w="19050">
                <a:noFill/>
              </a:ln>
              <a:effectLst/>
            </c:spPr>
            <c:extLst>
              <c:ext xmlns:c16="http://schemas.microsoft.com/office/drawing/2014/chart" uri="{C3380CC4-5D6E-409C-BE32-E72D297353CC}">
                <c16:uniqueId val="{00000003-8262-480B-9D60-E2AB564EC34E}"/>
              </c:ext>
            </c:extLst>
          </c:dPt>
          <c:dPt>
            <c:idx val="2"/>
            <c:bubble3D val="0"/>
            <c:spPr>
              <a:solidFill>
                <a:srgbClr val="767676"/>
              </a:solidFill>
              <a:ln w="19050">
                <a:noFill/>
              </a:ln>
              <a:effectLst/>
            </c:spPr>
            <c:extLst>
              <c:ext xmlns:c16="http://schemas.microsoft.com/office/drawing/2014/chart" uri="{C3380CC4-5D6E-409C-BE32-E72D297353CC}">
                <c16:uniqueId val="{00000005-8262-480B-9D60-E2AB564EC34E}"/>
              </c:ext>
            </c:extLst>
          </c:dPt>
          <c:dPt>
            <c:idx val="3"/>
            <c:bubble3D val="0"/>
            <c:spPr>
              <a:solidFill>
                <a:srgbClr val="C01D28"/>
              </a:solidFill>
              <a:ln w="19050">
                <a:noFill/>
              </a:ln>
              <a:effectLst/>
            </c:spPr>
            <c:extLst>
              <c:ext xmlns:c16="http://schemas.microsoft.com/office/drawing/2014/chart" uri="{C3380CC4-5D6E-409C-BE32-E72D297353CC}">
                <c16:uniqueId val="{00000007-8262-480B-9D60-E2AB564EC34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8-8262-480B-9D60-E2AB564EC34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7363" cy="463550"/>
          </a:xfrm>
          <a:prstGeom prst="rect">
            <a:avLst/>
          </a:prstGeom>
        </p:spPr>
        <p:txBody>
          <a:bodyPr vert="horz" lIns="91029" tIns="45514" rIns="91029" bIns="45514" rtlCol="0"/>
          <a:lstStyle>
            <a:lvl1pPr algn="l">
              <a:defRPr sz="1200"/>
            </a:lvl1pPr>
          </a:lstStyle>
          <a:p>
            <a:endParaRPr lang="en-US"/>
          </a:p>
        </p:txBody>
      </p:sp>
      <p:sp>
        <p:nvSpPr>
          <p:cNvPr id="3" name="Date Placeholder 2"/>
          <p:cNvSpPr>
            <a:spLocks noGrp="1"/>
          </p:cNvSpPr>
          <p:nvPr>
            <p:ph type="dt" sz="quarter" idx="1"/>
          </p:nvPr>
        </p:nvSpPr>
        <p:spPr>
          <a:xfrm>
            <a:off x="3956052" y="0"/>
            <a:ext cx="3027363" cy="463550"/>
          </a:xfrm>
          <a:prstGeom prst="rect">
            <a:avLst/>
          </a:prstGeom>
        </p:spPr>
        <p:txBody>
          <a:bodyPr vert="horz" lIns="91029" tIns="45514" rIns="91029" bIns="45514" rtlCol="0"/>
          <a:lstStyle>
            <a:lvl1pPr algn="r">
              <a:defRPr sz="1200"/>
            </a:lvl1pPr>
          </a:lstStyle>
          <a:p>
            <a:fld id="{148E5A2D-7A34-412F-8E9B-EF8BA45F9F34}" type="datetime1">
              <a:rPr lang="en-US" smtClean="0"/>
              <a:t>4/16/2025</a:t>
            </a:fld>
            <a:endParaRPr lang="en-US"/>
          </a:p>
        </p:txBody>
      </p:sp>
      <p:sp>
        <p:nvSpPr>
          <p:cNvPr id="4" name="Footer Placeholder 3"/>
          <p:cNvSpPr>
            <a:spLocks noGrp="1"/>
          </p:cNvSpPr>
          <p:nvPr>
            <p:ph type="ftr" sz="quarter" idx="2"/>
          </p:nvPr>
        </p:nvSpPr>
        <p:spPr>
          <a:xfrm>
            <a:off x="2" y="8818563"/>
            <a:ext cx="3027363" cy="463550"/>
          </a:xfrm>
          <a:prstGeom prst="rect">
            <a:avLst/>
          </a:prstGeom>
        </p:spPr>
        <p:txBody>
          <a:bodyPr vert="horz" lIns="91029" tIns="45514" rIns="91029" bIns="45514" rtlCol="0" anchor="b"/>
          <a:lstStyle>
            <a:lvl1pPr algn="l">
              <a:defRPr sz="1200"/>
            </a:lvl1pPr>
          </a:lstStyle>
          <a:p>
            <a:r>
              <a:rPr lang="en-US"/>
              <a:t>INCOSE.org</a:t>
            </a:r>
          </a:p>
        </p:txBody>
      </p:sp>
      <p:sp>
        <p:nvSpPr>
          <p:cNvPr id="5" name="Slide Number Placeholder 4"/>
          <p:cNvSpPr>
            <a:spLocks noGrp="1"/>
          </p:cNvSpPr>
          <p:nvPr>
            <p:ph type="sldNum" sz="quarter" idx="3"/>
          </p:nvPr>
        </p:nvSpPr>
        <p:spPr>
          <a:xfrm>
            <a:off x="3956052" y="8818563"/>
            <a:ext cx="3027363" cy="463550"/>
          </a:xfrm>
          <a:prstGeom prst="rect">
            <a:avLst/>
          </a:prstGeom>
        </p:spPr>
        <p:txBody>
          <a:bodyPr vert="horz" lIns="91029" tIns="45514" rIns="91029" bIns="45514" rtlCol="0" anchor="b"/>
          <a:lstStyle>
            <a:lvl1pPr algn="r">
              <a:defRPr sz="1200"/>
            </a:lvl1pPr>
          </a:lstStyle>
          <a:p>
            <a:fld id="{5C665FA2-C151-4662-A2E4-7CE245007D67}" type="slidenum">
              <a:rPr lang="en-US" smtClean="0"/>
              <a:t>‹#›</a:t>
            </a:fld>
            <a:endParaRPr lang="en-US"/>
          </a:p>
        </p:txBody>
      </p:sp>
    </p:spTree>
    <p:extLst>
      <p:ext uri="{BB962C8B-B14F-4D97-AF65-F5344CB8AC3E}">
        <p14:creationId xmlns:p14="http://schemas.microsoft.com/office/powerpoint/2010/main" val="2579845493"/>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6833" cy="464185"/>
          </a:xfrm>
          <a:prstGeom prst="rect">
            <a:avLst/>
          </a:prstGeom>
        </p:spPr>
        <p:txBody>
          <a:bodyPr vert="horz" lIns="92540" tIns="46270" rIns="92540" bIns="46270" rtlCol="0"/>
          <a:lstStyle>
            <a:lvl1pPr algn="l">
              <a:defRPr sz="1200"/>
            </a:lvl1pPr>
          </a:lstStyle>
          <a:p>
            <a:endParaRPr lang="en-US"/>
          </a:p>
        </p:txBody>
      </p:sp>
      <p:sp>
        <p:nvSpPr>
          <p:cNvPr id="3" name="Date Placeholder 2"/>
          <p:cNvSpPr>
            <a:spLocks noGrp="1"/>
          </p:cNvSpPr>
          <p:nvPr>
            <p:ph type="dt" idx="1"/>
          </p:nvPr>
        </p:nvSpPr>
        <p:spPr>
          <a:xfrm>
            <a:off x="3956552" y="0"/>
            <a:ext cx="3026833" cy="464185"/>
          </a:xfrm>
          <a:prstGeom prst="rect">
            <a:avLst/>
          </a:prstGeom>
        </p:spPr>
        <p:txBody>
          <a:bodyPr vert="horz" lIns="92540" tIns="46270" rIns="92540" bIns="46270" rtlCol="0"/>
          <a:lstStyle>
            <a:lvl1pPr algn="r">
              <a:defRPr sz="1200"/>
            </a:lvl1pPr>
          </a:lstStyle>
          <a:p>
            <a:fld id="{5F334CC7-3019-4315-A940-28CE5A6B4904}" type="datetime1">
              <a:rPr lang="en-US" smtClean="0"/>
              <a:t>4/16/2025</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2540" tIns="46270" rIns="92540" bIns="46270" rtlCol="0" anchor="ctr"/>
          <a:lstStyle/>
          <a:p>
            <a:endParaRPr lang="en-US"/>
          </a:p>
        </p:txBody>
      </p:sp>
      <p:sp>
        <p:nvSpPr>
          <p:cNvPr id="5" name="Notes Placeholder 4"/>
          <p:cNvSpPr>
            <a:spLocks noGrp="1"/>
          </p:cNvSpPr>
          <p:nvPr>
            <p:ph type="body" sz="quarter" idx="3"/>
          </p:nvPr>
        </p:nvSpPr>
        <p:spPr>
          <a:xfrm>
            <a:off x="698500" y="4409759"/>
            <a:ext cx="5588000" cy="4177665"/>
          </a:xfrm>
          <a:prstGeom prst="rect">
            <a:avLst/>
          </a:prstGeom>
        </p:spPr>
        <p:txBody>
          <a:bodyPr vert="horz" lIns="92540" tIns="46270" rIns="92540" bIns="462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17904"/>
            <a:ext cx="3026833" cy="464185"/>
          </a:xfrm>
          <a:prstGeom prst="rect">
            <a:avLst/>
          </a:prstGeom>
        </p:spPr>
        <p:txBody>
          <a:bodyPr vert="horz" lIns="92540" tIns="46270" rIns="92540" bIns="46270" rtlCol="0" anchor="b"/>
          <a:lstStyle>
            <a:lvl1pPr algn="l">
              <a:defRPr sz="1200"/>
            </a:lvl1pPr>
          </a:lstStyle>
          <a:p>
            <a:r>
              <a:rPr lang="en-US"/>
              <a:t>INCOSE.org</a:t>
            </a:r>
          </a:p>
        </p:txBody>
      </p:sp>
      <p:sp>
        <p:nvSpPr>
          <p:cNvPr id="7" name="Slide Number Placeholder 6"/>
          <p:cNvSpPr>
            <a:spLocks noGrp="1"/>
          </p:cNvSpPr>
          <p:nvPr>
            <p:ph type="sldNum" sz="quarter" idx="5"/>
          </p:nvPr>
        </p:nvSpPr>
        <p:spPr>
          <a:xfrm>
            <a:off x="3956552" y="8817904"/>
            <a:ext cx="3026833" cy="464185"/>
          </a:xfrm>
          <a:prstGeom prst="rect">
            <a:avLst/>
          </a:prstGeom>
        </p:spPr>
        <p:txBody>
          <a:bodyPr vert="horz" lIns="92540" tIns="46270" rIns="92540" bIns="46270" rtlCol="0" anchor="b"/>
          <a:lstStyle>
            <a:lvl1pPr algn="r">
              <a:defRPr sz="1200"/>
            </a:lvl1pPr>
          </a:lstStyle>
          <a:p>
            <a:fld id="{F55EC67E-402D-4FA6-937E-816E25842894}" type="slidenum">
              <a:rPr lang="en-US" smtClean="0"/>
              <a:t>‹#›</a:t>
            </a:fld>
            <a:endParaRPr lang="en-US"/>
          </a:p>
        </p:txBody>
      </p:sp>
    </p:spTree>
    <p:extLst>
      <p:ext uri="{BB962C8B-B14F-4D97-AF65-F5344CB8AC3E}">
        <p14:creationId xmlns:p14="http://schemas.microsoft.com/office/powerpoint/2010/main" val="267774110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Slalom</a:t>
            </a:r>
          </a:p>
        </p:txBody>
      </p:sp>
    </p:spTree>
    <p:extLst>
      <p:ext uri="{BB962C8B-B14F-4D97-AF65-F5344CB8AC3E}">
        <p14:creationId xmlns:p14="http://schemas.microsoft.com/office/powerpoint/2010/main" val="960959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8322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lalom</a:t>
            </a:r>
          </a:p>
        </p:txBody>
      </p:sp>
    </p:spTree>
    <p:extLst>
      <p:ext uri="{BB962C8B-B14F-4D97-AF65-F5344CB8AC3E}">
        <p14:creationId xmlns:p14="http://schemas.microsoft.com/office/powerpoint/2010/main" val="3965000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1074787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177850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3632878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a:p>
        </p:txBody>
      </p:sp>
      <p:sp>
        <p:nvSpPr>
          <p:cNvPr id="4" name="Footer Placeholder 3"/>
          <p:cNvSpPr>
            <a:spLocks noGrp="1"/>
          </p:cNvSpPr>
          <p:nvPr>
            <p:ph type="ftr" sz="quarter" idx="4"/>
          </p:nvPr>
        </p:nvSpPr>
        <p:spPr/>
        <p:txBody>
          <a:bodyPr/>
          <a:lstStyle/>
          <a:p>
            <a:r>
              <a:rPr lang="en-US"/>
              <a:t>INCOSE.org</a:t>
            </a:r>
          </a:p>
        </p:txBody>
      </p:sp>
    </p:spTree>
    <p:extLst>
      <p:ext uri="{BB962C8B-B14F-4D97-AF65-F5344CB8AC3E}">
        <p14:creationId xmlns:p14="http://schemas.microsoft.com/office/powerpoint/2010/main" val="1790860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a:p>
        </p:txBody>
      </p:sp>
      <p:sp>
        <p:nvSpPr>
          <p:cNvPr id="4" name="Footer Placeholder 3"/>
          <p:cNvSpPr>
            <a:spLocks noGrp="1"/>
          </p:cNvSpPr>
          <p:nvPr>
            <p:ph type="ftr" sz="quarter" idx="4"/>
          </p:nvPr>
        </p:nvSpPr>
        <p:spPr/>
        <p:txBody>
          <a:bodyPr/>
          <a:lstStyle/>
          <a:p>
            <a:r>
              <a:rPr lang="en-US"/>
              <a:t>INCOSE.org</a:t>
            </a:r>
          </a:p>
        </p:txBody>
      </p:sp>
    </p:spTree>
    <p:extLst>
      <p:ext uri="{BB962C8B-B14F-4D97-AF65-F5344CB8AC3E}">
        <p14:creationId xmlns:p14="http://schemas.microsoft.com/office/powerpoint/2010/main" val="1942379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604552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7350431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905569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5F334CC7-3019-4315-A940-28CE5A6B4904}" type="datetime1">
              <a:rPr lang="en-US" smtClean="0"/>
              <a:t>4/16/2025</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F55EC67E-402D-4FA6-937E-816E25842894}" type="slidenum">
              <a:rPr lang="en-US" smtClean="0"/>
              <a:t>29</a:t>
            </a:fld>
            <a:endParaRPr lang="en-US"/>
          </a:p>
        </p:txBody>
      </p:sp>
    </p:spTree>
    <p:extLst>
      <p:ext uri="{BB962C8B-B14F-4D97-AF65-F5344CB8AC3E}">
        <p14:creationId xmlns:p14="http://schemas.microsoft.com/office/powerpoint/2010/main" val="2282886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Footer Placeholder 3"/>
          <p:cNvSpPr>
            <a:spLocks noGrp="1"/>
          </p:cNvSpPr>
          <p:nvPr>
            <p:ph type="ftr" sz="quarter" idx="10"/>
          </p:nvPr>
        </p:nvSpPr>
        <p:spPr/>
        <p:txBody>
          <a:bodyPr/>
          <a:lstStyle/>
          <a:p>
            <a:r>
              <a:rPr lang="en-US"/>
              <a:t>Slalom</a:t>
            </a:r>
          </a:p>
        </p:txBody>
      </p:sp>
    </p:spTree>
    <p:extLst>
      <p:ext uri="{BB962C8B-B14F-4D97-AF65-F5344CB8AC3E}">
        <p14:creationId xmlns:p14="http://schemas.microsoft.com/office/powerpoint/2010/main" val="622299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COSE 2024 Base Template">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4" name="TextBox 3"/>
          <p:cNvSpPr txBox="1"/>
          <p:nvPr userDrawn="1"/>
        </p:nvSpPr>
        <p:spPr>
          <a:xfrm>
            <a:off x="476657" y="546221"/>
            <a:ext cx="4044543" cy="1095685"/>
          </a:xfrm>
          <a:prstGeom prst="rect">
            <a:avLst/>
          </a:prstGeom>
          <a:noFill/>
        </p:spPr>
        <p:txBody>
          <a:bodyPr wrap="square" lIns="0" tIns="0" rIns="0" bIns="0" rtlCol="0">
            <a:spAutoFit/>
          </a:bodyPr>
          <a:lstStyle/>
          <a:p>
            <a:pPr>
              <a:lnSpc>
                <a:spcPct val="90000"/>
              </a:lnSpc>
              <a:spcBef>
                <a:spcPts val="600"/>
              </a:spcBef>
              <a:buClr>
                <a:srgbClr val="CC0000"/>
              </a:buClr>
              <a:buSzPct val="110000"/>
            </a:pPr>
            <a:r>
              <a:rPr lang="en-US" sz="2000" b="0">
                <a:solidFill>
                  <a:schemeClr val="tx1"/>
                </a:solidFill>
                <a:latin typeface="Arial" panose="020B0604020202020204" pitchFamily="34" charset="0"/>
                <a:cs typeface="Arial" panose="020B0604020202020204" pitchFamily="34" charset="0"/>
              </a:rPr>
              <a:t>INCOSE 2025</a:t>
            </a:r>
            <a:r>
              <a:rPr lang="en-US" sz="2000" b="0" baseline="0">
                <a:solidFill>
                  <a:schemeClr val="tx1"/>
                </a:solidFill>
                <a:latin typeface="Arial" panose="020B0604020202020204" pitchFamily="34" charset="0"/>
                <a:cs typeface="Arial" panose="020B0604020202020204" pitchFamily="34" charset="0"/>
              </a:rPr>
              <a:t> Template and Toolkit</a:t>
            </a:r>
            <a:endParaRPr lang="en-US" sz="1200" b="0" baseline="0">
              <a:solidFill>
                <a:schemeClr val="tx1"/>
              </a:soli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endParaRPr lang="en-US" sz="1200" b="0" baseline="0">
              <a:solidFill>
                <a:schemeClr val="tx1"/>
              </a:soli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r>
              <a:rPr lang="en-US" sz="1200" b="0" baseline="0">
                <a:solidFill>
                  <a:schemeClr val="tx1"/>
                </a:solidFill>
                <a:latin typeface="Arial" panose="020B0604020202020204" pitchFamily="34" charset="0"/>
                <a:cs typeface="Arial" panose="020B0604020202020204" pitchFamily="34" charset="0"/>
              </a:rPr>
              <a:t>The following slides are intended as a template for adding content. Use this deck as a resource, while crafting your presentation or document.</a:t>
            </a:r>
          </a:p>
        </p:txBody>
      </p:sp>
      <p:sp>
        <p:nvSpPr>
          <p:cNvPr id="3" name="TextBox 2">
            <a:extLst>
              <a:ext uri="{FF2B5EF4-FFF2-40B4-BE49-F238E27FC236}">
                <a16:creationId xmlns:a16="http://schemas.microsoft.com/office/drawing/2014/main" id="{03BB9ED5-1970-4A8F-A6A3-1BD7195511CB}"/>
              </a:ext>
            </a:extLst>
          </p:cNvPr>
          <p:cNvSpPr txBox="1"/>
          <p:nvPr userDrawn="1"/>
        </p:nvSpPr>
        <p:spPr>
          <a:xfrm>
            <a:off x="5486400" y="2113808"/>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6C01C95-E2A1-9707-764B-A107D8231D99}"/>
              </a:ext>
            </a:extLst>
          </p:cNvPr>
          <p:cNvSpPr txBox="1"/>
          <p:nvPr userDrawn="1"/>
        </p:nvSpPr>
        <p:spPr>
          <a:xfrm>
            <a:off x="10186988" y="957263"/>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00BBB91-485B-332A-D025-5EC84698CFFA}"/>
              </a:ext>
            </a:extLst>
          </p:cNvPr>
          <p:cNvSpPr txBox="1"/>
          <p:nvPr userDrawn="1"/>
        </p:nvSpPr>
        <p:spPr>
          <a:xfrm>
            <a:off x="214313" y="-1400175"/>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5FCA57E-39F6-FFFE-59D5-0B265E110E37}"/>
              </a:ext>
            </a:extLst>
          </p:cNvPr>
          <p:cNvSpPr txBox="1"/>
          <p:nvPr userDrawn="1"/>
        </p:nvSpPr>
        <p:spPr>
          <a:xfrm>
            <a:off x="2490537" y="3356811"/>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2660F08E-5894-F24C-966D-827E518C3453}"/>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01D59B7D-4425-FFC8-7808-3E3960DE4A5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7858015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_gray">
    <p:bg>
      <p:bgPr>
        <a:solidFill>
          <a:schemeClr val="bg2"/>
        </a:solidFill>
        <a:effectLst/>
      </p:bgPr>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a:t>Enter text here</a:t>
            </a:r>
            <a:endParaRPr lang="en-GB"/>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a:t>Optional small text </a:t>
            </a:r>
            <a:endParaRPr lang="en-GB"/>
          </a:p>
        </p:txBody>
      </p:sp>
      <p:pic>
        <p:nvPicPr>
          <p:cNvPr id="4" name="Picture 3">
            <a:extLst>
              <a:ext uri="{FF2B5EF4-FFF2-40B4-BE49-F238E27FC236}">
                <a16:creationId xmlns:a16="http://schemas.microsoft.com/office/drawing/2014/main" id="{75C9FD67-60C7-6D85-5729-08C7E4D39EE0}"/>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5" name="Picture 4" descr="A blue globe with white lines around it&#10;&#10;AI-generated content may be incorrect.">
            <a:extLst>
              <a:ext uri="{FF2B5EF4-FFF2-40B4-BE49-F238E27FC236}">
                <a16:creationId xmlns:a16="http://schemas.microsoft.com/office/drawing/2014/main" id="{63434D21-657E-92C1-98D5-FA50D5EAEBF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093666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_peach">
    <p:bg>
      <p:bgPr>
        <a:gradFill>
          <a:gsLst>
            <a:gs pos="13000">
              <a:schemeClr val="accent2">
                <a:lumMod val="20000"/>
                <a:lumOff val="80000"/>
              </a:schemeClr>
            </a:gs>
            <a:gs pos="0">
              <a:srgbClr val="2B6FAB"/>
            </a:gs>
            <a:gs pos="0">
              <a:schemeClr val="accent2">
                <a:lumMod val="20000"/>
                <a:lumOff val="80000"/>
              </a:schemeClr>
            </a:gs>
            <a:gs pos="64000">
              <a:schemeClr val="bg1"/>
            </a:gs>
          </a:gsLst>
          <a:lin ang="16200000" scaled="1"/>
        </a:gradFill>
        <a:effectLst/>
      </p:bgPr>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tx1"/>
                </a:solidFill>
              </a:defRPr>
            </a:lvl1pPr>
            <a:lvl2pPr>
              <a:defRPr sz="1200"/>
            </a:lvl2pPr>
            <a:lvl3pPr>
              <a:defRPr sz="1200"/>
            </a:lvl3pPr>
            <a:lvl4pPr>
              <a:defRPr sz="1200"/>
            </a:lvl4pPr>
            <a:lvl5pPr>
              <a:defRPr sz="1200"/>
            </a:lvl5pPr>
          </a:lstStyle>
          <a:p>
            <a:pPr lvl="0"/>
            <a:r>
              <a:rPr lang="en-US"/>
              <a:t>Enter text here</a:t>
            </a:r>
            <a:endParaRPr lang="en-GB"/>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a:t>Optional small text </a:t>
            </a:r>
            <a:endParaRPr lang="en-GB"/>
          </a:p>
        </p:txBody>
      </p:sp>
      <p:pic>
        <p:nvPicPr>
          <p:cNvPr id="4" name="Picture 3">
            <a:extLst>
              <a:ext uri="{FF2B5EF4-FFF2-40B4-BE49-F238E27FC236}">
                <a16:creationId xmlns:a16="http://schemas.microsoft.com/office/drawing/2014/main" id="{C9EC1E78-4F21-4E4E-562D-B644F8201FD8}"/>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5" name="Picture 4" descr="A blue globe with white lines around it&#10;&#10;AI-generated content may be incorrect.">
            <a:extLst>
              <a:ext uri="{FF2B5EF4-FFF2-40B4-BE49-F238E27FC236}">
                <a16:creationId xmlns:a16="http://schemas.microsoft.com/office/drawing/2014/main" id="{391E4AC3-13F0-4A49-CDF3-E0BB5CA26D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5370651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13"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a:t>Insert title here. </a:t>
            </a:r>
          </a:p>
        </p:txBody>
      </p:sp>
      <p:sp>
        <p:nvSpPr>
          <p:cNvPr id="15"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tx1"/>
                </a:solidFill>
              </a:defRPr>
            </a:lvl1pPr>
            <a:lvl2pPr>
              <a:defRPr sz="1200"/>
            </a:lvl2pPr>
            <a:lvl3pPr>
              <a:defRPr sz="1200"/>
            </a:lvl3pPr>
            <a:lvl4pPr>
              <a:defRPr sz="1200"/>
            </a:lvl4pPr>
            <a:lvl5pPr>
              <a:defRPr sz="1200"/>
            </a:lvl5pPr>
          </a:lstStyle>
          <a:p>
            <a:pPr lvl="0"/>
            <a:r>
              <a:rPr lang="en-US"/>
              <a:t>Enter text here</a:t>
            </a:r>
            <a:endParaRPr lang="en-GB"/>
          </a:p>
        </p:txBody>
      </p:sp>
      <p:sp>
        <p:nvSpPr>
          <p:cNvPr id="2" name="TextBox 1">
            <a:extLst>
              <a:ext uri="{FF2B5EF4-FFF2-40B4-BE49-F238E27FC236}">
                <a16:creationId xmlns:a16="http://schemas.microsoft.com/office/drawing/2014/main" id="{D26ED654-D1BA-CDC5-1966-263A9D18EA26}"/>
              </a:ext>
            </a:extLst>
          </p:cNvPr>
          <p:cNvSpPr txBox="1"/>
          <p:nvPr userDrawn="1"/>
        </p:nvSpPr>
        <p:spPr>
          <a:xfrm>
            <a:off x="3126259" y="3150973"/>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9AA80DC7-89CD-7823-CCC4-0144E261E55F}"/>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5" name="Picture 4" descr="A blue globe with white lines around it&#10;&#10;AI-generated content may be incorrect.">
            <a:extLst>
              <a:ext uri="{FF2B5EF4-FFF2-40B4-BE49-F238E27FC236}">
                <a16:creationId xmlns:a16="http://schemas.microsoft.com/office/drawing/2014/main" id="{249C5EE8-C1F2-D015-61AD-63D5E80E7F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5445387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Photo">
    <p:bg>
      <p:bgRef idx="1001">
        <a:schemeClr val="bg1"/>
      </p:bgRef>
    </p:bg>
    <p:spTree>
      <p:nvGrpSpPr>
        <p:cNvPr id="1" name=""/>
        <p:cNvGrpSpPr/>
        <p:nvPr/>
      </p:nvGrpSpPr>
      <p:grpSpPr>
        <a:xfrm>
          <a:off x="0" y="0"/>
          <a:ext cx="0" cy="0"/>
          <a:chOff x="0" y="0"/>
          <a:chExt cx="0" cy="0"/>
        </a:xfrm>
      </p:grpSpPr>
      <p:sp>
        <p:nvSpPr>
          <p:cNvPr id="4" name="Picture Placeholder 4"/>
          <p:cNvSpPr>
            <a:spLocks noGrp="1"/>
          </p:cNvSpPr>
          <p:nvPr>
            <p:ph type="pic" sz="quarter" idx="21"/>
          </p:nvPr>
        </p:nvSpPr>
        <p:spPr>
          <a:xfrm>
            <a:off x="0" y="0"/>
            <a:ext cx="9144000" cy="5143500"/>
          </a:xfrm>
          <a:prstGeom prst="rect">
            <a:avLst/>
          </a:prstGeom>
          <a:solidFill>
            <a:schemeClr val="accent1">
              <a:lumMod val="40000"/>
              <a:lumOff val="60000"/>
            </a:schemeClr>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sp>
        <p:nvSpPr>
          <p:cNvPr id="3" name="Title Placeholder 1"/>
          <p:cNvSpPr>
            <a:spLocks noGrp="1"/>
          </p:cNvSpPr>
          <p:nvPr>
            <p:ph type="title" hasCustomPrompt="1"/>
          </p:nvPr>
        </p:nvSpPr>
        <p:spPr>
          <a:xfrm>
            <a:off x="466852" y="594264"/>
            <a:ext cx="3293618" cy="2312253"/>
          </a:xfrm>
          <a:prstGeom prst="rect">
            <a:avLst/>
          </a:prstGeom>
        </p:spPr>
        <p:txBody>
          <a:bodyPr vert="horz" lIns="0" tIns="0" rIns="91440" bIns="45720" rtlCol="0" anchor="t">
            <a:noAutofit/>
          </a:bodyPr>
          <a:lstStyle>
            <a:lvl1pPr marL="0" algn="l" defTabSz="914400" rtl="0" eaLnBrk="1" latinLnBrk="0" hangingPunct="1">
              <a:lnSpc>
                <a:spcPct val="80000"/>
              </a:lnSpc>
              <a:spcBef>
                <a:spcPct val="0"/>
              </a:spcBef>
              <a:buNone/>
              <a:defRPr lang="en-US" sz="40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a:t>Enter text to edit master style </a:t>
            </a:r>
          </a:p>
        </p:txBody>
      </p:sp>
      <p:pic>
        <p:nvPicPr>
          <p:cNvPr id="7" name="Picture 6">
            <a:extLst>
              <a:ext uri="{FF2B5EF4-FFF2-40B4-BE49-F238E27FC236}">
                <a16:creationId xmlns:a16="http://schemas.microsoft.com/office/drawing/2014/main" id="{011A2B3C-D6BF-DDA5-B30C-735A0C443B8E}"/>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0610D766-2A7C-E8FA-61E1-5AC617603D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83392153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94264"/>
            <a:ext cx="329361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a:t>Enter text to edit master style </a:t>
            </a:r>
          </a:p>
        </p:txBody>
      </p:sp>
      <p:sp>
        <p:nvSpPr>
          <p:cNvPr id="3" name="Text Placeholder 2"/>
          <p:cNvSpPr>
            <a:spLocks noGrp="1"/>
          </p:cNvSpPr>
          <p:nvPr>
            <p:ph type="body" sz="quarter" idx="10" hasCustomPrompt="1"/>
          </p:nvPr>
        </p:nvSpPr>
        <p:spPr>
          <a:xfrm>
            <a:off x="4571999" y="674547"/>
            <a:ext cx="3308555" cy="2212971"/>
          </a:xfrm>
        </p:spPr>
        <p:txBody>
          <a:bodyPr tIns="0" bIns="0"/>
          <a:lstStyle>
            <a:lvl1pPr marL="0" indent="0">
              <a:buNone/>
              <a:defRPr sz="1600" baseline="0">
                <a:solidFill>
                  <a:schemeClr val="tx1"/>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a:t>Enter text here</a:t>
            </a:r>
            <a:endParaRPr lang="en-GB"/>
          </a:p>
        </p:txBody>
      </p:sp>
      <p:sp>
        <p:nvSpPr>
          <p:cNvPr id="5" name="TextBox 4"/>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tx1"/>
                </a:solidFill>
                <a:latin typeface="Arial" panose="020B0604020202020204" pitchFamily="34" charset="0"/>
                <a:cs typeface="Arial" panose="020B0604020202020204" pitchFamily="34" charset="0"/>
              </a:rPr>
              <a:t>incose.org</a:t>
            </a:r>
            <a:r>
              <a:rPr lang="en-GB" sz="800" spc="0" baseline="0">
                <a:solidFill>
                  <a:schemeClr val="tx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tx1"/>
                </a:solidFill>
                <a:latin typeface="Arial" panose="020B0604020202020204" pitchFamily="34" charset="0"/>
                <a:cs typeface="Arial" panose="020B0604020202020204" pitchFamily="34" charset="0"/>
              </a:rPr>
              <a:t>‹#›</a:t>
            </a:fld>
            <a:endParaRPr lang="en-GB" sz="800" spc="0" baseline="0">
              <a:solidFill>
                <a:schemeClr val="tx1"/>
              </a:solidFill>
              <a:latin typeface="Arial" panose="020B0604020202020204" pitchFamily="34" charset="0"/>
              <a:cs typeface="Arial" panose="020B0604020202020204" pitchFamily="34" charset="0"/>
            </a:endParaRPr>
          </a:p>
        </p:txBody>
      </p:sp>
      <p:sp>
        <p:nvSpPr>
          <p:cNvPr id="7"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9" name="Picture 8">
            <a:extLst>
              <a:ext uri="{FF2B5EF4-FFF2-40B4-BE49-F238E27FC236}">
                <a16:creationId xmlns:a16="http://schemas.microsoft.com/office/drawing/2014/main" id="{3C4DA5BA-2F29-3FBF-2ABD-6A6EAD32BB60}"/>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A4E6B534-5C65-D22E-4D2C-9AC20C7DA7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68423628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Agenda_dark">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94264"/>
            <a:ext cx="329361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a:t>Enter text to edit master style </a:t>
            </a:r>
          </a:p>
        </p:txBody>
      </p:sp>
      <p:sp>
        <p:nvSpPr>
          <p:cNvPr id="3" name="Text Placeholder 2"/>
          <p:cNvSpPr>
            <a:spLocks noGrp="1"/>
          </p:cNvSpPr>
          <p:nvPr>
            <p:ph type="body" sz="quarter" idx="10" hasCustomPrompt="1"/>
          </p:nvPr>
        </p:nvSpPr>
        <p:spPr>
          <a:xfrm>
            <a:off x="4571999" y="674547"/>
            <a:ext cx="3308555" cy="2212971"/>
          </a:xfrm>
        </p:spPr>
        <p:txBody>
          <a:bodyPr tIns="0" bIns="0"/>
          <a:lstStyle>
            <a:lvl1pPr marL="0" indent="0">
              <a:buNone/>
              <a:defRPr sz="1600" baseline="0">
                <a:solidFill>
                  <a:schemeClr val="tx1"/>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a:t>Enter text here</a:t>
            </a:r>
            <a:endParaRPr lang="en-GB"/>
          </a:p>
        </p:txBody>
      </p:sp>
      <p:sp>
        <p:nvSpPr>
          <p:cNvPr id="5" name="TextBox 4"/>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tx1"/>
                </a:solidFill>
                <a:latin typeface="Arial" panose="020B0604020202020204" pitchFamily="34" charset="0"/>
                <a:cs typeface="Arial" panose="020B0604020202020204" pitchFamily="34" charset="0"/>
              </a:rPr>
              <a:t>incose.org</a:t>
            </a:r>
            <a:r>
              <a:rPr lang="en-GB" sz="800" spc="0" baseline="0">
                <a:solidFill>
                  <a:schemeClr val="tx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tx1"/>
                </a:solidFill>
                <a:latin typeface="Arial" panose="020B0604020202020204" pitchFamily="34" charset="0"/>
                <a:cs typeface="Arial" panose="020B0604020202020204" pitchFamily="34" charset="0"/>
              </a:rPr>
              <a:t>‹#›</a:t>
            </a:fld>
            <a:endParaRPr lang="en-GB" sz="800" spc="0" baseline="0">
              <a:solidFill>
                <a:schemeClr val="tx1"/>
              </a:solidFill>
              <a:latin typeface="Arial" panose="020B0604020202020204" pitchFamily="34" charset="0"/>
              <a:cs typeface="Arial" panose="020B0604020202020204" pitchFamily="34" charset="0"/>
            </a:endParaRPr>
          </a:p>
        </p:txBody>
      </p:sp>
      <p:sp>
        <p:nvSpPr>
          <p:cNvPr id="7"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4" name="Picture 3">
            <a:extLst>
              <a:ext uri="{FF2B5EF4-FFF2-40B4-BE49-F238E27FC236}">
                <a16:creationId xmlns:a16="http://schemas.microsoft.com/office/drawing/2014/main" id="{F9D2BCD6-A55B-E35A-69C7-A2545C2D1A6E}"/>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8" name="Picture 7" descr="A blue globe with white lines around it&#10;&#10;AI-generated content may be incorrect.">
            <a:extLst>
              <a:ext uri="{FF2B5EF4-FFF2-40B4-BE49-F238E27FC236}">
                <a16:creationId xmlns:a16="http://schemas.microsoft.com/office/drawing/2014/main" id="{42D7C537-A9B5-B547-8C9C-3911C04CA1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86731211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a:t>Enter text here</a:t>
            </a:r>
            <a:endParaRPr lang="en-GB"/>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a:solidFill>
                <a:schemeClr val="accent3"/>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F858D282-B669-2D04-01A1-F3EE7E7F459D}"/>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4" name="Picture 3" descr="A blue globe with white lines around it&#10;&#10;AI-generated content may be incorrect.">
            <a:extLst>
              <a:ext uri="{FF2B5EF4-FFF2-40B4-BE49-F238E27FC236}">
                <a16:creationId xmlns:a16="http://schemas.microsoft.com/office/drawing/2014/main" id="{8372A012-A7D8-6F21-BBC7-76173C68BA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879763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_white">
    <p:bg>
      <p:bgRef idx="1001">
        <a:schemeClr val="bg1"/>
      </p:bgRef>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a:t>Enter text here</a:t>
            </a:r>
            <a:endParaRPr lang="en-GB"/>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a:solidFill>
                <a:schemeClr val="accent3"/>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70657958-431B-BA4A-EC05-20C09163645E}"/>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4" name="Picture 3" descr="A blue globe with white lines around it&#10;&#10;AI-generated content may be incorrect.">
            <a:extLst>
              <a:ext uri="{FF2B5EF4-FFF2-40B4-BE49-F238E27FC236}">
                <a16:creationId xmlns:a16="http://schemas.microsoft.com/office/drawing/2014/main" id="{A30C4CFF-3650-CF18-8501-778B5A6EA2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63634160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Agenda_gray">
    <p:bg>
      <p:bgPr>
        <a:gradFill flip="none" rotWithShape="1">
          <a:gsLst>
            <a:gs pos="0">
              <a:srgbClr val="FDE6DD"/>
            </a:gs>
            <a:gs pos="0">
              <a:schemeClr val="accent2">
                <a:lumMod val="20000"/>
                <a:lumOff val="80000"/>
              </a:schemeClr>
            </a:gs>
            <a:gs pos="0">
              <a:srgbClr val="EDBD97"/>
            </a:gs>
            <a:gs pos="0">
              <a:srgbClr val="EDBD97"/>
            </a:gs>
            <a:gs pos="77000">
              <a:schemeClr val="bg1"/>
            </a:gs>
          </a:gsLst>
          <a:lin ang="16200000" scaled="1"/>
          <a:tileRect/>
        </a:gra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a:t>Enter text here</a:t>
            </a:r>
            <a:endParaRPr lang="en-GB"/>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a:solidFill>
                <a:schemeClr val="accent3"/>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8B339137-1920-51D0-77D3-E1C347C2BAF3}"/>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4" name="Picture 3" descr="A blue globe with white lines around it&#10;&#10;AI-generated content may be incorrect.">
            <a:extLst>
              <a:ext uri="{FF2B5EF4-FFF2-40B4-BE49-F238E27FC236}">
                <a16:creationId xmlns:a16="http://schemas.microsoft.com/office/drawing/2014/main" id="{8EBE307A-F821-4D48-536D-5B4688B1BB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5622539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_divider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1" y="1938770"/>
            <a:ext cx="6396343" cy="1265959"/>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44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a:t>Enter text to edit master style </a:t>
            </a:r>
          </a:p>
        </p:txBody>
      </p:sp>
      <p:sp>
        <p:nvSpPr>
          <p:cNvPr id="8" name="Text Placeholder 7"/>
          <p:cNvSpPr>
            <a:spLocks noGrp="1"/>
          </p:cNvSpPr>
          <p:nvPr>
            <p:ph type="body" sz="quarter" idx="10" hasCustomPrompt="1"/>
          </p:nvPr>
        </p:nvSpPr>
        <p:spPr>
          <a:xfrm>
            <a:off x="466725" y="3282950"/>
            <a:ext cx="6396038" cy="987425"/>
          </a:xfrm>
        </p:spPr>
        <p:txBody>
          <a:bodyPr/>
          <a:lstStyle>
            <a:lvl1pPr marL="228600" indent="-228600">
              <a:lnSpc>
                <a:spcPct val="100000"/>
              </a:lnSpc>
              <a:spcBef>
                <a:spcPts val="750"/>
              </a:spcBef>
              <a:buClr>
                <a:schemeClr val="accent1"/>
              </a:buClr>
              <a:buAutoNum type="arabicParenR"/>
              <a:defRPr>
                <a:solidFill>
                  <a:srgbClr val="EDBD97"/>
                </a:solidFill>
              </a:defRPr>
            </a:lvl1pPr>
          </a:lstStyle>
          <a:p>
            <a:pPr marL="342900" indent="-342900">
              <a:lnSpc>
                <a:spcPct val="100000"/>
              </a:lnSpc>
              <a:spcBef>
                <a:spcPts val="750"/>
              </a:spcBef>
              <a:buAutoNum type="arabicParenR"/>
            </a:pPr>
            <a:r>
              <a:rPr lang="en-US" sz="1200" b="0" spc="0" baseline="0">
                <a:solidFill>
                  <a:schemeClr val="accent4"/>
                </a:solidFill>
              </a:rPr>
              <a:t>Agenda item</a:t>
            </a:r>
          </a:p>
          <a:p>
            <a:pPr marL="342900" indent="-342900">
              <a:lnSpc>
                <a:spcPct val="100000"/>
              </a:lnSpc>
              <a:spcBef>
                <a:spcPts val="750"/>
              </a:spcBef>
              <a:buAutoNum type="arabicParenR"/>
            </a:pPr>
            <a:r>
              <a:rPr lang="en-US" sz="1200" b="0" spc="0" baseline="0">
                <a:solidFill>
                  <a:schemeClr val="accent4"/>
                </a:solidFill>
              </a:rPr>
              <a:t>Agenda item</a:t>
            </a:r>
          </a:p>
          <a:p>
            <a:pPr marL="342900" indent="-342900">
              <a:lnSpc>
                <a:spcPct val="100000"/>
              </a:lnSpc>
              <a:spcBef>
                <a:spcPts val="750"/>
              </a:spcBef>
              <a:buAutoNum type="arabicParenR"/>
            </a:pPr>
            <a:r>
              <a:rPr lang="en-US" sz="1200" b="0" spc="0" baseline="0">
                <a:solidFill>
                  <a:schemeClr val="accent4"/>
                </a:solidFill>
              </a:rPr>
              <a:t>Agenda item</a:t>
            </a:r>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7" name="TextBox 6">
            <a:extLst>
              <a:ext uri="{FF2B5EF4-FFF2-40B4-BE49-F238E27FC236}">
                <a16:creationId xmlns:a16="http://schemas.microsoft.com/office/drawing/2014/main" id="{24166E5E-98C9-26D5-CB5F-5C31DA01193A}"/>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a:solidFill>
                <a:schemeClr val="accent3"/>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21B04001-1E24-1306-87B7-B69BB0091BCE}"/>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9" name="Picture 8" descr="A blue globe with white lines around it&#10;&#10;AI-generated content may be incorrect.">
            <a:extLst>
              <a:ext uri="{FF2B5EF4-FFF2-40B4-BE49-F238E27FC236}">
                <a16:creationId xmlns:a16="http://schemas.microsoft.com/office/drawing/2014/main" id="{EBE6DDB4-FACC-A777-FAC7-1E09CEFB615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54196"/>
            <a:ext cx="583759" cy="385281"/>
          </a:xfrm>
          <a:prstGeom prst="rect">
            <a:avLst/>
          </a:prstGeom>
        </p:spPr>
      </p:pic>
    </p:spTree>
    <p:extLst>
      <p:ext uri="{BB962C8B-B14F-4D97-AF65-F5344CB8AC3E}">
        <p14:creationId xmlns:p14="http://schemas.microsoft.com/office/powerpoint/2010/main" val="2745310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Main Title white">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1"/>
            <a:ext cx="4114800" cy="2413299"/>
          </a:xfrm>
          <a:prstGeom prst="rect">
            <a:avLst/>
          </a:prstGeom>
        </p:spPr>
        <p:txBody>
          <a:bodyPr vert="horz" lIns="0" tIns="45720" rIns="91440" bIns="45720" rtlCol="0" anchor="b">
            <a:noAutofit/>
          </a:bodyPr>
          <a:lstStyle>
            <a:lvl1pPr algn="l" defTabSz="685749" rtl="0" eaLnBrk="1" latinLnBrk="0" hangingPunct="1">
              <a:lnSpc>
                <a:spcPct val="80000"/>
              </a:lnSpc>
              <a:spcBef>
                <a:spcPct val="0"/>
              </a:spcBef>
              <a:buNone/>
              <a:defRPr lang="en-US" sz="72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a:t>Insert title here. </a:t>
            </a:r>
          </a:p>
        </p:txBody>
      </p:sp>
      <p:sp>
        <p:nvSpPr>
          <p:cNvPr id="6" name="Text Placeholder 10"/>
          <p:cNvSpPr>
            <a:spLocks noGrp="1"/>
          </p:cNvSpPr>
          <p:nvPr>
            <p:ph type="body" sz="quarter" idx="15" hasCustomPrompt="1"/>
          </p:nvPr>
        </p:nvSpPr>
        <p:spPr>
          <a:xfrm>
            <a:off x="466006" y="2963122"/>
            <a:ext cx="4105994" cy="1132629"/>
          </a:xfrm>
        </p:spPr>
        <p:txBody>
          <a:bodyPr lIns="0" tIns="0" rIns="0" bIns="0">
            <a:noAutofit/>
          </a:bodyPr>
          <a:lstStyle>
            <a:lvl1pPr mar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2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a:t>Enter a subtitle here. </a:t>
            </a:r>
          </a:p>
        </p:txBody>
      </p:sp>
      <p:sp>
        <p:nvSpPr>
          <p:cNvPr id="19" name="Text Placeholder 3"/>
          <p:cNvSpPr>
            <a:spLocks noGrp="1"/>
          </p:cNvSpPr>
          <p:nvPr>
            <p:ph type="body" sz="quarter" idx="17" hasCustomPrompt="1"/>
          </p:nvPr>
        </p:nvSpPr>
        <p:spPr>
          <a:xfrm>
            <a:off x="466726" y="4447236"/>
            <a:ext cx="1823085" cy="180634"/>
          </a:xfrm>
        </p:spPr>
        <p:txBody>
          <a:bodyPr tIns="0" bIns="0" anchor="b"/>
          <a:lstStyle>
            <a:lvl1pPr marL="0" indent="0">
              <a:buNone/>
              <a:defRPr sz="800">
                <a:solidFill>
                  <a:schemeClr val="accent1"/>
                </a:solidFill>
              </a:defRPr>
            </a:lvl1pPr>
          </a:lstStyle>
          <a:p>
            <a:pPr lvl="0"/>
            <a:r>
              <a:rPr lang="en-US"/>
              <a:t>Optional small text </a:t>
            </a:r>
            <a:endParaRPr lang="en-GB"/>
          </a:p>
        </p:txBody>
      </p:sp>
      <p:sp>
        <p:nvSpPr>
          <p:cNvPr id="3" name="TextBox 2">
            <a:extLst>
              <a:ext uri="{FF2B5EF4-FFF2-40B4-BE49-F238E27FC236}">
                <a16:creationId xmlns:a16="http://schemas.microsoft.com/office/drawing/2014/main" id="{EC8F67DE-7F29-7652-E4EE-002C300632A0}"/>
              </a:ext>
            </a:extLst>
          </p:cNvPr>
          <p:cNvSpPr txBox="1"/>
          <p:nvPr userDrawn="1"/>
        </p:nvSpPr>
        <p:spPr>
          <a:xfrm>
            <a:off x="8247888" y="4687824"/>
            <a:ext cx="0" cy="0"/>
          </a:xfrm>
          <a:prstGeom prst="rect">
            <a:avLst/>
          </a:prstGeom>
          <a:noFill/>
        </p:spPr>
        <p:txBody>
          <a:bodyPr wrap="none" rtlCol="0">
            <a:noAutofit/>
          </a:bodyPr>
          <a:lstStyle/>
          <a:p>
            <a:pPr>
              <a:spcBef>
                <a:spcPts val="750"/>
              </a:spcBef>
              <a:buClr>
                <a:schemeClr val="accent2"/>
              </a:buClr>
              <a:buSzPct val="100000"/>
            </a:pPr>
            <a:endParaRPr lang="en-US" sz="1400" err="1">
              <a:solidFill>
                <a:schemeClr val="accent4"/>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9AC3536B-0076-DD14-98FD-47967EBD91D9}"/>
              </a:ext>
            </a:extLst>
          </p:cNvPr>
          <p:cNvSpPr txBox="1"/>
          <p:nvPr userDrawn="1"/>
        </p:nvSpPr>
        <p:spPr>
          <a:xfrm>
            <a:off x="9274629" y="1518557"/>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B0B80FF7-1418-FF6A-89BB-652BAB8A7F4E}"/>
              </a:ext>
            </a:extLst>
          </p:cNvPr>
          <p:cNvPicPr>
            <a:picLocks noChangeAspect="1"/>
          </p:cNvPicPr>
          <p:nvPr userDrawn="1"/>
        </p:nvPicPr>
        <p:blipFill>
          <a:blip r:embed="rId2"/>
          <a:srcRect r="58852"/>
          <a:stretch/>
        </p:blipFill>
        <p:spPr>
          <a:xfrm>
            <a:off x="8477546" y="18441"/>
            <a:ext cx="567977" cy="456793"/>
          </a:xfrm>
          <a:prstGeom prst="rect">
            <a:avLst/>
          </a:prstGeom>
        </p:spPr>
      </p:pic>
    </p:spTree>
    <p:extLst>
      <p:ext uri="{BB962C8B-B14F-4D97-AF65-F5344CB8AC3E}">
        <p14:creationId xmlns:p14="http://schemas.microsoft.com/office/powerpoint/2010/main" val="1484931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Subtitle_light">
    <p:bg>
      <p:bgPr>
        <a:solidFill>
          <a:srgbClr val="FFFFFF"/>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6"/>
          </p:nvPr>
        </p:nvSpPr>
        <p:spPr>
          <a:xfrm>
            <a:off x="465187" y="1050855"/>
            <a:ext cx="8219717" cy="170816"/>
          </a:xfrm>
        </p:spPr>
        <p:txBody>
          <a:bodyPr tIns="0"/>
          <a:lstStyle>
            <a:lvl1pPr marL="0" indent="0">
              <a:buNone/>
              <a:defRPr lang="en-US" sz="1100" kern="1200" spc="0" baseline="0" dirty="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3" name="Text Placeholder 2"/>
          <p:cNvSpPr>
            <a:spLocks noGrp="1"/>
          </p:cNvSpPr>
          <p:nvPr>
            <p:ph type="body" sz="quarter" idx="17" hasCustomPrompt="1"/>
          </p:nvPr>
        </p:nvSpPr>
        <p:spPr>
          <a:xfrm>
            <a:off x="465138" y="594265"/>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a:t>Insert slide title here</a:t>
            </a:r>
            <a:endParaRPr lang="en-GB"/>
          </a:p>
        </p:txBody>
      </p:sp>
      <p:sp>
        <p:nvSpPr>
          <p:cNvPr id="4" name="Text Placeholder 3"/>
          <p:cNvSpPr>
            <a:spLocks noGrp="1"/>
          </p:cNvSpPr>
          <p:nvPr>
            <p:ph type="body" sz="quarter" idx="18" hasCustomPrompt="1"/>
          </p:nvPr>
        </p:nvSpPr>
        <p:spPr>
          <a:xfrm>
            <a:off x="466725" y="4616824"/>
            <a:ext cx="1823085" cy="93008"/>
          </a:xfrm>
        </p:spPr>
        <p:txBody>
          <a:bodyPr tIns="0" bIns="0" anchor="b"/>
          <a:lstStyle>
            <a:lvl1pPr marL="0" indent="0">
              <a:buNone/>
              <a:defRPr sz="800">
                <a:solidFill>
                  <a:schemeClr val="accent5"/>
                </a:solidFill>
              </a:defRPr>
            </a:lvl1pPr>
          </a:lstStyle>
          <a:p>
            <a:pPr lvl="0"/>
            <a:r>
              <a:rPr lang="en-US"/>
              <a:t>Optional small text </a:t>
            </a:r>
            <a:endParaRPr lang="en-GB"/>
          </a:p>
        </p:txBody>
      </p:sp>
      <p:sp>
        <p:nvSpPr>
          <p:cNvPr id="5" name="Text Placeholder 4"/>
          <p:cNvSpPr>
            <a:spLocks noGrp="1"/>
          </p:cNvSpPr>
          <p:nvPr>
            <p:ph type="body" sz="quarter" idx="19"/>
          </p:nvPr>
        </p:nvSpPr>
        <p:spPr>
          <a:xfrm>
            <a:off x="466725" y="1362615"/>
            <a:ext cx="8220075" cy="2820988"/>
          </a:xfrm>
        </p:spPr>
        <p:txBody>
          <a:bodyPr/>
          <a:lstStyle>
            <a:lvl1pPr>
              <a:buClr>
                <a:srgbClr val="EDBD97"/>
              </a:buClr>
              <a:defRPr sz="1050">
                <a:solidFill>
                  <a:schemeClr val="accent5"/>
                </a:solidFill>
              </a:defRPr>
            </a:lvl1pPr>
            <a:lvl2pPr>
              <a:buClr>
                <a:srgbClr val="EDBD97"/>
              </a:buClr>
              <a:defRPr sz="1000">
                <a:solidFill>
                  <a:schemeClr val="accent5"/>
                </a:solidFill>
              </a:defRPr>
            </a:lvl2pPr>
            <a:lvl3pPr>
              <a:buClr>
                <a:srgbClr val="EDBD97"/>
              </a:buClr>
              <a:defRPr sz="900">
                <a:solidFill>
                  <a:schemeClr val="accent5"/>
                </a:solidFill>
              </a:defRPr>
            </a:lvl3pPr>
            <a:lvl4pPr>
              <a:buClr>
                <a:srgbClr val="EDBD97"/>
              </a:buClr>
              <a:defRPr sz="800">
                <a:solidFill>
                  <a:schemeClr val="accent5"/>
                </a:solidFill>
              </a:defRPr>
            </a:lvl4pPr>
            <a:lvl5pPr>
              <a:buClr>
                <a:srgbClr val="EDBD97"/>
              </a:buClr>
              <a:defRPr sz="800">
                <a:solidFill>
                  <a:schemeClr val="accent5"/>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a:extLst>
              <a:ext uri="{FF2B5EF4-FFF2-40B4-BE49-F238E27FC236}">
                <a16:creationId xmlns:a16="http://schemas.microsoft.com/office/drawing/2014/main" id="{9B32AE7E-8A32-F8E9-EB6F-52166ACC4758}"/>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7" name="Picture 6" descr="A blue globe with white lines around it&#10;&#10;AI-generated content may be incorrect.">
            <a:extLst>
              <a:ext uri="{FF2B5EF4-FFF2-40B4-BE49-F238E27FC236}">
                <a16:creationId xmlns:a16="http://schemas.microsoft.com/office/drawing/2014/main" id="{62EF78F6-3F8F-5671-FC3B-7B22663B009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6669522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_Subtitle_gray">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594264"/>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a:t>Insert slide title here</a:t>
            </a:r>
            <a:endParaRPr lang="en-GB"/>
          </a:p>
        </p:txBody>
      </p:sp>
      <p:sp>
        <p:nvSpPr>
          <p:cNvPr id="8" name="Text Placeholder 4"/>
          <p:cNvSpPr>
            <a:spLocks noGrp="1"/>
          </p:cNvSpPr>
          <p:nvPr>
            <p:ph type="body" sz="quarter" idx="16"/>
          </p:nvPr>
        </p:nvSpPr>
        <p:spPr>
          <a:xfrm>
            <a:off x="465187" y="1050854"/>
            <a:ext cx="8219717" cy="170816"/>
          </a:xfrm>
        </p:spPr>
        <p:txBody>
          <a:bodyPr tIns="0"/>
          <a:lstStyle>
            <a:lvl1pPr marL="0" indent="0">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6" name="Text Placeholder 4"/>
          <p:cNvSpPr>
            <a:spLocks noGrp="1"/>
          </p:cNvSpPr>
          <p:nvPr>
            <p:ph type="body" sz="quarter" idx="19"/>
          </p:nvPr>
        </p:nvSpPr>
        <p:spPr>
          <a:xfrm>
            <a:off x="466725" y="1362614"/>
            <a:ext cx="8220075" cy="2820988"/>
          </a:xfrm>
        </p:spPr>
        <p:txBody>
          <a:bodyPr/>
          <a:lstStyle>
            <a:lvl1pPr>
              <a:defRPr sz="1050">
                <a:solidFill>
                  <a:schemeClr val="tx1"/>
                </a:solidFill>
              </a:defRPr>
            </a:lvl1pPr>
            <a:lvl2pPr>
              <a:defRPr sz="1000">
                <a:solidFill>
                  <a:schemeClr val="tx1"/>
                </a:solidFill>
              </a:defRPr>
            </a:lvl2pPr>
            <a:lvl3pPr>
              <a:defRPr sz="900">
                <a:solidFill>
                  <a:schemeClr val="tx1"/>
                </a:solidFill>
              </a:defRPr>
            </a:lvl3pPr>
            <a:lvl4pPr>
              <a:defRPr sz="800">
                <a:solidFill>
                  <a:schemeClr val="tx1"/>
                </a:solidFill>
              </a:defRPr>
            </a:lvl4pPr>
            <a:lvl5pPr>
              <a:defRPr sz="8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171262BA-9B67-A1CC-DCDB-156A5B75C063}"/>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9438054B-D4C1-DE95-4310-DA94775FB2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668069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_Subtitle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594264"/>
            <a:ext cx="8221662" cy="368300"/>
          </a:xfrm>
        </p:spPr>
        <p:txBody>
          <a:bodyPr tIns="0" bIns="0"/>
          <a:lstStyle>
            <a:lvl1pPr marL="0" indent="0">
              <a:spcBef>
                <a:spcPts val="0"/>
              </a:spcBef>
              <a:buNone/>
              <a:defRPr sz="2400" b="1" spc="-70" baseline="0">
                <a:solidFill>
                  <a:schemeClr val="bg1"/>
                </a:solidFill>
              </a:defRPr>
            </a:lvl1pPr>
            <a:lvl2pPr>
              <a:defRPr b="1"/>
            </a:lvl2pPr>
            <a:lvl3pPr>
              <a:defRPr b="1"/>
            </a:lvl3pPr>
            <a:lvl4pPr>
              <a:defRPr b="1"/>
            </a:lvl4pPr>
            <a:lvl5pPr>
              <a:defRPr b="1"/>
            </a:lvl5pPr>
          </a:lstStyle>
          <a:p>
            <a:pPr lvl="0"/>
            <a:r>
              <a:rPr lang="en-US"/>
              <a:t>Insert slide title here</a:t>
            </a:r>
            <a:endParaRPr lang="en-GB"/>
          </a:p>
        </p:txBody>
      </p:sp>
      <p:sp>
        <p:nvSpPr>
          <p:cNvPr id="8" name="Text Placeholder 4"/>
          <p:cNvSpPr>
            <a:spLocks noGrp="1"/>
          </p:cNvSpPr>
          <p:nvPr>
            <p:ph type="body" sz="quarter" idx="16"/>
          </p:nvPr>
        </p:nvSpPr>
        <p:spPr>
          <a:xfrm>
            <a:off x="465187" y="1050854"/>
            <a:ext cx="8219717" cy="170816"/>
          </a:xfrm>
        </p:spPr>
        <p:txBody>
          <a:bodyPr tIns="0"/>
          <a:lstStyle>
            <a:lvl1pPr marL="0" indent="0">
              <a:buNone/>
              <a:defRPr lang="en-US" sz="1100" kern="1200" spc="0" baseline="0" dirty="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6" name="Text Placeholder 4"/>
          <p:cNvSpPr>
            <a:spLocks noGrp="1"/>
          </p:cNvSpPr>
          <p:nvPr>
            <p:ph type="body" sz="quarter" idx="19"/>
          </p:nvPr>
        </p:nvSpPr>
        <p:spPr>
          <a:xfrm>
            <a:off x="466725" y="1362614"/>
            <a:ext cx="8220075" cy="2820988"/>
          </a:xfrm>
        </p:spPr>
        <p:txBody>
          <a:bodyPr/>
          <a:lstStyle>
            <a:lvl1pPr>
              <a:defRPr sz="1050">
                <a:solidFill>
                  <a:schemeClr val="bg1"/>
                </a:solidFill>
              </a:defRPr>
            </a:lvl1pPr>
            <a:lvl2pPr>
              <a:defRPr sz="1000">
                <a:solidFill>
                  <a:schemeClr val="bg1"/>
                </a:solidFill>
              </a:defRPr>
            </a:lvl2pPr>
            <a:lvl3pPr>
              <a:defRPr sz="900">
                <a:solidFill>
                  <a:schemeClr val="bg1"/>
                </a:solidFill>
              </a:defRPr>
            </a:lvl3pPr>
            <a:lvl4pPr>
              <a:defRPr sz="800">
                <a:solidFill>
                  <a:schemeClr val="bg1"/>
                </a:solidFill>
              </a:defRPr>
            </a:lvl4pPr>
            <a:lvl5pPr>
              <a:defRPr sz="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4961A079-667E-3660-AAD1-17305C721C4E}"/>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7" name="Picture 6" descr="A blue globe with white lines around it&#10;&#10;AI-generated content may be incorrect.">
            <a:extLst>
              <a:ext uri="{FF2B5EF4-FFF2-40B4-BE49-F238E27FC236}">
                <a16:creationId xmlns:a16="http://schemas.microsoft.com/office/drawing/2014/main" id="{3D612A98-8FC7-5C4B-D41D-B60138A9FE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44336"/>
            <a:ext cx="619673" cy="408984"/>
          </a:xfrm>
          <a:prstGeom prst="rect">
            <a:avLst/>
          </a:prstGeom>
        </p:spPr>
      </p:pic>
    </p:spTree>
    <p:extLst>
      <p:ext uri="{BB962C8B-B14F-4D97-AF65-F5344CB8AC3E}">
        <p14:creationId xmlns:p14="http://schemas.microsoft.com/office/powerpoint/2010/main" val="3595061381"/>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_subtitle_bold_light">
    <p:bg>
      <p:bgPr>
        <a:solidFill>
          <a:srgbClr val="FFFFFF"/>
        </a:solidFill>
        <a:effectLst/>
      </p:bgPr>
    </p:bg>
    <p:spTree>
      <p:nvGrpSpPr>
        <p:cNvPr id="1" name=""/>
        <p:cNvGrpSpPr/>
        <p:nvPr/>
      </p:nvGrpSpPr>
      <p:grpSpPr>
        <a:xfrm>
          <a:off x="0" y="0"/>
          <a:ext cx="0" cy="0"/>
          <a:chOff x="0" y="0"/>
          <a:chExt cx="0" cy="0"/>
        </a:xfrm>
      </p:grpSpPr>
      <p:sp>
        <p:nvSpPr>
          <p:cNvPr id="10" name="Text Placeholder 4"/>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11" name="Text Placeholder 7"/>
          <p:cNvSpPr>
            <a:spLocks noGrp="1"/>
          </p:cNvSpPr>
          <p:nvPr>
            <p:ph type="body" sz="quarter" idx="11" hasCustomPrompt="1"/>
          </p:nvPr>
        </p:nvSpPr>
        <p:spPr>
          <a:xfrm>
            <a:off x="464493" y="597337"/>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master style</a:t>
            </a:r>
            <a:endParaRPr lang="en-GB"/>
          </a:p>
        </p:txBody>
      </p:sp>
      <p:sp>
        <p:nvSpPr>
          <p:cNvPr id="4" name="Text Placeholder 3"/>
          <p:cNvSpPr>
            <a:spLocks noGrp="1"/>
          </p:cNvSpPr>
          <p:nvPr>
            <p:ph type="body" sz="quarter" idx="17" hasCustomPrompt="1"/>
          </p:nvPr>
        </p:nvSpPr>
        <p:spPr>
          <a:xfrm>
            <a:off x="466725" y="4621306"/>
            <a:ext cx="1823085" cy="88526"/>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3" name="Picture 2">
            <a:extLst>
              <a:ext uri="{FF2B5EF4-FFF2-40B4-BE49-F238E27FC236}">
                <a16:creationId xmlns:a16="http://schemas.microsoft.com/office/drawing/2014/main" id="{8FDEE51B-1CAA-42DA-7C67-1605E64D2298}"/>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5" name="Picture 4" descr="A blue globe with white lines around it&#10;&#10;AI-generated content may be incorrect.">
            <a:extLst>
              <a:ext uri="{FF2B5EF4-FFF2-40B4-BE49-F238E27FC236}">
                <a16:creationId xmlns:a16="http://schemas.microsoft.com/office/drawing/2014/main" id="{CE4103A1-C088-8FBA-C3DD-0670C86855F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815401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_subtitle_bold_gray">
    <p:bg>
      <p:bgPr>
        <a:solidFill>
          <a:schemeClr val="bg2"/>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7337"/>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master style</a:t>
            </a:r>
            <a:endParaRPr lang="en-GB"/>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3" name="Text Placeholder 4">
            <a:extLst>
              <a:ext uri="{FF2B5EF4-FFF2-40B4-BE49-F238E27FC236}">
                <a16:creationId xmlns:a16="http://schemas.microsoft.com/office/drawing/2014/main" id="{51BFEB54-986A-162B-2939-1DBE062B4CED}"/>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pic>
        <p:nvPicPr>
          <p:cNvPr id="7" name="Picture 6">
            <a:extLst>
              <a:ext uri="{FF2B5EF4-FFF2-40B4-BE49-F238E27FC236}">
                <a16:creationId xmlns:a16="http://schemas.microsoft.com/office/drawing/2014/main" id="{490213E6-6826-9CBB-138F-F8C84ED575B7}"/>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6" name="Picture 5" descr="A blue globe with white lines around it&#10;&#10;AI-generated content may be incorrect.">
            <a:extLst>
              <a:ext uri="{FF2B5EF4-FFF2-40B4-BE49-F238E27FC236}">
                <a16:creationId xmlns:a16="http://schemas.microsoft.com/office/drawing/2014/main" id="{915145D5-ABAF-EDE5-296C-09F5594A412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693213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subtitle_bold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master style</a:t>
            </a:r>
            <a:endParaRPr lang="en-GB"/>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a:t>Optional small text </a:t>
            </a:r>
            <a:endParaRPr lang="en-GB"/>
          </a:p>
        </p:txBody>
      </p:sp>
      <p:sp>
        <p:nvSpPr>
          <p:cNvPr id="7" name="Text Placeholder 4">
            <a:extLst>
              <a:ext uri="{FF2B5EF4-FFF2-40B4-BE49-F238E27FC236}">
                <a16:creationId xmlns:a16="http://schemas.microsoft.com/office/drawing/2014/main" id="{EEFE1785-9D51-3BEC-96AD-1E405133D4A5}"/>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pic>
        <p:nvPicPr>
          <p:cNvPr id="8" name="Picture 7">
            <a:extLst>
              <a:ext uri="{FF2B5EF4-FFF2-40B4-BE49-F238E27FC236}">
                <a16:creationId xmlns:a16="http://schemas.microsoft.com/office/drawing/2014/main" id="{089A2516-167B-528B-A9EE-A2FE09B700DF}"/>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DC346764-A43D-DDC7-9FE6-F678DCA01E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78951923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_subtitle_bold_peach">
    <p:bg>
      <p:bgPr>
        <a:gradFill>
          <a:gsLst>
            <a:gs pos="0">
              <a:srgbClr val="EDBD97"/>
            </a:gs>
            <a:gs pos="0">
              <a:schemeClr val="accent2">
                <a:lumMod val="20000"/>
                <a:lumOff val="80000"/>
              </a:schemeClr>
            </a:gs>
            <a:gs pos="0">
              <a:schemeClr val="accent2">
                <a:lumMod val="20000"/>
                <a:lumOff val="80000"/>
              </a:schemeClr>
            </a:gs>
            <a:gs pos="0">
              <a:schemeClr val="accent2">
                <a:lumMod val="20000"/>
                <a:lumOff val="80000"/>
              </a:schemeClr>
            </a:gs>
            <a:gs pos="51000">
              <a:schemeClr val="tx1"/>
            </a:gs>
          </a:gsLst>
          <a:lin ang="16200000" scaled="1"/>
        </a:gra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master style</a:t>
            </a:r>
            <a:endParaRPr lang="en-GB"/>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7" name="Text Placeholder 4">
            <a:extLst>
              <a:ext uri="{FF2B5EF4-FFF2-40B4-BE49-F238E27FC236}">
                <a16:creationId xmlns:a16="http://schemas.microsoft.com/office/drawing/2014/main" id="{EEFE1785-9D51-3BEC-96AD-1E405133D4A5}"/>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pic>
        <p:nvPicPr>
          <p:cNvPr id="6" name="Picture 5">
            <a:extLst>
              <a:ext uri="{FF2B5EF4-FFF2-40B4-BE49-F238E27FC236}">
                <a16:creationId xmlns:a16="http://schemas.microsoft.com/office/drawing/2014/main" id="{1BAEA3E2-8749-D1F8-A1E0-0A032A92AD79}"/>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2E873A2F-A968-86ED-650B-9C1A46FE17A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56507199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layout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a:xfrm>
            <a:off x="4582478" y="62103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a:t>Edit Master text styles</a:t>
            </a:r>
          </a:p>
        </p:txBody>
      </p:sp>
      <p:sp>
        <p:nvSpPr>
          <p:cNvPr id="8" name="Text Placeholder 7"/>
          <p:cNvSpPr>
            <a:spLocks noGrp="1"/>
          </p:cNvSpPr>
          <p:nvPr>
            <p:ph type="body" sz="quarter" idx="11" hasCustomPrompt="1"/>
          </p:nvPr>
        </p:nvSpPr>
        <p:spPr>
          <a:xfrm>
            <a:off x="464856" y="621032"/>
            <a:ext cx="3055584" cy="2231970"/>
          </a:xfrm>
        </p:spPr>
        <p:txBody>
          <a:bodyPr tIns="0" bIns="0"/>
          <a:lstStyle>
            <a:lvl1pPr marL="0" indent="0" algn="l" defTabSz="914400" rtl="0" eaLnBrk="1" latinLnBrk="0" hangingPunct="1">
              <a:lnSpc>
                <a:spcPct val="90000"/>
              </a:lnSpc>
              <a:spcBef>
                <a:spcPct val="0"/>
              </a:spcBef>
              <a:buNone/>
              <a:defRPr lang="en-GB" sz="3200" b="1" kern="0" spc="-150" baseline="0" dirty="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marL="0" lvl="0" indent="0" algn="l" defTabSz="914400" rtl="0" eaLnBrk="1" latinLnBrk="0" hangingPunct="1">
              <a:lnSpc>
                <a:spcPct val="90000"/>
              </a:lnSpc>
              <a:spcBef>
                <a:spcPct val="0"/>
              </a:spcBef>
              <a:buClr>
                <a:schemeClr val="accent2"/>
              </a:buClr>
              <a:buSzPct val="110000"/>
              <a:buFont typeface="Arial" panose="020B0604020202020204" pitchFamily="34" charset="0"/>
              <a:buNone/>
            </a:pPr>
            <a:r>
              <a:rPr lang="en-US"/>
              <a:t>Click to edit</a:t>
            </a:r>
            <a:endParaRPr lang="en-GB"/>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a:t>Optional small text </a:t>
            </a:r>
            <a:endParaRPr lang="en-GB"/>
          </a:p>
        </p:txBody>
      </p:sp>
      <p:pic>
        <p:nvPicPr>
          <p:cNvPr id="6" name="Picture 5">
            <a:extLst>
              <a:ext uri="{FF2B5EF4-FFF2-40B4-BE49-F238E27FC236}">
                <a16:creationId xmlns:a16="http://schemas.microsoft.com/office/drawing/2014/main" id="{E0132D5D-E9C3-E706-9077-CAF303ACBF0C}"/>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94A7661E-EFED-0681-2104-4D62D01106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545414721"/>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layout_gray">
    <p:bg>
      <p:bgPr>
        <a:solidFill>
          <a:schemeClr val="tx2"/>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a:t>Edit Master text styles</a:t>
            </a:r>
          </a:p>
        </p:txBody>
      </p:sp>
      <p:sp>
        <p:nvSpPr>
          <p:cNvPr id="6" name="Text Placeholder 7"/>
          <p:cNvSpPr>
            <a:spLocks noGrp="1"/>
          </p:cNvSpPr>
          <p:nvPr>
            <p:ph type="body" sz="quarter" idx="11" hasCustomPrompt="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a:t>
            </a:r>
            <a:endParaRPr lang="en-GB"/>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a:t>Optional small text </a:t>
            </a:r>
            <a:endParaRPr lang="en-GB"/>
          </a:p>
        </p:txBody>
      </p:sp>
      <p:pic>
        <p:nvPicPr>
          <p:cNvPr id="8" name="Picture 7">
            <a:extLst>
              <a:ext uri="{FF2B5EF4-FFF2-40B4-BE49-F238E27FC236}">
                <a16:creationId xmlns:a16="http://schemas.microsoft.com/office/drawing/2014/main" id="{F5262139-2186-2C37-7FAC-BF427B1840CF}"/>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D1319983-57F5-2401-0E46-EFD3F92242F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704179332"/>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layout_peach">
    <p:bg>
      <p:bgPr>
        <a:gradFill flip="none" rotWithShape="1">
          <a:gsLst>
            <a:gs pos="0">
              <a:schemeClr val="accent2">
                <a:lumMod val="20000"/>
                <a:lumOff val="80000"/>
              </a:schemeClr>
            </a:gs>
            <a:gs pos="0">
              <a:schemeClr val="accent2">
                <a:lumMod val="20000"/>
                <a:lumOff val="80000"/>
              </a:schemeClr>
            </a:gs>
            <a:gs pos="0">
              <a:schemeClr val="accent2">
                <a:lumMod val="20000"/>
                <a:lumOff val="80000"/>
              </a:schemeClr>
            </a:gs>
            <a:gs pos="69000">
              <a:schemeClr val="tx1"/>
            </a:gs>
          </a:gsLst>
          <a:lin ang="18900000" scaled="1"/>
          <a:tileRect/>
        </a:gra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a:t>Edit Master text styles</a:t>
            </a:r>
          </a:p>
        </p:txBody>
      </p:sp>
      <p:sp>
        <p:nvSpPr>
          <p:cNvPr id="6" name="Text Placeholder 7"/>
          <p:cNvSpPr>
            <a:spLocks noGrp="1"/>
          </p:cNvSpPr>
          <p:nvPr>
            <p:ph type="body" sz="quarter" idx="1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a:t>
            </a:r>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a:t>Optional small text </a:t>
            </a:r>
            <a:endParaRPr lang="en-GB"/>
          </a:p>
        </p:txBody>
      </p:sp>
      <p:sp>
        <p:nvSpPr>
          <p:cNvPr id="2" name="TextBox 1">
            <a:extLst>
              <a:ext uri="{FF2B5EF4-FFF2-40B4-BE49-F238E27FC236}">
                <a16:creationId xmlns:a16="http://schemas.microsoft.com/office/drawing/2014/main" id="{F1BE7F81-ADD5-0F9C-C97D-D4C087265DA2}"/>
              </a:ext>
            </a:extLst>
          </p:cNvPr>
          <p:cNvSpPr txBox="1"/>
          <p:nvPr userDrawn="1"/>
        </p:nvSpPr>
        <p:spPr>
          <a:xfrm>
            <a:off x="6620719" y="-254643"/>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AB3624C3-DFFA-1D12-70B0-2350E2B308F3}"/>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7" name="Picture 6" descr="A blue globe with white lines around it&#10;&#10;AI-generated content may be incorrect.">
            <a:extLst>
              <a:ext uri="{FF2B5EF4-FFF2-40B4-BE49-F238E27FC236}">
                <a16:creationId xmlns:a16="http://schemas.microsoft.com/office/drawing/2014/main" id="{30150079-D12D-1E6A-1884-A9EF30DAA8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29191345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_white">
    <p:bg>
      <p:bgPr>
        <a:gradFill>
          <a:gsLst>
            <a:gs pos="0">
              <a:srgbClr val="FB7264"/>
            </a:gs>
            <a:gs pos="0">
              <a:schemeClr val="accent2">
                <a:lumMod val="20000"/>
                <a:lumOff val="80000"/>
              </a:schemeClr>
            </a:gs>
            <a:gs pos="50000">
              <a:schemeClr val="bg1"/>
            </a:gs>
          </a:gsLst>
          <a:lin ang="16200000" scaled="1"/>
        </a:gra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a:t>Enter a subtitle here. </a:t>
            </a:r>
          </a:p>
        </p:txBody>
      </p:sp>
      <p:sp>
        <p:nvSpPr>
          <p:cNvPr id="19" name="Text Placeholder 3"/>
          <p:cNvSpPr>
            <a:spLocks noGrp="1"/>
          </p:cNvSpPr>
          <p:nvPr>
            <p:ph type="body" sz="quarter" idx="17"/>
          </p:nvPr>
        </p:nvSpPr>
        <p:spPr>
          <a:xfrm>
            <a:off x="466725" y="4447235"/>
            <a:ext cx="2690426" cy="180634"/>
          </a:xfrm>
        </p:spPr>
        <p:txBody>
          <a:bodyPr tIns="0" bIns="0" anchor="b"/>
          <a:lstStyle>
            <a:lvl1pPr marL="0" indent="0">
              <a:buNone/>
              <a:defRPr sz="800">
                <a:solidFill>
                  <a:schemeClr val="accent1"/>
                </a:solidFill>
              </a:defRPr>
            </a:lvl1pPr>
          </a:lstStyle>
          <a:p>
            <a:pPr lvl="0"/>
            <a:endParaRPr lang="en-GB"/>
          </a:p>
        </p:txBody>
      </p:sp>
      <p:sp>
        <p:nvSpPr>
          <p:cNvPr id="8" name="TextBox 7">
            <a:extLst>
              <a:ext uri="{FF2B5EF4-FFF2-40B4-BE49-F238E27FC236}">
                <a16:creationId xmlns:a16="http://schemas.microsoft.com/office/drawing/2014/main" id="{975248DB-EE64-3ECC-C948-607C6E1A7221}"/>
              </a:ext>
            </a:extLst>
          </p:cNvPr>
          <p:cNvSpPr txBox="1"/>
          <p:nvPr userDrawn="1"/>
        </p:nvSpPr>
        <p:spPr>
          <a:xfrm>
            <a:off x="4370119" y="5759532"/>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068922B-FD2D-0614-4C31-083F1E132D98}"/>
              </a:ext>
            </a:extLst>
          </p:cNvPr>
          <p:cNvSpPr txBox="1"/>
          <p:nvPr userDrawn="1"/>
        </p:nvSpPr>
        <p:spPr>
          <a:xfrm>
            <a:off x="8037576" y="4599432"/>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BF4CBC83-01A1-56CB-E7B1-7FC9EF462EBA}"/>
              </a:ext>
            </a:extLst>
          </p:cNvPr>
          <p:cNvSpPr txBox="1"/>
          <p:nvPr userDrawn="1"/>
        </p:nvSpPr>
        <p:spPr>
          <a:xfrm>
            <a:off x="5879939" y="1018572"/>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53D22D7C-D239-6537-EB1C-12EB0CD45DBC}"/>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18" name="Picture 17" descr="A blue globe with white lines around it&#10;&#10;AI-generated content may be incorrect.">
            <a:extLst>
              <a:ext uri="{FF2B5EF4-FFF2-40B4-BE49-F238E27FC236}">
                <a16:creationId xmlns:a16="http://schemas.microsoft.com/office/drawing/2014/main" id="{46B37483-B03F-53A1-3B8C-1041BF92F7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110338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layout_light">
    <p:bg>
      <p:bgRef idx="1001">
        <a:schemeClr val="bg1"/>
      </p:bgRef>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a:t>Edit Master text styles</a:t>
            </a:r>
          </a:p>
        </p:txBody>
      </p:sp>
      <p:sp>
        <p:nvSpPr>
          <p:cNvPr id="6" name="Text Placeholder 7"/>
          <p:cNvSpPr>
            <a:spLocks noGrp="1"/>
          </p:cNvSpPr>
          <p:nvPr>
            <p:ph type="body" sz="quarter" idx="11" hasCustomPrompt="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a:t>
            </a:r>
            <a:endParaRPr lang="en-GB"/>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8" name="Picture 7">
            <a:extLst>
              <a:ext uri="{FF2B5EF4-FFF2-40B4-BE49-F238E27FC236}">
                <a16:creationId xmlns:a16="http://schemas.microsoft.com/office/drawing/2014/main" id="{A8734B2A-7E7B-2034-ADC0-E89055212097}"/>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1FF7F09B-BA7A-0700-AC00-EFDF8E86CE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66228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graphic background">
    <p:bg>
      <p:bgPr>
        <a:solidFill>
          <a:srgbClr val="2B6FAB"/>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1"/>
          </p:nvPr>
        </p:nvSpPr>
        <p:spPr>
          <a:xfrm>
            <a:off x="0" y="0"/>
            <a:ext cx="9144000" cy="5143500"/>
          </a:xfrm>
          <a:prstGeom prst="rect">
            <a:avLst/>
          </a:prstGeom>
          <a:solidFill>
            <a:schemeClr val="accent1">
              <a:lumMod val="40000"/>
              <a:lumOff val="60000"/>
            </a:schemeClr>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pic>
        <p:nvPicPr>
          <p:cNvPr id="4" name="Picture 3">
            <a:extLst>
              <a:ext uri="{FF2B5EF4-FFF2-40B4-BE49-F238E27FC236}">
                <a16:creationId xmlns:a16="http://schemas.microsoft.com/office/drawing/2014/main" id="{42F5EB70-F002-E43E-C8C5-5B4E382C2183}"/>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4F77462C-6ADC-2BDB-02CB-A6EF10897D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8051400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_subhead_photo">
    <p:bg>
      <p:bgPr>
        <a:solidFill>
          <a:srgbClr val="FFFFFF"/>
        </a:solidFill>
        <a:effectLst/>
      </p:bgPr>
    </p:bg>
    <p:spTree>
      <p:nvGrpSpPr>
        <p:cNvPr id="1" name=""/>
        <p:cNvGrpSpPr/>
        <p:nvPr/>
      </p:nvGrpSpPr>
      <p:grpSpPr>
        <a:xfrm>
          <a:off x="0" y="0"/>
          <a:ext cx="0" cy="0"/>
          <a:chOff x="0" y="0"/>
          <a:chExt cx="0" cy="0"/>
        </a:xfrm>
      </p:grpSpPr>
      <p:sp>
        <p:nvSpPr>
          <p:cNvPr id="8" name="Picture Placeholder 4"/>
          <p:cNvSpPr>
            <a:spLocks noGrp="1"/>
          </p:cNvSpPr>
          <p:nvPr>
            <p:ph type="pic" sz="quarter" idx="21"/>
          </p:nvPr>
        </p:nvSpPr>
        <p:spPr>
          <a:xfrm>
            <a:off x="4572000" y="0"/>
            <a:ext cx="4572000" cy="5143500"/>
          </a:xfrm>
          <a:prstGeom prst="rect">
            <a:avLst/>
          </a:prstGeom>
          <a:solidFill>
            <a:srgbClr val="FB7264"/>
          </a:solidFill>
        </p:spPr>
        <p:txBody>
          <a:bodyPr vert="horz" wrap="square" lIns="0" tIns="100584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sp>
        <p:nvSpPr>
          <p:cNvPr id="10" name="Text Placeholder 4"/>
          <p:cNvSpPr>
            <a:spLocks noGrp="1"/>
          </p:cNvSpPr>
          <p:nvPr>
            <p:ph type="body" sz="quarter" idx="16"/>
          </p:nvPr>
        </p:nvSpPr>
        <p:spPr>
          <a:xfrm>
            <a:off x="464494" y="1633394"/>
            <a:ext cx="3273116" cy="847455"/>
          </a:xfrm>
        </p:spPr>
        <p:txBody>
          <a:bodyPr tIns="0"/>
          <a:lstStyle>
            <a:lvl1pPr marL="0" indent="0">
              <a:lnSpc>
                <a:spcPct val="15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11" name="Text Placeholder 7"/>
          <p:cNvSpPr>
            <a:spLocks noGrp="1"/>
          </p:cNvSpPr>
          <p:nvPr>
            <p:ph type="body" sz="quarter" idx="11" hasCustomPrompt="1"/>
          </p:nvPr>
        </p:nvSpPr>
        <p:spPr>
          <a:xfrm>
            <a:off x="464493" y="594264"/>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this text box</a:t>
            </a:r>
            <a:endParaRPr lang="en-GB"/>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a:t>Optional small text </a:t>
            </a:r>
            <a:endParaRPr lang="en-GB"/>
          </a:p>
        </p:txBody>
      </p:sp>
      <p:sp>
        <p:nvSpPr>
          <p:cNvPr id="3" name="TextBox 2">
            <a:extLst>
              <a:ext uri="{FF2B5EF4-FFF2-40B4-BE49-F238E27FC236}">
                <a16:creationId xmlns:a16="http://schemas.microsoft.com/office/drawing/2014/main" id="{9F6D98FC-A04F-F001-C845-DA1647943D5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bg1"/>
                </a:solidFill>
                <a:latin typeface="Arial" panose="020B0604020202020204" pitchFamily="34" charset="0"/>
                <a:cs typeface="Arial" panose="020B0604020202020204" pitchFamily="34" charset="0"/>
              </a:rPr>
              <a:t>incose.org</a:t>
            </a:r>
            <a:r>
              <a:rPr lang="en-GB" sz="800" spc="0" baseline="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AA3EB8A8-6595-5813-1593-4AB7ABE8C649}"/>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6" name="Picture 5" descr="A blue globe with white lines around it&#10;&#10;AI-generated content may be incorrect.">
            <a:extLst>
              <a:ext uri="{FF2B5EF4-FFF2-40B4-BE49-F238E27FC236}">
                <a16:creationId xmlns:a16="http://schemas.microsoft.com/office/drawing/2014/main" id="{977738B2-B01A-1C16-92B3-974FD794850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2834540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_floating photo layout">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5073358" y="1987267"/>
            <a:ext cx="2309339" cy="1514725"/>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 name="Picture Placeholder 4"/>
          <p:cNvSpPr>
            <a:spLocks noGrp="1"/>
          </p:cNvSpPr>
          <p:nvPr>
            <p:ph type="pic" sz="quarter" idx="21"/>
          </p:nvPr>
        </p:nvSpPr>
        <p:spPr>
          <a:xfrm>
            <a:off x="5537466" y="1066800"/>
            <a:ext cx="3150178" cy="1990918"/>
          </a:xfrm>
          <a:prstGeom prst="rect">
            <a:avLst/>
          </a:prstGeom>
          <a:solidFill>
            <a:srgbClr val="FB7264"/>
          </a:solidFill>
        </p:spPr>
        <p:txBody>
          <a:bodyPr vert="horz" wrap="square" lIns="0" tIns="1005840" rIns="0" bIns="45720" rtlCol="0" anchor="ctr">
            <a:noAutofit/>
          </a:bodyPr>
          <a:lstStyle>
            <a:lvl1pPr marL="0" indent="0" algn="ctr">
              <a:buNone/>
              <a:defRPr lang="en-US" dirty="0">
                <a:solidFill>
                  <a:schemeClr val="bg1"/>
                </a:solidFill>
              </a:defRPr>
            </a:lvl1pPr>
          </a:lstStyle>
          <a:p>
            <a:pPr marL="173038" lvl="0" indent="-173038" algn="ctr"/>
            <a:r>
              <a:rPr lang="en-US"/>
              <a:t>Click icon to add picture</a:t>
            </a:r>
          </a:p>
        </p:txBody>
      </p:sp>
      <p:sp>
        <p:nvSpPr>
          <p:cNvPr id="11" name="Text Placeholder 7"/>
          <p:cNvSpPr>
            <a:spLocks noGrp="1"/>
          </p:cNvSpPr>
          <p:nvPr>
            <p:ph type="body" sz="quarter" idx="11" hasCustomPrompt="1"/>
          </p:nvPr>
        </p:nvSpPr>
        <p:spPr>
          <a:xfrm>
            <a:off x="464493" y="602165"/>
            <a:ext cx="3273117" cy="3902599"/>
          </a:xfrm>
        </p:spPr>
        <p:txBody>
          <a:bodyPr tIns="0" bIns="0" anchor="t"/>
          <a:lstStyle>
            <a:lvl1pPr marL="0" indent="0" algn="l" defTabSz="914400" rtl="0" eaLnBrk="1" latinLnBrk="0" hangingPunct="1">
              <a:lnSpc>
                <a:spcPct val="90000"/>
              </a:lnSpc>
              <a:spcBef>
                <a:spcPct val="0"/>
              </a:spcBef>
              <a:buNone/>
              <a:defRPr lang="en-US" sz="28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this text box</a:t>
            </a:r>
            <a:endParaRPr lang="en-GB"/>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a:t>Optional small text </a:t>
            </a:r>
            <a:endParaRPr lang="en-GB"/>
          </a:p>
        </p:txBody>
      </p:sp>
      <p:pic>
        <p:nvPicPr>
          <p:cNvPr id="3" name="Picture 2">
            <a:extLst>
              <a:ext uri="{FF2B5EF4-FFF2-40B4-BE49-F238E27FC236}">
                <a16:creationId xmlns:a16="http://schemas.microsoft.com/office/drawing/2014/main" id="{AA533835-9A84-8420-1DCC-887D6666D996}"/>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4" name="Picture 3" descr="A blue globe with white lines around it&#10;&#10;AI-generated content may be incorrect.">
            <a:extLst>
              <a:ext uri="{FF2B5EF4-FFF2-40B4-BE49-F238E27FC236}">
                <a16:creationId xmlns:a16="http://schemas.microsoft.com/office/drawing/2014/main" id="{2F33196E-3011-9CDA-2E98-9BEAFE9E16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6859406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column layout_light">
    <p:bg>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978400" y="1066800"/>
            <a:ext cx="4165600" cy="2184400"/>
          </a:xfrm>
          <a:solidFill>
            <a:srgbClr val="FB7264"/>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a:t>Click icon to add picture</a:t>
            </a:r>
          </a:p>
        </p:txBody>
      </p:sp>
      <p:sp>
        <p:nvSpPr>
          <p:cNvPr id="7" name="Text Placeholder 4"/>
          <p:cNvSpPr>
            <a:spLocks noGrp="1"/>
          </p:cNvSpPr>
          <p:nvPr>
            <p:ph type="body" sz="quarter" idx="16"/>
          </p:nvPr>
        </p:nvSpPr>
        <p:spPr>
          <a:xfrm>
            <a:off x="464494" y="1559195"/>
            <a:ext cx="3273116" cy="695055"/>
          </a:xfrm>
        </p:spPr>
        <p:txBody>
          <a:bodyPr tIns="0"/>
          <a:lstStyle>
            <a:lvl1pPr marL="0" indent="0">
              <a:buNone/>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8" name="Text Placeholder 7"/>
          <p:cNvSpPr>
            <a:spLocks noGrp="1"/>
          </p:cNvSpPr>
          <p:nvPr>
            <p:ph type="body" sz="quarter" idx="11" hasCustomPrompt="1"/>
          </p:nvPr>
        </p:nvSpPr>
        <p:spPr>
          <a:xfrm>
            <a:off x="464493" y="520065"/>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this text box</a:t>
            </a:r>
            <a:endParaRPr lang="en-GB"/>
          </a:p>
        </p:txBody>
      </p:sp>
      <p:sp>
        <p:nvSpPr>
          <p:cNvPr id="9" name="Text Placeholder 4"/>
          <p:cNvSpPr>
            <a:spLocks noGrp="1"/>
          </p:cNvSpPr>
          <p:nvPr>
            <p:ph type="body" sz="quarter" idx="17"/>
          </p:nvPr>
        </p:nvSpPr>
        <p:spPr>
          <a:xfrm>
            <a:off x="464494" y="2473596"/>
            <a:ext cx="3273116" cy="2013240"/>
          </a:xfrm>
        </p:spPr>
        <p:txBody>
          <a:bodyPr tIns="0"/>
          <a:lstStyle>
            <a:lvl1pPr marL="285750" indent="-285750">
              <a:lnSpc>
                <a:spcPct val="150000"/>
              </a:lnSpc>
              <a:spcBef>
                <a:spcPts val="750"/>
              </a:spcBef>
              <a:buFont typeface="Arial" panose="020B0604020202020204" pitchFamily="34" charset="0"/>
              <a:buChar char="•"/>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285750" lvl="0" indent="-285750" algn="l" defTabSz="914400" rtl="0" eaLnBrk="1" latinLnBrk="0" hangingPunct="1">
              <a:lnSpc>
                <a:spcPct val="90000"/>
              </a:lnSpc>
              <a:spcBef>
                <a:spcPts val="1200"/>
              </a:spcBef>
              <a:buClr>
                <a:srgbClr val="0072C8"/>
              </a:buClr>
              <a:buSzPct val="110000"/>
            </a:pPr>
            <a:r>
              <a:rPr lang="en-US"/>
              <a:t>Click to edit Master text styles</a:t>
            </a:r>
          </a:p>
        </p:txBody>
      </p:sp>
      <p:sp>
        <p:nvSpPr>
          <p:cNvPr id="6" name="Text Placeholder 3"/>
          <p:cNvSpPr>
            <a:spLocks noGrp="1"/>
          </p:cNvSpPr>
          <p:nvPr>
            <p:ph type="body" sz="quarter" idx="18"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a:t>Optional small text </a:t>
            </a:r>
            <a:endParaRPr lang="en-GB"/>
          </a:p>
        </p:txBody>
      </p:sp>
      <p:pic>
        <p:nvPicPr>
          <p:cNvPr id="10" name="Picture 9">
            <a:extLst>
              <a:ext uri="{FF2B5EF4-FFF2-40B4-BE49-F238E27FC236}">
                <a16:creationId xmlns:a16="http://schemas.microsoft.com/office/drawing/2014/main" id="{2A2EA157-507E-93B1-8F4A-70F6DCBB50B7}"/>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FBA5C2C8-2760-8F16-1746-9F157E29F4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41669822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5195888" y="3752850"/>
            <a:ext cx="3948111" cy="1389527"/>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spc="100" err="1">
              <a:solidFill>
                <a:schemeClr val="bg1"/>
              </a:soli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5929313" y="2613025"/>
            <a:ext cx="3214687" cy="2530475"/>
          </a:xfrm>
          <a:solidFill>
            <a:srgbClr val="FB7264"/>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dirty="0">
                <a:solidFill>
                  <a:schemeClr val="bg1"/>
                </a:solidFill>
              </a:defRPr>
            </a:lvl1pPr>
          </a:lstStyle>
          <a:p>
            <a:pPr marL="171450" marR="0" lvl="0" indent="-171450" algn="ctr" defTabSz="914400" rtl="0" eaLnBrk="1" fontAlgn="auto" latinLnBrk="0" hangingPunct="1">
              <a:lnSpc>
                <a:spcPct val="100000"/>
              </a:lnSpc>
              <a:spcBef>
                <a:spcPts val="750"/>
              </a:spcBef>
              <a:spcAft>
                <a:spcPts val="0"/>
              </a:spcAft>
              <a:buClr>
                <a:schemeClr val="accent2"/>
              </a:buClr>
              <a:buSzPct val="110000"/>
              <a:tabLst/>
              <a:defRPr/>
            </a:pPr>
            <a:r>
              <a:rPr lang="en-US"/>
              <a:t>Click icon to add picture</a:t>
            </a:r>
          </a:p>
          <a:p>
            <a:pPr marL="171450" lvl="0" indent="-171450" algn="ctr"/>
            <a:endParaRPr lang="en-GB"/>
          </a:p>
        </p:txBody>
      </p:sp>
      <p:sp>
        <p:nvSpPr>
          <p:cNvPr id="10" name="Picture Placeholder 9"/>
          <p:cNvSpPr>
            <a:spLocks noGrp="1"/>
          </p:cNvSpPr>
          <p:nvPr>
            <p:ph type="pic" sz="quarter" idx="14"/>
          </p:nvPr>
        </p:nvSpPr>
        <p:spPr>
          <a:xfrm>
            <a:off x="3986090" y="536215"/>
            <a:ext cx="2743200" cy="2743200"/>
          </a:xfrm>
          <a:prstGeom prst="ellipse">
            <a:avLst/>
          </a:prstGeom>
          <a:solidFill>
            <a:srgbClr val="FB7264"/>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a:t>Click icon to add picture</a:t>
            </a:r>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a:t>Optional small text </a:t>
            </a:r>
            <a:endParaRPr lang="en-GB"/>
          </a:p>
        </p:txBody>
      </p:sp>
      <p:sp>
        <p:nvSpPr>
          <p:cNvPr id="3" name="TextBox 2">
            <a:extLst>
              <a:ext uri="{FF2B5EF4-FFF2-40B4-BE49-F238E27FC236}">
                <a16:creationId xmlns:a16="http://schemas.microsoft.com/office/drawing/2014/main" id="{1DAF7FCA-7728-365A-AB5C-E07378312926}"/>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bg1"/>
                </a:solidFill>
                <a:latin typeface="Arial" panose="020B0604020202020204" pitchFamily="34" charset="0"/>
                <a:cs typeface="Arial" panose="020B0604020202020204" pitchFamily="34" charset="0"/>
              </a:rPr>
              <a:t>incose.org</a:t>
            </a:r>
            <a:r>
              <a:rPr lang="en-GB" sz="800" spc="0" baseline="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a:solidFill>
                <a:schemeClr val="bg1"/>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A6E75F46-E09C-9468-4F46-4B2051F8AA6F}"/>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766EEFFD-FA66-9068-9E7A-F72EE1EC042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843585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_title subtitle">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2000250" y="514350"/>
            <a:ext cx="4751057" cy="2886757"/>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2686050" y="1066799"/>
            <a:ext cx="6471201" cy="3001619"/>
          </a:xfrm>
          <a:solidFill>
            <a:srgbClr val="FB7264"/>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a:t>Click icon to add picture</a:t>
            </a:r>
          </a:p>
        </p:txBody>
      </p:sp>
      <p:sp>
        <p:nvSpPr>
          <p:cNvPr id="13" name="Text Placeholder 7"/>
          <p:cNvSpPr>
            <a:spLocks noGrp="1"/>
          </p:cNvSpPr>
          <p:nvPr>
            <p:ph type="body" sz="quarter" idx="11" hasCustomPrompt="1"/>
          </p:nvPr>
        </p:nvSpPr>
        <p:spPr>
          <a:xfrm>
            <a:off x="464493" y="2004666"/>
            <a:ext cx="4107507" cy="2063751"/>
          </a:xfrm>
          <a:solidFill>
            <a:schemeClr val="bg1"/>
          </a:solidFill>
        </p:spPr>
        <p:txBody>
          <a:bodyPr tIns="0" bIns="0" anchor="ctr"/>
          <a:lstStyle>
            <a:lvl1pPr marL="0" indent="0" algn="l" defTabSz="914400" rtl="0" eaLnBrk="1" latinLnBrk="0" hangingPunct="1">
              <a:lnSpc>
                <a:spcPct val="80000"/>
              </a:lnSpc>
              <a:spcBef>
                <a:spcPts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master</a:t>
            </a:r>
            <a:endParaRPr lang="en-GB"/>
          </a:p>
        </p:txBody>
      </p:sp>
      <p:sp>
        <p:nvSpPr>
          <p:cNvPr id="12" name="Text Placeholder 11"/>
          <p:cNvSpPr>
            <a:spLocks noGrp="1"/>
          </p:cNvSpPr>
          <p:nvPr>
            <p:ph type="body" sz="quarter" idx="15" hasCustomPrompt="1"/>
          </p:nvPr>
        </p:nvSpPr>
        <p:spPr>
          <a:xfrm>
            <a:off x="457200" y="3735042"/>
            <a:ext cx="3816350" cy="504825"/>
          </a:xfrm>
        </p:spPr>
        <p:txBody>
          <a:bodyPr/>
          <a:lstStyle>
            <a:lvl1pPr marL="0" indent="0">
              <a:lnSpc>
                <a:spcPct val="100000"/>
              </a:lnSpc>
              <a:buNone/>
              <a:defRPr>
                <a:solidFill>
                  <a:schemeClr val="tx1"/>
                </a:solidFill>
              </a:defRPr>
            </a:lvl1pPr>
            <a:lvl2pPr marL="173037" indent="0">
              <a:buNone/>
              <a:defRPr>
                <a:solidFill>
                  <a:schemeClr val="accent5"/>
                </a:solidFill>
              </a:defRPr>
            </a:lvl2pPr>
            <a:lvl3pPr marL="323850" indent="0">
              <a:buNone/>
              <a:defRPr>
                <a:solidFill>
                  <a:schemeClr val="accent5"/>
                </a:solidFill>
              </a:defRPr>
            </a:lvl3pPr>
            <a:lvl4pPr marL="457200" indent="0">
              <a:buNone/>
              <a:defRPr>
                <a:solidFill>
                  <a:schemeClr val="accent5"/>
                </a:solidFill>
              </a:defRPr>
            </a:lvl4pPr>
            <a:lvl5pPr marL="593725" indent="0">
              <a:buNone/>
              <a:defRPr>
                <a:solidFill>
                  <a:schemeClr val="accent5"/>
                </a:solidFill>
              </a:defRPr>
            </a:lvl5pPr>
          </a:lstStyle>
          <a:p>
            <a:pPr lvl="0"/>
            <a:r>
              <a:rPr lang="en-US"/>
              <a:t>Enter text here</a:t>
            </a:r>
            <a:endParaRPr lang="en-GB"/>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7" name="Picture 6">
            <a:extLst>
              <a:ext uri="{FF2B5EF4-FFF2-40B4-BE49-F238E27FC236}">
                <a16:creationId xmlns:a16="http://schemas.microsoft.com/office/drawing/2014/main" id="{451AD368-4B52-840A-43C2-FA6784119AF6}"/>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BD99DC18-B4FC-2573-2682-36059E609A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8073218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_title">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2880711" y="645617"/>
            <a:ext cx="4363050" cy="1990358"/>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1136650" y="1066799"/>
            <a:ext cx="5676900" cy="2678998"/>
          </a:xfrm>
          <a:solidFill>
            <a:srgbClr val="FB7264"/>
          </a:solidFill>
        </p:spPr>
        <p:txBody>
          <a:bodyPr vert="horz" wrap="square" lIns="0" tIns="1005840" rIns="0" bIns="45720" rtlCol="0" anchor="ctr">
            <a:noAutofit/>
          </a:bodyPr>
          <a:lstStyle>
            <a:lvl1pPr marL="0" indent="0" algn="ctr">
              <a:buFont typeface="Arial" panose="020B0604020202020204" pitchFamily="34" charset="0"/>
              <a:buNone/>
              <a:defRPr lang="en-GB" dirty="0">
                <a:solidFill>
                  <a:schemeClr val="bg1"/>
                </a:solidFill>
              </a:defRPr>
            </a:lvl1pPr>
          </a:lstStyle>
          <a:p>
            <a:pPr marL="173038" lvl="0" indent="-173038" algn="ctr"/>
            <a:r>
              <a:rPr lang="en-US"/>
              <a:t>Click icon to add picture</a:t>
            </a:r>
          </a:p>
        </p:txBody>
      </p:sp>
      <p:sp>
        <p:nvSpPr>
          <p:cNvPr id="13" name="Text Placeholder 7"/>
          <p:cNvSpPr>
            <a:spLocks noGrp="1"/>
          </p:cNvSpPr>
          <p:nvPr>
            <p:ph type="body" sz="quarter" idx="11" hasCustomPrompt="1"/>
          </p:nvPr>
        </p:nvSpPr>
        <p:spPr>
          <a:xfrm>
            <a:off x="2429191" y="3246283"/>
            <a:ext cx="5959159" cy="1380784"/>
          </a:xfrm>
          <a:solidFill>
            <a:schemeClr val="bg1"/>
          </a:solidFill>
        </p:spPr>
        <p:txBody>
          <a:bodyPr lIns="274320" tIns="228600"/>
          <a:lstStyle>
            <a:lvl1pPr marL="0" indent="0">
              <a:buNone/>
              <a:defRPr lang="en-GB" sz="2400" b="1" kern="0" spc="-10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a:t>Click to edit</a:t>
            </a:r>
            <a:endParaRPr lang="en-GB"/>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a:t>Optional small text </a:t>
            </a:r>
            <a:endParaRPr lang="en-GB"/>
          </a:p>
        </p:txBody>
      </p:sp>
      <p:pic>
        <p:nvPicPr>
          <p:cNvPr id="7" name="Picture 6">
            <a:extLst>
              <a:ext uri="{FF2B5EF4-FFF2-40B4-BE49-F238E27FC236}">
                <a16:creationId xmlns:a16="http://schemas.microsoft.com/office/drawing/2014/main" id="{947489BB-C578-D799-4C1D-8F2586EB9420}"/>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7C4E4FD0-2E12-FCC1-9D0C-A3C23583960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5241330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ro_two photo">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4572000" y="641350"/>
            <a:ext cx="1409700" cy="1409700"/>
          </a:xfrm>
          <a:prstGeom prst="ellipse">
            <a:avLst/>
          </a:prstGeom>
          <a:solidFill>
            <a:srgbClr val="FB7264"/>
          </a:solidFill>
        </p:spPr>
        <p:txBody>
          <a:bodyPr vert="horz" wrap="square" lIns="0" tIns="1005840" rIns="0" bIns="45720" rtlCol="0" anchor="ctr">
            <a:noAutofit/>
          </a:bodyPr>
          <a:lstStyle>
            <a:lvl1pPr>
              <a:defRPr lang="en-GB">
                <a:solidFill>
                  <a:schemeClr val="bg1"/>
                </a:solidFill>
              </a:defRPr>
            </a:lvl1pPr>
          </a:lstStyle>
          <a:p>
            <a:pPr marL="0" lvl="0" indent="0" algn="ctr">
              <a:buNone/>
            </a:pPr>
            <a:r>
              <a:rPr lang="en-US"/>
              <a:t>Click icon to add picture</a:t>
            </a:r>
          </a:p>
          <a:p>
            <a:pPr marL="0" lvl="0" indent="0" algn="ctr">
              <a:buNone/>
            </a:pPr>
            <a:endParaRPr lang="en-US"/>
          </a:p>
        </p:txBody>
      </p:sp>
      <p:sp>
        <p:nvSpPr>
          <p:cNvPr id="10" name="Text Placeholder 4"/>
          <p:cNvSpPr>
            <a:spLocks noGrp="1"/>
          </p:cNvSpPr>
          <p:nvPr>
            <p:ph type="body" sz="quarter" idx="16"/>
          </p:nvPr>
        </p:nvSpPr>
        <p:spPr>
          <a:xfrm>
            <a:off x="464494" y="1641178"/>
            <a:ext cx="3273116" cy="847455"/>
          </a:xfrm>
        </p:spPr>
        <p:txBody>
          <a:bodyPr tIns="0"/>
          <a:lstStyle>
            <a:lvl1pPr marL="0" indent="0">
              <a:buNone/>
              <a:defRPr lang="en-US" sz="1100" kern="1200" spc="0" baseline="0" dirty="0" smtClean="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11"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a:t>
            </a:r>
            <a:endParaRPr lang="en-GB"/>
          </a:p>
        </p:txBody>
      </p:sp>
      <p:sp>
        <p:nvSpPr>
          <p:cNvPr id="7" name="Picture Placeholder 2"/>
          <p:cNvSpPr>
            <a:spLocks noGrp="1"/>
          </p:cNvSpPr>
          <p:nvPr>
            <p:ph type="pic" sz="quarter" idx="18"/>
          </p:nvPr>
        </p:nvSpPr>
        <p:spPr>
          <a:xfrm>
            <a:off x="4572000" y="2757472"/>
            <a:ext cx="1409700" cy="1409700"/>
          </a:xfrm>
          <a:prstGeom prst="ellipse">
            <a:avLst/>
          </a:prstGeom>
          <a:solidFill>
            <a:srgbClr val="FB7264"/>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a:solidFill>
                  <a:schemeClr val="bg1"/>
                </a:solidFill>
              </a:defRPr>
            </a:lvl1pPr>
          </a:lstStyle>
          <a:p>
            <a:pPr marL="0" marR="0" lvl="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a:pPr>
            <a:r>
              <a:rPr lang="en-US"/>
              <a:t>Click icon to add picture</a:t>
            </a:r>
          </a:p>
          <a:p>
            <a:pPr marL="0" lvl="0" indent="0" algn="ctr">
              <a:buNone/>
            </a:pPr>
            <a:endParaRPr lang="en-GB"/>
          </a:p>
        </p:txBody>
      </p:sp>
      <p:sp>
        <p:nvSpPr>
          <p:cNvPr id="6" name="Text Placeholder 5"/>
          <p:cNvSpPr>
            <a:spLocks noGrp="1"/>
          </p:cNvSpPr>
          <p:nvPr>
            <p:ph type="body" sz="quarter" idx="19" hasCustomPrompt="1"/>
          </p:nvPr>
        </p:nvSpPr>
        <p:spPr>
          <a:xfrm>
            <a:off x="6248400" y="641350"/>
            <a:ext cx="2438400" cy="339725"/>
          </a:xfrm>
        </p:spPr>
        <p:txBody>
          <a:bodyPr/>
          <a:lstStyle>
            <a:lvl1pPr marL="0" indent="0">
              <a:buNone/>
              <a:defRPr sz="1400" b="1" spc="0" baseline="0">
                <a:solidFill>
                  <a:schemeClr val="tx1"/>
                </a:solidFill>
              </a:defRPr>
            </a:lvl1pPr>
          </a:lstStyle>
          <a:p>
            <a:pPr lvl="0"/>
            <a:r>
              <a:rPr lang="en-US" err="1"/>
              <a:t>Firstname</a:t>
            </a:r>
            <a:r>
              <a:rPr lang="en-US"/>
              <a:t> </a:t>
            </a:r>
            <a:r>
              <a:rPr lang="en-US" err="1"/>
              <a:t>Lastname</a:t>
            </a:r>
            <a:endParaRPr lang="en-GB"/>
          </a:p>
        </p:txBody>
      </p:sp>
      <p:sp>
        <p:nvSpPr>
          <p:cNvPr id="12" name="Text Placeholder 5"/>
          <p:cNvSpPr>
            <a:spLocks noGrp="1"/>
          </p:cNvSpPr>
          <p:nvPr>
            <p:ph type="body" sz="quarter" idx="20" hasCustomPrompt="1"/>
          </p:nvPr>
        </p:nvSpPr>
        <p:spPr>
          <a:xfrm>
            <a:off x="6248400" y="981076"/>
            <a:ext cx="2438400" cy="266700"/>
          </a:xfrm>
        </p:spPr>
        <p:txBody>
          <a:bodyPr/>
          <a:lstStyle>
            <a:lvl1pPr marL="0" indent="0">
              <a:buNone/>
              <a:defRPr sz="900" b="0" spc="0" baseline="0">
                <a:solidFill>
                  <a:schemeClr val="tx1"/>
                </a:solidFill>
              </a:defRPr>
            </a:lvl1pPr>
          </a:lstStyle>
          <a:p>
            <a:pPr lvl="0"/>
            <a:r>
              <a:rPr lang="en-US"/>
              <a:t>Title</a:t>
            </a:r>
            <a:endParaRPr lang="en-GB"/>
          </a:p>
        </p:txBody>
      </p:sp>
      <p:sp>
        <p:nvSpPr>
          <p:cNvPr id="13" name="Text Placeholder 5"/>
          <p:cNvSpPr>
            <a:spLocks noGrp="1"/>
          </p:cNvSpPr>
          <p:nvPr>
            <p:ph type="body" sz="quarter" idx="21" hasCustomPrompt="1"/>
          </p:nvPr>
        </p:nvSpPr>
        <p:spPr>
          <a:xfrm>
            <a:off x="6248400" y="1247776"/>
            <a:ext cx="2438400" cy="803273"/>
          </a:xfrm>
        </p:spPr>
        <p:txBody>
          <a:bodyPr tIns="0" bIns="0"/>
          <a:lstStyle>
            <a:lvl1pPr marL="0" indent="0">
              <a:lnSpc>
                <a:spcPct val="150000"/>
              </a:lnSpc>
              <a:buNone/>
              <a:defRPr sz="900" b="0" spc="0" baseline="0">
                <a:solidFill>
                  <a:schemeClr val="tx1"/>
                </a:solidFill>
              </a:defRPr>
            </a:lvl1pPr>
          </a:lstStyle>
          <a:p>
            <a:pPr lvl="0"/>
            <a:r>
              <a:rPr lang="en-US"/>
              <a:t>Enter text here</a:t>
            </a:r>
            <a:endParaRPr lang="en-GB"/>
          </a:p>
        </p:txBody>
      </p:sp>
      <p:sp>
        <p:nvSpPr>
          <p:cNvPr id="14" name="Text Placeholder 5"/>
          <p:cNvSpPr>
            <a:spLocks noGrp="1"/>
          </p:cNvSpPr>
          <p:nvPr>
            <p:ph type="body" sz="quarter" idx="22" hasCustomPrompt="1"/>
          </p:nvPr>
        </p:nvSpPr>
        <p:spPr>
          <a:xfrm>
            <a:off x="6248400" y="2757473"/>
            <a:ext cx="2438400" cy="339725"/>
          </a:xfrm>
        </p:spPr>
        <p:txBody>
          <a:bodyPr/>
          <a:lstStyle>
            <a:lvl1pPr marL="0" indent="0">
              <a:buNone/>
              <a:defRPr sz="1400" b="1" spc="0" baseline="0">
                <a:solidFill>
                  <a:schemeClr val="tx1"/>
                </a:solidFill>
              </a:defRPr>
            </a:lvl1pPr>
          </a:lstStyle>
          <a:p>
            <a:pPr lvl="0"/>
            <a:r>
              <a:rPr lang="en-US" err="1"/>
              <a:t>Firstname</a:t>
            </a:r>
            <a:r>
              <a:rPr lang="en-US"/>
              <a:t> </a:t>
            </a:r>
            <a:r>
              <a:rPr lang="en-US" err="1"/>
              <a:t>Lastname</a:t>
            </a:r>
            <a:endParaRPr lang="en-GB"/>
          </a:p>
        </p:txBody>
      </p:sp>
      <p:sp>
        <p:nvSpPr>
          <p:cNvPr id="15" name="Text Placeholder 5"/>
          <p:cNvSpPr>
            <a:spLocks noGrp="1"/>
          </p:cNvSpPr>
          <p:nvPr>
            <p:ph type="body" sz="quarter" idx="23" hasCustomPrompt="1"/>
          </p:nvPr>
        </p:nvSpPr>
        <p:spPr>
          <a:xfrm>
            <a:off x="6248400" y="3097199"/>
            <a:ext cx="2438400" cy="266700"/>
          </a:xfrm>
        </p:spPr>
        <p:txBody>
          <a:bodyPr/>
          <a:lstStyle>
            <a:lvl1pPr marL="0" indent="0">
              <a:buNone/>
              <a:defRPr sz="900" b="0" spc="0" baseline="0">
                <a:solidFill>
                  <a:schemeClr val="tx1"/>
                </a:solidFill>
              </a:defRPr>
            </a:lvl1pPr>
          </a:lstStyle>
          <a:p>
            <a:pPr lvl="0"/>
            <a:r>
              <a:rPr lang="en-US"/>
              <a:t>Title</a:t>
            </a:r>
            <a:endParaRPr lang="en-GB"/>
          </a:p>
        </p:txBody>
      </p:sp>
      <p:sp>
        <p:nvSpPr>
          <p:cNvPr id="16" name="Text Placeholder 5"/>
          <p:cNvSpPr>
            <a:spLocks noGrp="1"/>
          </p:cNvSpPr>
          <p:nvPr>
            <p:ph type="body" sz="quarter" idx="24" hasCustomPrompt="1"/>
          </p:nvPr>
        </p:nvSpPr>
        <p:spPr>
          <a:xfrm>
            <a:off x="6248400" y="3363899"/>
            <a:ext cx="2438400" cy="803273"/>
          </a:xfrm>
        </p:spPr>
        <p:txBody>
          <a:bodyPr tIns="0" bIns="0"/>
          <a:lstStyle>
            <a:lvl1pPr marL="0" indent="0">
              <a:lnSpc>
                <a:spcPct val="150000"/>
              </a:lnSpc>
              <a:buNone/>
              <a:defRPr sz="900" b="0" spc="0" baseline="0">
                <a:solidFill>
                  <a:schemeClr val="tx1"/>
                </a:solidFill>
              </a:defRPr>
            </a:lvl1pPr>
          </a:lstStyle>
          <a:p>
            <a:pPr lvl="0"/>
            <a:r>
              <a:rPr lang="en-US"/>
              <a:t>Enter text here</a:t>
            </a:r>
            <a:endParaRPr lang="en-GB"/>
          </a:p>
        </p:txBody>
      </p:sp>
      <p:sp>
        <p:nvSpPr>
          <p:cNvPr id="17" name="Text Placeholder 3"/>
          <p:cNvSpPr>
            <a:spLocks noGrp="1"/>
          </p:cNvSpPr>
          <p:nvPr>
            <p:ph type="body" sz="quarter" idx="25"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8" name="Picture 7">
            <a:extLst>
              <a:ext uri="{FF2B5EF4-FFF2-40B4-BE49-F238E27FC236}">
                <a16:creationId xmlns:a16="http://schemas.microsoft.com/office/drawing/2014/main" id="{11175C7A-BB2E-719B-1D87-1472D50274F9}"/>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13529F9D-07A0-1630-3BE2-9CF4A332D7E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8316435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_4">
    <p:bg>
      <p:bgPr>
        <a:solidFill>
          <a:srgbClr val="FFFFFF"/>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7"/>
          </p:nvPr>
        </p:nvSpPr>
        <p:spPr>
          <a:xfrm>
            <a:off x="478382"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9" name="Picture Placeholder 2"/>
          <p:cNvSpPr>
            <a:spLocks noGrp="1"/>
          </p:cNvSpPr>
          <p:nvPr>
            <p:ph type="pic" sz="quarter" idx="18"/>
          </p:nvPr>
        </p:nvSpPr>
        <p:spPr>
          <a:xfrm>
            <a:off x="2549739"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1" name="Picture Placeholder 2"/>
          <p:cNvSpPr>
            <a:spLocks noGrp="1"/>
          </p:cNvSpPr>
          <p:nvPr>
            <p:ph type="pic" sz="quarter" idx="19"/>
          </p:nvPr>
        </p:nvSpPr>
        <p:spPr>
          <a:xfrm>
            <a:off x="4576131"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3" name="Picture Placeholder 2"/>
          <p:cNvSpPr>
            <a:spLocks noGrp="1"/>
          </p:cNvSpPr>
          <p:nvPr>
            <p:ph type="pic" sz="quarter" idx="20"/>
          </p:nvPr>
        </p:nvSpPr>
        <p:spPr>
          <a:xfrm>
            <a:off x="6602520"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4" name="Text Placeholder 10"/>
          <p:cNvSpPr>
            <a:spLocks noGrp="1"/>
          </p:cNvSpPr>
          <p:nvPr>
            <p:ph type="body" sz="quarter" idx="21" hasCustomPrompt="1"/>
          </p:nvPr>
        </p:nvSpPr>
        <p:spPr>
          <a:xfrm>
            <a:off x="478382"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a:t>
            </a:r>
          </a:p>
        </p:txBody>
      </p:sp>
      <p:sp>
        <p:nvSpPr>
          <p:cNvPr id="15" name="Text Placeholder 10"/>
          <p:cNvSpPr>
            <a:spLocks noGrp="1"/>
          </p:cNvSpPr>
          <p:nvPr>
            <p:ph type="body" sz="quarter" idx="22"/>
          </p:nvPr>
        </p:nvSpPr>
        <p:spPr>
          <a:xfrm>
            <a:off x="478382"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18" name="Text Placeholder 10"/>
          <p:cNvSpPr>
            <a:spLocks noGrp="1"/>
          </p:cNvSpPr>
          <p:nvPr>
            <p:ph type="body" sz="quarter" idx="23" hasCustomPrompt="1"/>
          </p:nvPr>
        </p:nvSpPr>
        <p:spPr>
          <a:xfrm>
            <a:off x="2549739"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a:t>
            </a:r>
          </a:p>
        </p:txBody>
      </p:sp>
      <p:sp>
        <p:nvSpPr>
          <p:cNvPr id="19" name="Text Placeholder 10"/>
          <p:cNvSpPr>
            <a:spLocks noGrp="1"/>
          </p:cNvSpPr>
          <p:nvPr>
            <p:ph type="body" sz="quarter" idx="24"/>
          </p:nvPr>
        </p:nvSpPr>
        <p:spPr>
          <a:xfrm>
            <a:off x="2549739"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0" name="Text Placeholder 10"/>
          <p:cNvSpPr>
            <a:spLocks noGrp="1"/>
          </p:cNvSpPr>
          <p:nvPr>
            <p:ph type="body" sz="quarter" idx="25" hasCustomPrompt="1"/>
          </p:nvPr>
        </p:nvSpPr>
        <p:spPr>
          <a:xfrm>
            <a:off x="4576131"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a:t>
            </a:r>
          </a:p>
        </p:txBody>
      </p:sp>
      <p:sp>
        <p:nvSpPr>
          <p:cNvPr id="21" name="Text Placeholder 10"/>
          <p:cNvSpPr>
            <a:spLocks noGrp="1"/>
          </p:cNvSpPr>
          <p:nvPr>
            <p:ph type="body" sz="quarter" idx="26"/>
          </p:nvPr>
        </p:nvSpPr>
        <p:spPr>
          <a:xfrm>
            <a:off x="4576131"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2" name="Text Placeholder 10"/>
          <p:cNvSpPr>
            <a:spLocks noGrp="1"/>
          </p:cNvSpPr>
          <p:nvPr>
            <p:ph type="body" sz="quarter" idx="27" hasCustomPrompt="1"/>
          </p:nvPr>
        </p:nvSpPr>
        <p:spPr>
          <a:xfrm>
            <a:off x="6602520"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a:t>
            </a:r>
          </a:p>
        </p:txBody>
      </p:sp>
      <p:sp>
        <p:nvSpPr>
          <p:cNvPr id="23" name="Text Placeholder 10"/>
          <p:cNvSpPr>
            <a:spLocks noGrp="1"/>
          </p:cNvSpPr>
          <p:nvPr>
            <p:ph type="body" sz="quarter" idx="28"/>
          </p:nvPr>
        </p:nvSpPr>
        <p:spPr>
          <a:xfrm>
            <a:off x="6602520"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4" name="Text Placeholder 10"/>
          <p:cNvSpPr>
            <a:spLocks noGrp="1"/>
          </p:cNvSpPr>
          <p:nvPr>
            <p:ph type="body" sz="quarter" idx="14" hasCustomPrompt="1"/>
          </p:nvPr>
        </p:nvSpPr>
        <p:spPr>
          <a:xfrm>
            <a:off x="457200" y="578544"/>
            <a:ext cx="8229600" cy="337614"/>
          </a:xfrm>
        </p:spPr>
        <p:txBody>
          <a:bodyPr vert="horz" wrap="square" lIns="0" tIns="0" rIns="0" bIns="0" rtlCol="0">
            <a:noAutofit/>
          </a:bodyPr>
          <a:lstStyle>
            <a:lvl1pPr marL="285750" indent="-285750">
              <a:buFont typeface="Arial" panose="020B0604020202020204" pitchFamily="34" charset="0"/>
              <a:buNone/>
              <a:defRPr lang="en-US" sz="2400" b="1" kern="0" spc="-7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a:t>Insert slide title here</a:t>
            </a:r>
          </a:p>
        </p:txBody>
      </p:sp>
      <p:sp>
        <p:nvSpPr>
          <p:cNvPr id="16" name="Text Placeholder 3"/>
          <p:cNvSpPr>
            <a:spLocks noGrp="1"/>
          </p:cNvSpPr>
          <p:nvPr>
            <p:ph type="body" sz="quarter" idx="29"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a:t>Optional small text </a:t>
            </a:r>
            <a:endParaRPr lang="en-GB"/>
          </a:p>
        </p:txBody>
      </p:sp>
      <p:pic>
        <p:nvPicPr>
          <p:cNvPr id="5" name="Picture 4">
            <a:extLst>
              <a:ext uri="{FF2B5EF4-FFF2-40B4-BE49-F238E27FC236}">
                <a16:creationId xmlns:a16="http://schemas.microsoft.com/office/drawing/2014/main" id="{CFFF484B-3A72-F7D2-3859-7CC249460774}"/>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4F2B261B-F06F-3DAA-2436-D61DA35CA6F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794883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_white blank">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a:t>Enter a subtitle here. </a:t>
            </a:r>
          </a:p>
        </p:txBody>
      </p:sp>
      <p:sp>
        <p:nvSpPr>
          <p:cNvPr id="19"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a:t>Optional small text </a:t>
            </a:r>
            <a:endParaRPr lang="en-GB"/>
          </a:p>
        </p:txBody>
      </p:sp>
      <p:sp>
        <p:nvSpPr>
          <p:cNvPr id="2" name="TextBox 1">
            <a:extLst>
              <a:ext uri="{FF2B5EF4-FFF2-40B4-BE49-F238E27FC236}">
                <a16:creationId xmlns:a16="http://schemas.microsoft.com/office/drawing/2014/main" id="{984366D1-3155-1C7E-AC9A-4140756B2189}"/>
              </a:ext>
            </a:extLst>
          </p:cNvPr>
          <p:cNvSpPr txBox="1"/>
          <p:nvPr userDrawn="1"/>
        </p:nvSpPr>
        <p:spPr>
          <a:xfrm>
            <a:off x="8203096" y="4651513"/>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512DE62-B447-7530-873B-E8C49820AFC2}"/>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8" name="Picture 7" descr="A blue globe with white lines around it&#10;&#10;AI-generated content may be incorrect.">
            <a:extLst>
              <a:ext uri="{FF2B5EF4-FFF2-40B4-BE49-F238E27FC236}">
                <a16:creationId xmlns:a16="http://schemas.microsoft.com/office/drawing/2014/main" id="{F1A3F134-778B-C99F-E6D4-916021C1E1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233" y="21364"/>
            <a:ext cx="631494" cy="416786"/>
          </a:xfrm>
          <a:prstGeom prst="rect">
            <a:avLst/>
          </a:prstGeom>
        </p:spPr>
      </p:pic>
    </p:spTree>
    <p:extLst>
      <p:ext uri="{BB962C8B-B14F-4D97-AF65-F5344CB8AC3E}">
        <p14:creationId xmlns:p14="http://schemas.microsoft.com/office/powerpoint/2010/main" val="31542379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ro_bi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57200" y="583113"/>
            <a:ext cx="1900238" cy="1866900"/>
          </a:xfrm>
          <a:solidFill>
            <a:srgbClr val="FB7264"/>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a:t>Click icon to add picture</a:t>
            </a:r>
          </a:p>
          <a:p>
            <a:pPr marL="173038" lvl="0" indent="-173038" algn="ctr"/>
            <a:endParaRPr lang="en-GB"/>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7" name="Picture 6">
            <a:extLst>
              <a:ext uri="{FF2B5EF4-FFF2-40B4-BE49-F238E27FC236}">
                <a16:creationId xmlns:a16="http://schemas.microsoft.com/office/drawing/2014/main" id="{DC7667DE-33C4-FD7D-B828-3F9E5F93CB49}"/>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BD4E73C2-DF34-4049-ECF4-10DF940B5B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8011360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a:t>Optional small text </a:t>
            </a:r>
            <a:endParaRPr lang="en-GB"/>
          </a:p>
        </p:txBody>
      </p:sp>
      <p:pic>
        <p:nvPicPr>
          <p:cNvPr id="6" name="Picture 5">
            <a:extLst>
              <a:ext uri="{FF2B5EF4-FFF2-40B4-BE49-F238E27FC236}">
                <a16:creationId xmlns:a16="http://schemas.microsoft.com/office/drawing/2014/main" id="{BC0F4F3B-AF49-335B-DBC6-F42618C12CD8}"/>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398F908F-89F2-9437-F2A8-B4ED8ED7C0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1885109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bg2"/>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6" name="Picture 5">
            <a:extLst>
              <a:ext uri="{FF2B5EF4-FFF2-40B4-BE49-F238E27FC236}">
                <a16:creationId xmlns:a16="http://schemas.microsoft.com/office/drawing/2014/main" id="{3C49A72E-8224-EDEA-9FAB-28B30A10C3EC}"/>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34A13B55-EBD3-EFDA-25C9-7F609EC498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8912388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5" name="Picture 4">
            <a:extLst>
              <a:ext uri="{FF2B5EF4-FFF2-40B4-BE49-F238E27FC236}">
                <a16:creationId xmlns:a16="http://schemas.microsoft.com/office/drawing/2014/main" id="{7729B81E-0F70-FA25-3CE5-18E8AB328EB9}"/>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E7FC6F2D-DA85-37B6-334A-78B488A326C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7605275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_peach">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5" name="Picture 4">
            <a:extLst>
              <a:ext uri="{FF2B5EF4-FFF2-40B4-BE49-F238E27FC236}">
                <a16:creationId xmlns:a16="http://schemas.microsoft.com/office/drawing/2014/main" id="{42AF4F2A-54E8-A3D8-F7F1-66141D32A011}"/>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F40AA6BE-6BDF-8456-8EA9-A10DC280FB1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910717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ject Snapshot">
    <p:bg>
      <p:bgPr>
        <a:solidFill>
          <a:srgbClr val="FFFFFF"/>
        </a:solidFill>
        <a:effectLst/>
      </p:bgPr>
    </p:bg>
    <p:spTree>
      <p:nvGrpSpPr>
        <p:cNvPr id="1" name=""/>
        <p:cNvGrpSpPr/>
        <p:nvPr/>
      </p:nvGrpSpPr>
      <p:grpSpPr>
        <a:xfrm>
          <a:off x="0" y="0"/>
          <a:ext cx="0" cy="0"/>
          <a:chOff x="0" y="0"/>
          <a:chExt cx="0" cy="0"/>
        </a:xfrm>
      </p:grpSpPr>
      <p:sp>
        <p:nvSpPr>
          <p:cNvPr id="4" name="Text Placeholder 7"/>
          <p:cNvSpPr>
            <a:spLocks noGrp="1"/>
          </p:cNvSpPr>
          <p:nvPr>
            <p:ph type="body" sz="quarter" idx="11" hasCustomPrompt="1"/>
          </p:nvPr>
        </p:nvSpPr>
        <p:spPr>
          <a:xfrm>
            <a:off x="464493" y="1066800"/>
            <a:ext cx="6336357" cy="730250"/>
          </a:xfrm>
        </p:spPr>
        <p:txBody>
          <a:bodyPr tIns="0" bIns="0" anchor="t"/>
          <a:lstStyle>
            <a:lvl1pPr marL="0" indent="0" algn="l" defTabSz="914400" rtl="0" eaLnBrk="1" latinLnBrk="0" hangingPunct="1">
              <a:lnSpc>
                <a:spcPct val="90000"/>
              </a:lnSpc>
              <a:spcBef>
                <a:spcPct val="0"/>
              </a:spcBef>
              <a:buNone/>
              <a:defRPr lang="en-US" sz="24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this text box. Try to keep to two lines of text</a:t>
            </a:r>
          </a:p>
        </p:txBody>
      </p:sp>
      <p:sp>
        <p:nvSpPr>
          <p:cNvPr id="6" name="Text Placeholder 4"/>
          <p:cNvSpPr>
            <a:spLocks noGrp="1"/>
          </p:cNvSpPr>
          <p:nvPr>
            <p:ph type="body" sz="quarter" idx="33" hasCustomPrompt="1"/>
          </p:nvPr>
        </p:nvSpPr>
        <p:spPr>
          <a:xfrm>
            <a:off x="464494" y="1819247"/>
            <a:ext cx="6336356" cy="223556"/>
          </a:xfrm>
        </p:spPr>
        <p:txBody>
          <a:bodyPr tIns="0"/>
          <a:lstStyle>
            <a:lvl1pPr marL="0" indent="0">
              <a:lnSpc>
                <a:spcPct val="120000"/>
              </a:lnSpc>
              <a:buNone/>
              <a:defRPr lang="en-US" sz="1100" kern="1200" spc="0" baseline="0" dirty="0" smtClean="0">
                <a:solidFill>
                  <a:schemeClr val="accent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Enter text here</a:t>
            </a:r>
          </a:p>
        </p:txBody>
      </p:sp>
      <p:sp>
        <p:nvSpPr>
          <p:cNvPr id="13" name="Text Placeholder 12"/>
          <p:cNvSpPr>
            <a:spLocks noGrp="1"/>
          </p:cNvSpPr>
          <p:nvPr>
            <p:ph type="body" sz="quarter" idx="34" hasCustomPrompt="1"/>
          </p:nvPr>
        </p:nvSpPr>
        <p:spPr>
          <a:xfrm>
            <a:off x="4651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a:t>Why</a:t>
            </a:r>
            <a:endParaRPr lang="en-GB"/>
          </a:p>
        </p:txBody>
      </p:sp>
      <p:sp>
        <p:nvSpPr>
          <p:cNvPr id="14" name="Text Placeholder 12"/>
          <p:cNvSpPr>
            <a:spLocks noGrp="1"/>
          </p:cNvSpPr>
          <p:nvPr>
            <p:ph type="body" sz="quarter" idx="35" hasCustomPrompt="1"/>
          </p:nvPr>
        </p:nvSpPr>
        <p:spPr>
          <a:xfrm>
            <a:off x="33988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a:t>What</a:t>
            </a:r>
            <a:endParaRPr lang="en-GB"/>
          </a:p>
        </p:txBody>
      </p:sp>
      <p:sp>
        <p:nvSpPr>
          <p:cNvPr id="15" name="Text Placeholder 12"/>
          <p:cNvSpPr>
            <a:spLocks noGrp="1"/>
          </p:cNvSpPr>
          <p:nvPr>
            <p:ph type="body" sz="quarter" idx="36" hasCustomPrompt="1"/>
          </p:nvPr>
        </p:nvSpPr>
        <p:spPr>
          <a:xfrm>
            <a:off x="623181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a:t>How</a:t>
            </a:r>
            <a:endParaRPr lang="en-GB"/>
          </a:p>
        </p:txBody>
      </p:sp>
      <p:sp>
        <p:nvSpPr>
          <p:cNvPr id="16" name="Text Placeholder 12"/>
          <p:cNvSpPr>
            <a:spLocks noGrp="1"/>
          </p:cNvSpPr>
          <p:nvPr>
            <p:ph type="body" sz="quarter" idx="37" hasCustomPrompt="1"/>
          </p:nvPr>
        </p:nvSpPr>
        <p:spPr>
          <a:xfrm>
            <a:off x="4651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a:t>Enter text here</a:t>
            </a:r>
            <a:endParaRPr lang="en-GB"/>
          </a:p>
        </p:txBody>
      </p:sp>
      <p:sp>
        <p:nvSpPr>
          <p:cNvPr id="17" name="Text Placeholder 12"/>
          <p:cNvSpPr>
            <a:spLocks noGrp="1"/>
          </p:cNvSpPr>
          <p:nvPr>
            <p:ph type="body" sz="quarter" idx="38" hasCustomPrompt="1"/>
          </p:nvPr>
        </p:nvSpPr>
        <p:spPr>
          <a:xfrm>
            <a:off x="33988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a:t>Enter text here</a:t>
            </a:r>
            <a:endParaRPr lang="en-GB"/>
          </a:p>
        </p:txBody>
      </p:sp>
      <p:sp>
        <p:nvSpPr>
          <p:cNvPr id="18" name="Text Placeholder 12"/>
          <p:cNvSpPr>
            <a:spLocks noGrp="1"/>
          </p:cNvSpPr>
          <p:nvPr>
            <p:ph type="body" sz="quarter" idx="39" hasCustomPrompt="1"/>
          </p:nvPr>
        </p:nvSpPr>
        <p:spPr>
          <a:xfrm>
            <a:off x="623181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a:t>Enter text here</a:t>
            </a:r>
            <a:endParaRPr lang="en-GB"/>
          </a:p>
        </p:txBody>
      </p:sp>
      <p:pic>
        <p:nvPicPr>
          <p:cNvPr id="7" name="Picture 6">
            <a:extLst>
              <a:ext uri="{FF2B5EF4-FFF2-40B4-BE49-F238E27FC236}">
                <a16:creationId xmlns:a16="http://schemas.microsoft.com/office/drawing/2014/main" id="{77849774-262B-D527-EB71-0ABC6230098C}"/>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74BB1C09-4A34-FAB1-894F-BABE9B8DDA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928264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ory_metrics">
    <p:bg>
      <p:bgPr>
        <a:solidFill>
          <a:srgbClr val="FFFFFF"/>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28" hasCustomPrompt="1"/>
          </p:nvPr>
        </p:nvSpPr>
        <p:spPr>
          <a:xfrm>
            <a:off x="4572001"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25" name="Text Placeholder 6"/>
          <p:cNvSpPr>
            <a:spLocks noGrp="1"/>
          </p:cNvSpPr>
          <p:nvPr>
            <p:ph type="body" sz="quarter" idx="29" hasCustomPrompt="1"/>
          </p:nvPr>
        </p:nvSpPr>
        <p:spPr>
          <a:xfrm>
            <a:off x="5961059"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a:t>1B</a:t>
            </a:r>
          </a:p>
        </p:txBody>
      </p:sp>
      <p:sp>
        <p:nvSpPr>
          <p:cNvPr id="26" name="Text Placeholder 10"/>
          <p:cNvSpPr>
            <a:spLocks noGrp="1"/>
          </p:cNvSpPr>
          <p:nvPr>
            <p:ph type="body" sz="quarter" idx="30" hasCustomPrompt="1"/>
          </p:nvPr>
        </p:nvSpPr>
        <p:spPr>
          <a:xfrm>
            <a:off x="5961059"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27" name="Text Placeholder 6"/>
          <p:cNvSpPr>
            <a:spLocks noGrp="1"/>
          </p:cNvSpPr>
          <p:nvPr>
            <p:ph type="body" sz="quarter" idx="31" hasCustomPrompt="1"/>
          </p:nvPr>
        </p:nvSpPr>
        <p:spPr>
          <a:xfrm>
            <a:off x="7350117"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a:t>100</a:t>
            </a:r>
          </a:p>
        </p:txBody>
      </p:sp>
      <p:sp>
        <p:nvSpPr>
          <p:cNvPr id="28" name="Text Placeholder 10"/>
          <p:cNvSpPr>
            <a:spLocks noGrp="1"/>
          </p:cNvSpPr>
          <p:nvPr>
            <p:ph type="body" sz="quarter" idx="32" hasCustomPrompt="1"/>
          </p:nvPr>
        </p:nvSpPr>
        <p:spPr>
          <a:xfrm>
            <a:off x="7350117"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7" name="Text Placeholder 6"/>
          <p:cNvSpPr>
            <a:spLocks noGrp="1"/>
          </p:cNvSpPr>
          <p:nvPr>
            <p:ph type="body" sz="quarter" idx="27" hasCustomPrompt="1"/>
          </p:nvPr>
        </p:nvSpPr>
        <p:spPr>
          <a:xfrm>
            <a:off x="4572001"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a:t>1,000</a:t>
            </a:r>
          </a:p>
        </p:txBody>
      </p:sp>
      <p:sp>
        <p:nvSpPr>
          <p:cNvPr id="29" name="Text Placeholder 3"/>
          <p:cNvSpPr>
            <a:spLocks noGrp="1"/>
          </p:cNvSpPr>
          <p:nvPr>
            <p:ph type="body" sz="quarter" idx="26" hasCustomPrompt="1"/>
          </p:nvPr>
        </p:nvSpPr>
        <p:spPr>
          <a:xfrm>
            <a:off x="4572000"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a:t>Contact: Enter name</a:t>
            </a:r>
          </a:p>
        </p:txBody>
      </p:sp>
      <p:sp>
        <p:nvSpPr>
          <p:cNvPr id="39" name="Text Placeholder 10"/>
          <p:cNvSpPr>
            <a:spLocks noGrp="1"/>
          </p:cNvSpPr>
          <p:nvPr>
            <p:ph type="body" sz="quarter" idx="34" hasCustomPrompt="1"/>
          </p:nvPr>
        </p:nvSpPr>
        <p:spPr>
          <a:xfrm>
            <a:off x="4572000" y="2220995"/>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0" name="Text Placeholder 6"/>
          <p:cNvSpPr>
            <a:spLocks noGrp="1"/>
          </p:cNvSpPr>
          <p:nvPr>
            <p:ph type="body" sz="quarter" idx="35" hasCustomPrompt="1"/>
          </p:nvPr>
        </p:nvSpPr>
        <p:spPr>
          <a:xfrm>
            <a:off x="4572000" y="2011424"/>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41" name="Text Placeholder 10"/>
          <p:cNvSpPr>
            <a:spLocks noGrp="1"/>
          </p:cNvSpPr>
          <p:nvPr>
            <p:ph type="body" sz="quarter" idx="36" hasCustomPrompt="1"/>
          </p:nvPr>
        </p:nvSpPr>
        <p:spPr>
          <a:xfrm>
            <a:off x="7350117" y="2214199"/>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2" name="Text Placeholder 6"/>
          <p:cNvSpPr>
            <a:spLocks noGrp="1"/>
          </p:cNvSpPr>
          <p:nvPr>
            <p:ph type="body" sz="quarter" idx="37" hasCustomPrompt="1"/>
          </p:nvPr>
        </p:nvSpPr>
        <p:spPr>
          <a:xfrm>
            <a:off x="7350117" y="2004627"/>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43" name="Text Placeholder 10"/>
          <p:cNvSpPr>
            <a:spLocks noGrp="1"/>
          </p:cNvSpPr>
          <p:nvPr>
            <p:ph type="body" sz="quarter" idx="38" hasCustomPrompt="1"/>
          </p:nvPr>
        </p:nvSpPr>
        <p:spPr>
          <a:xfrm>
            <a:off x="4572000" y="3340330"/>
            <a:ext cx="2349182" cy="812189"/>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4" name="Text Placeholder 6"/>
          <p:cNvSpPr>
            <a:spLocks noGrp="1"/>
          </p:cNvSpPr>
          <p:nvPr>
            <p:ph type="body" sz="quarter" idx="39" hasCustomPrompt="1"/>
          </p:nvPr>
        </p:nvSpPr>
        <p:spPr>
          <a:xfrm>
            <a:off x="4572000" y="3130759"/>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45" name="Text Placeholder 10"/>
          <p:cNvSpPr>
            <a:spLocks noGrp="1"/>
          </p:cNvSpPr>
          <p:nvPr>
            <p:ph type="body" sz="quarter" idx="40" hasCustomPrompt="1"/>
          </p:nvPr>
        </p:nvSpPr>
        <p:spPr>
          <a:xfrm>
            <a:off x="7350117" y="2825990"/>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6" name="Text Placeholder 6"/>
          <p:cNvSpPr>
            <a:spLocks noGrp="1"/>
          </p:cNvSpPr>
          <p:nvPr>
            <p:ph type="body" sz="quarter" idx="41" hasCustomPrompt="1"/>
          </p:nvPr>
        </p:nvSpPr>
        <p:spPr>
          <a:xfrm>
            <a:off x="7350117" y="2616418"/>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19" name="Text Placeholder 4"/>
          <p:cNvSpPr>
            <a:spLocks noGrp="1"/>
          </p:cNvSpPr>
          <p:nvPr>
            <p:ph type="body" sz="quarter" idx="33"/>
          </p:nvPr>
        </p:nvSpPr>
        <p:spPr>
          <a:xfrm>
            <a:off x="464494" y="1894708"/>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20" name="Text Placeholder 7"/>
          <p:cNvSpPr>
            <a:spLocks noGrp="1"/>
          </p:cNvSpPr>
          <p:nvPr>
            <p:ph type="body" sz="quarter" idx="11" hasCustomPrompt="1"/>
          </p:nvPr>
        </p:nvSpPr>
        <p:spPr>
          <a:xfrm>
            <a:off x="464493" y="594264"/>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this text box. Try to keep to three lines of text</a:t>
            </a:r>
          </a:p>
        </p:txBody>
      </p:sp>
      <p:pic>
        <p:nvPicPr>
          <p:cNvPr id="6" name="Picture 5">
            <a:extLst>
              <a:ext uri="{FF2B5EF4-FFF2-40B4-BE49-F238E27FC236}">
                <a16:creationId xmlns:a16="http://schemas.microsoft.com/office/drawing/2014/main" id="{9762D41F-B6DF-FD78-80E3-57F3E39110A1}"/>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9EC29BF9-4BB9-E2D8-8C22-21DD679993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192183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y_quote">
    <p:bg>
      <p:bgPr>
        <a:solidFill>
          <a:srgbClr val="FFFFFF"/>
        </a:solidFill>
        <a:effectLst/>
      </p:bgPr>
    </p:bg>
    <p:spTree>
      <p:nvGrpSpPr>
        <p:cNvPr id="1" name=""/>
        <p:cNvGrpSpPr/>
        <p:nvPr/>
      </p:nvGrpSpPr>
      <p:grpSpPr>
        <a:xfrm>
          <a:off x="0" y="0"/>
          <a:ext cx="0" cy="0"/>
          <a:chOff x="0" y="0"/>
          <a:chExt cx="0" cy="0"/>
        </a:xfrm>
      </p:grpSpPr>
      <p:sp>
        <p:nvSpPr>
          <p:cNvPr id="29" name="Text Placeholder 3"/>
          <p:cNvSpPr>
            <a:spLocks noGrp="1"/>
          </p:cNvSpPr>
          <p:nvPr>
            <p:ph type="body" sz="quarter" idx="26" hasCustomPrompt="1"/>
          </p:nvPr>
        </p:nvSpPr>
        <p:spPr>
          <a:xfrm>
            <a:off x="4700906"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a:t>Contact: Enter name</a:t>
            </a:r>
          </a:p>
        </p:txBody>
      </p:sp>
      <p:sp>
        <p:nvSpPr>
          <p:cNvPr id="38" name="Text Placeholder 7"/>
          <p:cNvSpPr>
            <a:spLocks noGrp="1"/>
          </p:cNvSpPr>
          <p:nvPr>
            <p:ph type="body" sz="quarter" idx="11" hasCustomPrompt="1"/>
          </p:nvPr>
        </p:nvSpPr>
        <p:spPr>
          <a:xfrm>
            <a:off x="464493" y="594264"/>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a:t>Click to edit this text box. Try to keep to three lines of text</a:t>
            </a:r>
          </a:p>
        </p:txBody>
      </p:sp>
      <p:sp>
        <p:nvSpPr>
          <p:cNvPr id="39" name="Text Placeholder 10"/>
          <p:cNvSpPr>
            <a:spLocks noGrp="1"/>
          </p:cNvSpPr>
          <p:nvPr>
            <p:ph type="body" sz="quarter" idx="34" hasCustomPrompt="1"/>
          </p:nvPr>
        </p:nvSpPr>
        <p:spPr>
          <a:xfrm>
            <a:off x="4700906" y="2409365"/>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0" name="Text Placeholder 6"/>
          <p:cNvSpPr>
            <a:spLocks noGrp="1"/>
          </p:cNvSpPr>
          <p:nvPr>
            <p:ph type="body" sz="quarter" idx="35" hasCustomPrompt="1"/>
          </p:nvPr>
        </p:nvSpPr>
        <p:spPr>
          <a:xfrm>
            <a:off x="4700906" y="2199794"/>
            <a:ext cx="2349182"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41" name="Text Placeholder 10"/>
          <p:cNvSpPr>
            <a:spLocks noGrp="1"/>
          </p:cNvSpPr>
          <p:nvPr>
            <p:ph type="body" sz="quarter" idx="36" hasCustomPrompt="1"/>
          </p:nvPr>
        </p:nvSpPr>
        <p:spPr>
          <a:xfrm>
            <a:off x="7479023" y="2402569"/>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2" name="Text Placeholder 6"/>
          <p:cNvSpPr>
            <a:spLocks noGrp="1"/>
          </p:cNvSpPr>
          <p:nvPr>
            <p:ph type="body" sz="quarter" idx="37" hasCustomPrompt="1"/>
          </p:nvPr>
        </p:nvSpPr>
        <p:spPr>
          <a:xfrm>
            <a:off x="7479023" y="2192997"/>
            <a:ext cx="1118877"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43" name="Text Placeholder 10"/>
          <p:cNvSpPr>
            <a:spLocks noGrp="1"/>
          </p:cNvSpPr>
          <p:nvPr>
            <p:ph type="body" sz="quarter" idx="38" hasCustomPrompt="1"/>
          </p:nvPr>
        </p:nvSpPr>
        <p:spPr>
          <a:xfrm>
            <a:off x="4700906" y="3528700"/>
            <a:ext cx="2349182" cy="40927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4" name="Text Placeholder 6"/>
          <p:cNvSpPr>
            <a:spLocks noGrp="1"/>
          </p:cNvSpPr>
          <p:nvPr>
            <p:ph type="body" sz="quarter" idx="39" hasCustomPrompt="1"/>
          </p:nvPr>
        </p:nvSpPr>
        <p:spPr>
          <a:xfrm>
            <a:off x="4700906" y="3319129"/>
            <a:ext cx="2349182"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45" name="Text Placeholder 10"/>
          <p:cNvSpPr>
            <a:spLocks noGrp="1"/>
          </p:cNvSpPr>
          <p:nvPr>
            <p:ph type="body" sz="quarter" idx="40" hasCustomPrompt="1"/>
          </p:nvPr>
        </p:nvSpPr>
        <p:spPr>
          <a:xfrm>
            <a:off x="7479023" y="3014360"/>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a:t>Enter subtitle</a:t>
            </a:r>
          </a:p>
        </p:txBody>
      </p:sp>
      <p:sp>
        <p:nvSpPr>
          <p:cNvPr id="46" name="Text Placeholder 6"/>
          <p:cNvSpPr>
            <a:spLocks noGrp="1"/>
          </p:cNvSpPr>
          <p:nvPr>
            <p:ph type="body" sz="quarter" idx="41" hasCustomPrompt="1"/>
          </p:nvPr>
        </p:nvSpPr>
        <p:spPr>
          <a:xfrm>
            <a:off x="7479023" y="2804788"/>
            <a:ext cx="1118877"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a:t>Subhead</a:t>
            </a:r>
          </a:p>
        </p:txBody>
      </p:sp>
      <p:sp>
        <p:nvSpPr>
          <p:cNvPr id="3" name="Text Placeholder 2"/>
          <p:cNvSpPr>
            <a:spLocks noGrp="1"/>
          </p:cNvSpPr>
          <p:nvPr>
            <p:ph type="body" sz="quarter" idx="42" hasCustomPrompt="1"/>
          </p:nvPr>
        </p:nvSpPr>
        <p:spPr>
          <a:xfrm>
            <a:off x="4699000" y="826205"/>
            <a:ext cx="3898900" cy="1114259"/>
          </a:xfrm>
        </p:spPr>
        <p:txBody>
          <a:bodyPr/>
          <a:lstStyle>
            <a:lvl1pPr marL="0" indent="0">
              <a:buNone/>
              <a:defRPr sz="2000" baseline="0">
                <a:solidFill>
                  <a:schemeClr val="accent5"/>
                </a:solidFill>
              </a:defRPr>
            </a:lvl1pPr>
          </a:lstStyle>
          <a:p>
            <a:pPr lvl="0"/>
            <a:r>
              <a:rPr lang="en-US"/>
              <a:t>Here’s a place for your quote. We recommend to keep it short. Maybe about this long.”</a:t>
            </a:r>
            <a:endParaRPr lang="en-GB"/>
          </a:p>
        </p:txBody>
      </p:sp>
      <p:sp>
        <p:nvSpPr>
          <p:cNvPr id="4" name="TextBox 3"/>
          <p:cNvSpPr txBox="1"/>
          <p:nvPr userDrawn="1"/>
        </p:nvSpPr>
        <p:spPr>
          <a:xfrm>
            <a:off x="4483100" y="826205"/>
            <a:ext cx="431800" cy="406400"/>
          </a:xfrm>
          <a:prstGeom prst="rect">
            <a:avLst/>
          </a:prstGeom>
          <a:noFill/>
        </p:spPr>
        <p:txBody>
          <a:bodyPr wrap="square" rtlCol="0">
            <a:noAutofit/>
          </a:bodyPr>
          <a:lstStyle/>
          <a:p>
            <a:pPr>
              <a:spcBef>
                <a:spcPts val="750"/>
              </a:spcBef>
              <a:buClr>
                <a:schemeClr val="accent2"/>
              </a:buClr>
              <a:buSzPct val="100000"/>
            </a:pPr>
            <a:r>
              <a:rPr lang="en-US" sz="2000">
                <a:solidFill>
                  <a:srgbClr val="7BAEDD"/>
                </a:solidFill>
                <a:latin typeface="Arial" panose="020B0604020202020204" pitchFamily="34" charset="0"/>
                <a:cs typeface="Arial" panose="020B0604020202020204" pitchFamily="34" charset="0"/>
              </a:rPr>
              <a:t>“</a:t>
            </a:r>
            <a:endParaRPr lang="en-GB" sz="2000" err="1">
              <a:solidFill>
                <a:srgbClr val="7BAEDD"/>
              </a:solidFill>
              <a:latin typeface="Arial" panose="020B0604020202020204" pitchFamily="34" charset="0"/>
              <a:cs typeface="Arial" panose="020B0604020202020204" pitchFamily="34" charset="0"/>
            </a:endParaRPr>
          </a:p>
        </p:txBody>
      </p:sp>
      <p:sp>
        <p:nvSpPr>
          <p:cNvPr id="22" name="Text Placeholder 4"/>
          <p:cNvSpPr>
            <a:spLocks noGrp="1"/>
          </p:cNvSpPr>
          <p:nvPr>
            <p:ph type="body" sz="quarter" idx="33"/>
          </p:nvPr>
        </p:nvSpPr>
        <p:spPr>
          <a:xfrm>
            <a:off x="464494" y="1894708"/>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a:t>Click to edit Master text styles</a:t>
            </a:r>
          </a:p>
        </p:txBody>
      </p:sp>
      <p:sp>
        <p:nvSpPr>
          <p:cNvPr id="7" name="TextBox 6">
            <a:extLst>
              <a:ext uri="{FF2B5EF4-FFF2-40B4-BE49-F238E27FC236}">
                <a16:creationId xmlns:a16="http://schemas.microsoft.com/office/drawing/2014/main" id="{F0590124-66BE-F73B-8677-555726C3DD4F}"/>
              </a:ext>
            </a:extLst>
          </p:cNvPr>
          <p:cNvSpPr txBox="1"/>
          <p:nvPr userDrawn="1"/>
        </p:nvSpPr>
        <p:spPr>
          <a:xfrm>
            <a:off x="2085278" y="-847493"/>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D74DB50A-CDEB-FE1B-23DB-7C4357092968}"/>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02BC2D36-0D31-9591-682A-7BE04EFBB9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316322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Logo Slide 1">
    <p:bg>
      <p:bgPr>
        <a:solidFill>
          <a:schemeClr val="bg2"/>
        </a:solidFill>
        <a:effectLst/>
      </p:bgPr>
    </p:bg>
    <p:spTree>
      <p:nvGrpSpPr>
        <p:cNvPr id="1" name=""/>
        <p:cNvGrpSpPr/>
        <p:nvPr/>
      </p:nvGrpSpPr>
      <p:grpSpPr>
        <a:xfrm>
          <a:off x="0" y="0"/>
          <a:ext cx="0" cy="0"/>
          <a:chOff x="0" y="0"/>
          <a:chExt cx="0" cy="0"/>
        </a:xfrm>
      </p:grpSpPr>
      <p:sp>
        <p:nvSpPr>
          <p:cNvPr id="7" name="Text Box 3"/>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a:solidFill>
                  <a:schemeClr val="tx1"/>
                </a:solidFill>
                <a:latin typeface="Arial" panose="020B0604020202020204" pitchFamily="34" charset="0"/>
                <a:cs typeface="Arial" panose="020B0604020202020204" pitchFamily="34" charset="0"/>
              </a:rPr>
              <a:t>© 2024 INCOSE, LLC. All rights reserved. </a:t>
            </a:r>
          </a:p>
        </p:txBody>
      </p:sp>
      <p:pic>
        <p:nvPicPr>
          <p:cNvPr id="5" name="Picture 4">
            <a:extLst>
              <a:ext uri="{FF2B5EF4-FFF2-40B4-BE49-F238E27FC236}">
                <a16:creationId xmlns:a16="http://schemas.microsoft.com/office/drawing/2014/main" id="{2C3CB103-A501-DB50-CF0F-F2B4FE0D86D9}"/>
              </a:ext>
            </a:extLst>
          </p:cNvPr>
          <p:cNvPicPr>
            <a:picLocks noChangeAspect="1"/>
          </p:cNvPicPr>
          <p:nvPr userDrawn="1"/>
        </p:nvPicPr>
        <p:blipFill>
          <a:blip r:embed="rId2"/>
          <a:srcRect r="58852"/>
          <a:stretch/>
        </p:blipFill>
        <p:spPr>
          <a:xfrm>
            <a:off x="7880516" y="18441"/>
            <a:ext cx="1197637" cy="963194"/>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D1A71D10-8887-B8C5-EE20-A0C7B8FA817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91981" y="1155279"/>
            <a:ext cx="3598880" cy="2375260"/>
          </a:xfrm>
          <a:prstGeom prst="rect">
            <a:avLst/>
          </a:prstGeom>
        </p:spPr>
      </p:pic>
    </p:spTree>
    <p:extLst>
      <p:ext uri="{BB962C8B-B14F-4D97-AF65-F5344CB8AC3E}">
        <p14:creationId xmlns:p14="http://schemas.microsoft.com/office/powerpoint/2010/main" val="997395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Logo Slide 2">
    <p:bg>
      <p:bgRef idx="1001">
        <a:schemeClr val="bg1"/>
      </p:bgRef>
    </p:bg>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78F6BFEB-A9CC-5711-9FA1-A3C2014BA4F3}"/>
              </a:ext>
            </a:extLst>
          </p:cNvPr>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a:solidFill>
                  <a:schemeClr val="tx1"/>
                </a:solidFill>
                <a:latin typeface="Arial" panose="020B0604020202020204" pitchFamily="34" charset="0"/>
                <a:cs typeface="Arial" panose="020B0604020202020204" pitchFamily="34" charset="0"/>
              </a:rPr>
              <a:t>© 2025 INCOSE, LLC. All rights reserved. </a:t>
            </a:r>
          </a:p>
        </p:txBody>
      </p:sp>
      <p:pic>
        <p:nvPicPr>
          <p:cNvPr id="7" name="Picture 6">
            <a:extLst>
              <a:ext uri="{FF2B5EF4-FFF2-40B4-BE49-F238E27FC236}">
                <a16:creationId xmlns:a16="http://schemas.microsoft.com/office/drawing/2014/main" id="{77855419-12A0-4384-668B-6ACAB628C011}"/>
              </a:ext>
            </a:extLst>
          </p:cNvPr>
          <p:cNvPicPr>
            <a:picLocks noChangeAspect="1"/>
          </p:cNvPicPr>
          <p:nvPr userDrawn="1"/>
        </p:nvPicPr>
        <p:blipFill>
          <a:blip r:embed="rId2"/>
          <a:srcRect r="58852"/>
          <a:stretch/>
        </p:blipFill>
        <p:spPr>
          <a:xfrm>
            <a:off x="7880516" y="18441"/>
            <a:ext cx="1197637" cy="963194"/>
          </a:xfrm>
          <a:prstGeom prst="rect">
            <a:avLst/>
          </a:prstGeom>
        </p:spPr>
      </p:pic>
      <p:pic>
        <p:nvPicPr>
          <p:cNvPr id="2" name="Picture 1" descr="A blue globe with white lines around it&#10;&#10;AI-generated content may be incorrect.">
            <a:extLst>
              <a:ext uri="{FF2B5EF4-FFF2-40B4-BE49-F238E27FC236}">
                <a16:creationId xmlns:a16="http://schemas.microsoft.com/office/drawing/2014/main" id="{A33C3264-129C-E5F4-9A32-16336248608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07586" y="1045436"/>
            <a:ext cx="4203535" cy="2774333"/>
          </a:xfrm>
          <a:prstGeom prst="rect">
            <a:avLst/>
          </a:prstGeom>
        </p:spPr>
      </p:pic>
    </p:spTree>
    <p:extLst>
      <p:ext uri="{BB962C8B-B14F-4D97-AF65-F5344CB8AC3E}">
        <p14:creationId xmlns:p14="http://schemas.microsoft.com/office/powerpoint/2010/main" val="161385644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Title Slide_ligh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0" y="0"/>
            <a:ext cx="4593625" cy="5143500"/>
          </a:xfrm>
          <a:prstGeom prst="rect">
            <a:avLst/>
          </a:prstGeom>
          <a:gradFill>
            <a:gsLst>
              <a:gs pos="0">
                <a:schemeClr val="accent2">
                  <a:lumMod val="20000"/>
                  <a:lumOff val="80000"/>
                </a:schemeClr>
              </a:gs>
              <a:gs pos="3000">
                <a:schemeClr val="accent2">
                  <a:lumMod val="20000"/>
                  <a:lumOff val="80000"/>
                </a:schemeClr>
              </a:gs>
              <a:gs pos="88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a:solidFill>
                <a:schemeClr val="bg1"/>
              </a:solidFill>
              <a:ea typeface="Segoe UI Black" panose="020B0A02040204020203" pitchFamily="34" charset="0"/>
              <a:cs typeface="Segoe UI Black" panose="020B0A02040204020203" pitchFamily="34" charset="0"/>
            </a:endParaRPr>
          </a:p>
        </p:txBody>
      </p:sp>
      <p:sp>
        <p:nvSpPr>
          <p:cNvPr id="5" name="Title Placeholder 1"/>
          <p:cNvSpPr>
            <a:spLocks noGrp="1"/>
          </p:cNvSpPr>
          <p:nvPr>
            <p:ph type="title" hasCustomPrompt="1"/>
          </p:nvPr>
        </p:nvSpPr>
        <p:spPr>
          <a:xfrm>
            <a:off x="457200" y="438150"/>
            <a:ext cx="3466618"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a:t>Insert title here. </a:t>
            </a:r>
          </a:p>
        </p:txBody>
      </p:sp>
      <p:sp>
        <p:nvSpPr>
          <p:cNvPr id="6" name="Text Placeholder 10"/>
          <p:cNvSpPr>
            <a:spLocks noGrp="1"/>
          </p:cNvSpPr>
          <p:nvPr>
            <p:ph type="body" sz="quarter" idx="15" hasCustomPrompt="1"/>
          </p:nvPr>
        </p:nvSpPr>
        <p:spPr>
          <a:xfrm>
            <a:off x="457200" y="2963121"/>
            <a:ext cx="3466618"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a:t>Insert text here.</a:t>
            </a:r>
            <a:endParaRPr lang="en-GB"/>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D61BDA20-9BBE-E21E-6FED-29CE2DA8A753}"/>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7" name="Picture 6" descr="A blue globe with white lines around it&#10;&#10;AI-generated content may be incorrect.">
            <a:extLst>
              <a:ext uri="{FF2B5EF4-FFF2-40B4-BE49-F238E27FC236}">
                <a16:creationId xmlns:a16="http://schemas.microsoft.com/office/drawing/2014/main" id="{C0288DBE-F45B-5E79-95F9-661ABFEE954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223152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8F2F91-0962-E56D-3C1E-E764E4249F2E}"/>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0C9A9C99-46FD-D8C4-A588-4B8D582C377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15354717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D9DD6903-31DD-5348-931E-827644FF87FE}"/>
              </a:ext>
            </a:extLst>
          </p:cNvPr>
          <p:cNvSpPr>
            <a:spLocks noGrp="1"/>
          </p:cNvSpPr>
          <p:nvPr>
            <p:ph type="pic" sz="quarter" idx="14"/>
          </p:nvPr>
        </p:nvSpPr>
        <p:spPr>
          <a:xfrm>
            <a:off x="-134764" y="-145473"/>
            <a:ext cx="9413527" cy="5434445"/>
          </a:xfrm>
          <a:prstGeom prst="rect">
            <a:avLst/>
          </a:prstGeom>
          <a:solidFill>
            <a:schemeClr val="bg1">
              <a:lumMod val="95000"/>
            </a:schemeClr>
          </a:solidFill>
        </p:spPr>
        <p:txBody>
          <a:bodyPr>
            <a:normAutofit/>
          </a:bodyPr>
          <a:lstStyle>
            <a:lvl1pPr>
              <a:defRPr sz="788"/>
            </a:lvl1pPr>
          </a:lstStyle>
          <a:p>
            <a:endParaRPr lang="en-US"/>
          </a:p>
        </p:txBody>
      </p:sp>
      <p:sp>
        <p:nvSpPr>
          <p:cNvPr id="3" name="TextBox 2">
            <a:extLst>
              <a:ext uri="{FF2B5EF4-FFF2-40B4-BE49-F238E27FC236}">
                <a16:creationId xmlns:a16="http://schemas.microsoft.com/office/drawing/2014/main" id="{D2664582-F807-9F45-5B95-3797C247152E}"/>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a:solidFill>
                <a:schemeClr val="accent3"/>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5E795070-6092-AA58-A1B9-98C93FCE468C}"/>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6" name="Picture 5" descr="A blue globe with white lines around it&#10;&#10;AI-generated content may be incorrect.">
            <a:extLst>
              <a:ext uri="{FF2B5EF4-FFF2-40B4-BE49-F238E27FC236}">
                <a16:creationId xmlns:a16="http://schemas.microsoft.com/office/drawing/2014/main" id="{94A7ECAE-00D9-7412-5D55-D1FCBACDE26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901975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Main Title Slide_l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7920" y="7030"/>
            <a:ext cx="4593625" cy="5143500"/>
          </a:xfrm>
          <a:prstGeom prst="rect">
            <a:avLst/>
          </a:prstGeom>
          <a:gradFill>
            <a:gsLst>
              <a:gs pos="0">
                <a:srgbClr val="A5A5A5"/>
              </a:gs>
              <a:gs pos="3000">
                <a:srgbClr val="A5A5A5"/>
              </a:gs>
              <a:gs pos="61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a:solidFill>
                <a:schemeClr val="bg1"/>
              </a:solidFill>
              <a:ea typeface="Segoe UI Black" panose="020B0A02040204020203" pitchFamily="34" charset="0"/>
              <a:cs typeface="Segoe UI Black" panose="020B0A02040204020203" pitchFamily="34" charset="0"/>
            </a:endParaRP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a:t>Insert text here.</a:t>
            </a:r>
            <a:endParaRPr lang="en-GB"/>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3" name="Title Placeholder 1">
            <a:extLst>
              <a:ext uri="{FF2B5EF4-FFF2-40B4-BE49-F238E27FC236}">
                <a16:creationId xmlns:a16="http://schemas.microsoft.com/office/drawing/2014/main" id="{7EAE2B97-0368-4D65-4F50-4F8C941B66B3}"/>
              </a:ext>
            </a:extLst>
          </p:cNvPr>
          <p:cNvSpPr>
            <a:spLocks noGrp="1"/>
          </p:cNvSpPr>
          <p:nvPr>
            <p:ph type="title" hasCustomPrompt="1"/>
          </p:nvPr>
        </p:nvSpPr>
        <p:spPr>
          <a:xfrm>
            <a:off x="457200" y="438150"/>
            <a:ext cx="3663387"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a:t>Insert title here. </a:t>
            </a:r>
          </a:p>
        </p:txBody>
      </p:sp>
      <p:sp>
        <p:nvSpPr>
          <p:cNvPr id="11" name="Text Placeholder 10">
            <a:extLst>
              <a:ext uri="{FF2B5EF4-FFF2-40B4-BE49-F238E27FC236}">
                <a16:creationId xmlns:a16="http://schemas.microsoft.com/office/drawing/2014/main" id="{268ADFCA-FDAA-F4EB-069D-7DFE93DC2769}"/>
              </a:ext>
            </a:extLst>
          </p:cNvPr>
          <p:cNvSpPr>
            <a:spLocks noGrp="1"/>
          </p:cNvSpPr>
          <p:nvPr>
            <p:ph type="body" sz="quarter" idx="15" hasCustomPrompt="1"/>
          </p:nvPr>
        </p:nvSpPr>
        <p:spPr>
          <a:xfrm>
            <a:off x="457200" y="2963121"/>
            <a:ext cx="3663387"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a:t>Enter a subtitle here.</a:t>
            </a:r>
          </a:p>
        </p:txBody>
      </p:sp>
      <p:pic>
        <p:nvPicPr>
          <p:cNvPr id="5" name="Picture 4">
            <a:extLst>
              <a:ext uri="{FF2B5EF4-FFF2-40B4-BE49-F238E27FC236}">
                <a16:creationId xmlns:a16="http://schemas.microsoft.com/office/drawing/2014/main" id="{418E2716-7E8C-1812-5F35-EE4406A05F82}"/>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6" name="Picture 5" descr="A blue globe with white lines around it&#10;&#10;AI-generated content may be incorrect.">
            <a:extLst>
              <a:ext uri="{FF2B5EF4-FFF2-40B4-BE49-F238E27FC236}">
                <a16:creationId xmlns:a16="http://schemas.microsoft.com/office/drawing/2014/main" id="{408AD394-5FBF-3FD2-2A2B-FCF77768F4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0126830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Main Title Slide_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21625" y="0"/>
            <a:ext cx="4593625" cy="5143500"/>
          </a:xfrm>
          <a:prstGeom prst="rect">
            <a:avLst/>
          </a:prstGeom>
          <a:gradFill>
            <a:gsLst>
              <a:gs pos="15995">
                <a:srgbClr val="8CB1D1"/>
              </a:gs>
              <a:gs pos="0">
                <a:srgbClr val="2B6FAB"/>
              </a:gs>
              <a:gs pos="0">
                <a:srgbClr val="2B6FAB"/>
              </a:gs>
              <a:gs pos="92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a:noFill/>
              <a:ea typeface="Segoe UI Black" panose="020B0A02040204020203" pitchFamily="34" charset="0"/>
              <a:cs typeface="Segoe UI Black" panose="020B0A02040204020203" pitchFamily="34" charset="0"/>
            </a:endParaRPr>
          </a:p>
        </p:txBody>
      </p:sp>
      <p:sp>
        <p:nvSpPr>
          <p:cNvPr id="5" name="Title Placeholder 1"/>
          <p:cNvSpPr>
            <a:spLocks noGrp="1"/>
          </p:cNvSpPr>
          <p:nvPr>
            <p:ph type="title" hasCustomPrompt="1"/>
          </p:nvPr>
        </p:nvSpPr>
        <p:spPr>
          <a:xfrm>
            <a:off x="457200" y="438150"/>
            <a:ext cx="3663387"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a:t>Insert title here. </a:t>
            </a:r>
          </a:p>
        </p:txBody>
      </p:sp>
      <p:sp>
        <p:nvSpPr>
          <p:cNvPr id="6" name="Text Placeholder 10"/>
          <p:cNvSpPr>
            <a:spLocks noGrp="1"/>
          </p:cNvSpPr>
          <p:nvPr>
            <p:ph type="body" sz="quarter" idx="15" hasCustomPrompt="1"/>
          </p:nvPr>
        </p:nvSpPr>
        <p:spPr>
          <a:xfrm>
            <a:off x="457200" y="2963121"/>
            <a:ext cx="3663387"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a:t>Enter a subtitle here.</a:t>
            </a:r>
          </a:p>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endParaRPr lang="en-US"/>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a:t>Optional small text </a:t>
            </a:r>
            <a:endParaRPr lang="en-GB"/>
          </a:p>
        </p:txBody>
      </p:sp>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a:t>Insert text here.</a:t>
            </a:r>
            <a:endParaRPr lang="en-GB"/>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C412807-07BC-7A90-F55A-1B642D12391F}"/>
              </a:ext>
            </a:extLst>
          </p:cNvPr>
          <p:cNvSpPr txBox="1"/>
          <p:nvPr userDrawn="1"/>
        </p:nvSpPr>
        <p:spPr>
          <a:xfrm>
            <a:off x="10681855" y="1274618"/>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BA24FCE1-46F3-9D52-AD94-6B04ECA22A79}"/>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7" name="Picture 6" descr="A blue globe with white lines around it&#10;&#10;AI-generated content may be incorrect.">
            <a:extLst>
              <a:ext uri="{FF2B5EF4-FFF2-40B4-BE49-F238E27FC236}">
                <a16:creationId xmlns:a16="http://schemas.microsoft.com/office/drawing/2014/main" id="{C555B3B8-13FC-4C49-9C41-CD1EC155913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2266879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 Title Slide_dark blan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a:t>Insert title here. </a:t>
            </a:r>
          </a:p>
        </p:txBody>
      </p:sp>
      <p:sp>
        <p:nvSpPr>
          <p:cNvPr id="6" name="Text Placeholder 10"/>
          <p:cNvSpPr>
            <a:spLocks noGrp="1"/>
          </p:cNvSpPr>
          <p:nvPr>
            <p:ph type="body" sz="quarter" idx="15" hasCustomPrompt="1"/>
          </p:nvPr>
        </p:nvSpPr>
        <p:spPr>
          <a:xfrm>
            <a:off x="457200" y="2963121"/>
            <a:ext cx="4114800"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a:t>Optional small text </a:t>
            </a:r>
            <a:endParaRPr lang="en-GB"/>
          </a:p>
        </p:txBody>
      </p:sp>
      <p:pic>
        <p:nvPicPr>
          <p:cNvPr id="7" name="Picture 6">
            <a:extLst>
              <a:ext uri="{FF2B5EF4-FFF2-40B4-BE49-F238E27FC236}">
                <a16:creationId xmlns:a16="http://schemas.microsoft.com/office/drawing/2014/main" id="{9E1D2819-3183-5029-A627-D59AF4EB880F}"/>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3" name="Picture 2" descr="A blue globe with white lines around it&#10;&#10;AI-generated content may be incorrect.">
            <a:extLst>
              <a:ext uri="{FF2B5EF4-FFF2-40B4-BE49-F238E27FC236}">
                <a16:creationId xmlns:a16="http://schemas.microsoft.com/office/drawing/2014/main" id="{44D02104-6E06-3560-27B4-D9FAA82114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341109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_light">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a:t>Enter text here</a:t>
            </a:r>
            <a:endParaRPr lang="en-GB"/>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a:t>Optional small text </a:t>
            </a:r>
            <a:endParaRPr lang="en-GB"/>
          </a:p>
        </p:txBody>
      </p:sp>
      <p:pic>
        <p:nvPicPr>
          <p:cNvPr id="4" name="Picture 3">
            <a:extLst>
              <a:ext uri="{FF2B5EF4-FFF2-40B4-BE49-F238E27FC236}">
                <a16:creationId xmlns:a16="http://schemas.microsoft.com/office/drawing/2014/main" id="{652F44DD-7C9B-3F0B-F24F-A2F8249D22EB}"/>
              </a:ext>
            </a:extLst>
          </p:cNvPr>
          <p:cNvPicPr>
            <a:picLocks noChangeAspect="1"/>
          </p:cNvPicPr>
          <p:nvPr userDrawn="1"/>
        </p:nvPicPr>
        <p:blipFill>
          <a:blip r:embed="rId2"/>
          <a:srcRect r="58852"/>
          <a:stretch/>
        </p:blipFill>
        <p:spPr>
          <a:xfrm>
            <a:off x="8477546" y="18441"/>
            <a:ext cx="567977" cy="456793"/>
          </a:xfrm>
          <a:prstGeom prst="rect">
            <a:avLst/>
          </a:prstGeom>
        </p:spPr>
      </p:pic>
      <p:pic>
        <p:nvPicPr>
          <p:cNvPr id="5" name="Picture 4" descr="A blue globe with white lines around it&#10;&#10;AI-generated content may be incorrect.">
            <a:extLst>
              <a:ext uri="{FF2B5EF4-FFF2-40B4-BE49-F238E27FC236}">
                <a16:creationId xmlns:a16="http://schemas.microsoft.com/office/drawing/2014/main" id="{B4D3DD08-6980-D9CF-C3BD-1A8866984D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477" y="32157"/>
            <a:ext cx="615141" cy="405993"/>
          </a:xfrm>
          <a:prstGeom prst="rect">
            <a:avLst/>
          </a:prstGeom>
        </p:spPr>
      </p:pic>
    </p:spTree>
    <p:extLst>
      <p:ext uri="{BB962C8B-B14F-4D97-AF65-F5344CB8AC3E}">
        <p14:creationId xmlns:p14="http://schemas.microsoft.com/office/powerpoint/2010/main" val="376346197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57200" y="435081"/>
            <a:ext cx="8069136" cy="264785"/>
          </a:xfrm>
          <a:prstGeom prst="rect">
            <a:avLst/>
          </a:prstGeom>
        </p:spPr>
        <p:txBody>
          <a:bodyPr vert="horz" wrap="square" lIns="0" tIns="0" rIns="0" bIns="0" rtlCol="0">
            <a:normAutofit/>
          </a:bodyPr>
          <a:lstStyle/>
          <a:p>
            <a:pPr marL="0" lvl="0" indent="0">
              <a:spcBef>
                <a:spcPts val="1200"/>
              </a:spcBef>
              <a:buClr>
                <a:srgbClr val="0072C8"/>
              </a:buClr>
              <a:buSzPct val="110000"/>
              <a:buFont typeface="Wingdings" panose="05000000000000000000" pitchFamily="2" charset="2"/>
            </a:pPr>
            <a:endParaRPr lang="en-US"/>
          </a:p>
        </p:txBody>
      </p:sp>
      <p:sp>
        <p:nvSpPr>
          <p:cNvPr id="7" name="Text Placeholder 6"/>
          <p:cNvSpPr>
            <a:spLocks noGrp="1"/>
          </p:cNvSpPr>
          <p:nvPr>
            <p:ph type="body" idx="1"/>
          </p:nvPr>
        </p:nvSpPr>
        <p:spPr>
          <a:xfrm>
            <a:off x="457200" y="1072134"/>
            <a:ext cx="8236324" cy="1059264"/>
          </a:xfrm>
          <a:prstGeom prst="rect">
            <a:avLst/>
          </a:prstGeom>
        </p:spPr>
        <p:txBody>
          <a:bodyPr vert="horz" wrap="square"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Box 15"/>
          <p:cNvSpPr txBox="1"/>
          <p:nvPr userDrawn="1"/>
        </p:nvSpPr>
        <p:spPr>
          <a:xfrm>
            <a:off x="7662673" y="4560148"/>
            <a:ext cx="1030852"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a:solidFill>
                  <a:schemeClr val="accent3"/>
                </a:solidFill>
                <a:latin typeface="Arial" panose="020B0604020202020204" pitchFamily="34" charset="0"/>
                <a:cs typeface="Arial" panose="020B0604020202020204" pitchFamily="34" charset="0"/>
              </a:rPr>
              <a:t> </a:t>
            </a: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r>
              <a:rPr lang="en-GB" sz="800" spc="0" baseline="0">
                <a:solidFill>
                  <a:schemeClr val="accent3"/>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393987413"/>
      </p:ext>
    </p:extLst>
  </p:cSld>
  <p:clrMap bg1="lt1" tx1="dk1" bg2="lt2" tx2="dk2" accent1="accent1" accent2="accent2" accent3="accent3" accent4="accent4" accent5="accent5" accent6="accent6" hlink="hlink" folHlink="folHlink"/>
  <p:sldLayoutIdLst>
    <p:sldLayoutId id="2147483994" r:id="rId1"/>
    <p:sldLayoutId id="2147484071" r:id="rId2"/>
    <p:sldLayoutId id="2147484001" r:id="rId3"/>
    <p:sldLayoutId id="2147484067" r:id="rId4"/>
    <p:sldLayoutId id="2147484044" r:id="rId5"/>
    <p:sldLayoutId id="2147484078" r:id="rId6"/>
    <p:sldLayoutId id="2147484079" r:id="rId7"/>
    <p:sldLayoutId id="2147484068" r:id="rId8"/>
    <p:sldLayoutId id="2147484069" r:id="rId9"/>
    <p:sldLayoutId id="2147484016" r:id="rId10"/>
    <p:sldLayoutId id="2147484080" r:id="rId11"/>
    <p:sldLayoutId id="2147484045" r:id="rId12"/>
    <p:sldLayoutId id="2147484054" r:id="rId13"/>
    <p:sldLayoutId id="2147484000" r:id="rId14"/>
    <p:sldLayoutId id="2147484081" r:id="rId15"/>
    <p:sldLayoutId id="2147484038" r:id="rId16"/>
    <p:sldLayoutId id="2147484084" r:id="rId17"/>
    <p:sldLayoutId id="2147484077" r:id="rId18"/>
    <p:sldLayoutId id="2147484062" r:id="rId19"/>
    <p:sldLayoutId id="2147483965" r:id="rId20"/>
    <p:sldLayoutId id="2147484035" r:id="rId21"/>
    <p:sldLayoutId id="2147484070" r:id="rId22"/>
    <p:sldLayoutId id="2147484051" r:id="rId23"/>
    <p:sldLayoutId id="2147484053" r:id="rId24"/>
    <p:sldLayoutId id="2147484052" r:id="rId25"/>
    <p:sldLayoutId id="2147484083" r:id="rId26"/>
    <p:sldLayoutId id="2147484042" r:id="rId27"/>
    <p:sldLayoutId id="2147484043" r:id="rId28"/>
    <p:sldLayoutId id="2147484085" r:id="rId29"/>
    <p:sldLayoutId id="2147484050" r:id="rId30"/>
    <p:sldLayoutId id="2147483967" r:id="rId31"/>
    <p:sldLayoutId id="2147483990" r:id="rId32"/>
    <p:sldLayoutId id="2147484058" r:id="rId33"/>
    <p:sldLayoutId id="2147484060" r:id="rId34"/>
    <p:sldLayoutId id="2147484046" r:id="rId35"/>
    <p:sldLayoutId id="2147484048" r:id="rId36"/>
    <p:sldLayoutId id="2147484064" r:id="rId37"/>
    <p:sldLayoutId id="2147484056" r:id="rId38"/>
    <p:sldLayoutId id="2147483986" r:id="rId39"/>
    <p:sldLayoutId id="2147484010" r:id="rId40"/>
    <p:sldLayoutId id="2147484004" r:id="rId41"/>
    <p:sldLayoutId id="2147484059" r:id="rId42"/>
    <p:sldLayoutId id="2147484018" r:id="rId43"/>
    <p:sldLayoutId id="2147484082" r:id="rId44"/>
    <p:sldLayoutId id="2147484030" r:id="rId45"/>
    <p:sldLayoutId id="2147484061" r:id="rId46"/>
    <p:sldLayoutId id="2147484065" r:id="rId47"/>
    <p:sldLayoutId id="2147484003" r:id="rId48"/>
    <p:sldLayoutId id="2147484023" r:id="rId49"/>
    <p:sldLayoutId id="2147484072" r:id="rId50"/>
    <p:sldLayoutId id="2147484074" r:id="rId51"/>
  </p:sldLayoutIdLst>
  <p:hf sldNum="0" hdr="0" dt="0"/>
  <p:txStyles>
    <p:titleStyle>
      <a:lvl1pPr algn="l" defTabSz="914400" rtl="0" eaLnBrk="1" latinLnBrk="0" hangingPunct="1">
        <a:lnSpc>
          <a:spcPct val="90000"/>
        </a:lnSpc>
        <a:spcBef>
          <a:spcPct val="0"/>
        </a:spcBef>
        <a:buNone/>
        <a:defRPr lang="en-US" sz="1800" b="1" kern="0" spc="-100" baseline="0" dirty="0">
          <a:solidFill>
            <a:schemeClr val="accent3"/>
          </a:solidFill>
          <a:latin typeface="Arial" panose="020B0604020202020204" pitchFamily="34" charset="0"/>
          <a:ea typeface="Roboto Medium" panose="02000000000000000000" pitchFamily="2" charset="0"/>
          <a:cs typeface="Arial" panose="020B0604020202020204" pitchFamily="34" charset="0"/>
        </a:defRPr>
      </a:lvl1pPr>
    </p:titleStyle>
    <p:body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44">
          <p15:clr>
            <a:srgbClr val="F26B43"/>
          </p15:clr>
        </p15:guide>
        <p15:guide id="4" pos="288">
          <p15:clr>
            <a:srgbClr val="F26B43"/>
          </p15:clr>
        </p15:guide>
        <p15:guide id="5" pos="5472">
          <p15:clr>
            <a:srgbClr val="F26B43"/>
          </p15:clr>
        </p15:guide>
        <p15:guide id="6" pos="5616">
          <p15:clr>
            <a:srgbClr val="F26B43"/>
          </p15:clr>
        </p15:guide>
        <p15:guide id="7" orient="horz" pos="3084">
          <p15:clr>
            <a:srgbClr val="F26B43"/>
          </p15:clr>
        </p15:guide>
        <p15:guide id="8" orient="horz" pos="672">
          <p15:clr>
            <a:srgbClr val="F26B43"/>
          </p15:clr>
        </p15:guide>
        <p15:guide id="9" orient="horz" pos="276">
          <p15:clr>
            <a:srgbClr val="F26B43"/>
          </p15:clr>
        </p15:guide>
        <p15:guide id="10" orient="horz" pos="2964">
          <p15:clr>
            <a:srgbClr val="F26B43"/>
          </p15:clr>
        </p15:guide>
        <p15:guide id="11" orient="horz" pos="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32.xml"/><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39.xml"/><Relationship Id="rId5" Type="http://schemas.openxmlformats.org/officeDocument/2006/relationships/image" Target="../media/image15.jpeg"/><Relationship Id="rId4" Type="http://schemas.openxmlformats.org/officeDocument/2006/relationships/image" Target="../media/image14.jpeg"/></Relationships>
</file>

<file path=ppt/slides/_rels/slide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hyperlink" Target="https://sp.slalom.com/ourfirm/studio/SitePages/templates.aspx"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41.xml"/><Relationship Id="rId4" Type="http://schemas.openxmlformats.org/officeDocument/2006/relationships/image" Target="../media/image19.svg"/></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3.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1.xml"/><Relationship Id="rId5" Type="http://schemas.openxmlformats.org/officeDocument/2006/relationships/slideLayout" Target="../slideLayouts/slideLayout20.xml"/><Relationship Id="rId4" Type="http://schemas.openxmlformats.org/officeDocument/2006/relationships/tags" Target="../tags/tag4.xml"/></Relationships>
</file>

<file path=ppt/slides/_rels/slide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7.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emf"/><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6C09FC-B395-E04E-AF6A-95B3BCA160CF}"/>
              </a:ext>
            </a:extLst>
          </p:cNvPr>
          <p:cNvSpPr>
            <a:spLocks noGrp="1"/>
          </p:cNvSpPr>
          <p:nvPr>
            <p:ph type="title"/>
          </p:nvPr>
        </p:nvSpPr>
        <p:spPr>
          <a:xfrm>
            <a:off x="457200" y="1080290"/>
            <a:ext cx="4802777" cy="2413299"/>
          </a:xfrm>
        </p:spPr>
        <p:txBody>
          <a:bodyPr/>
          <a:lstStyle/>
          <a:p>
            <a:r>
              <a:rPr lang="en-US" sz="5400" spc="-150">
                <a:solidFill>
                  <a:srgbClr val="2B6FAB"/>
                </a:solidFill>
              </a:rPr>
              <a:t>Subject</a:t>
            </a:r>
          </a:p>
        </p:txBody>
      </p:sp>
      <p:sp>
        <p:nvSpPr>
          <p:cNvPr id="6" name="Text Placeholder 5">
            <a:extLst>
              <a:ext uri="{FF2B5EF4-FFF2-40B4-BE49-F238E27FC236}">
                <a16:creationId xmlns:a16="http://schemas.microsoft.com/office/drawing/2014/main" id="{6C742199-62B9-934F-90E5-621672586ACA}"/>
              </a:ext>
            </a:extLst>
          </p:cNvPr>
          <p:cNvSpPr>
            <a:spLocks noGrp="1"/>
          </p:cNvSpPr>
          <p:nvPr>
            <p:ph type="body" sz="quarter" idx="15"/>
          </p:nvPr>
        </p:nvSpPr>
        <p:spPr>
          <a:xfrm>
            <a:off x="466007" y="3605261"/>
            <a:ext cx="4793970" cy="293885"/>
          </a:xfrm>
        </p:spPr>
        <p:txBody>
          <a:bodyPr/>
          <a:lstStyle/>
          <a:p>
            <a:r>
              <a:rPr lang="en-US">
                <a:solidFill>
                  <a:schemeClr val="tx1"/>
                </a:solidFill>
              </a:rPr>
              <a:t>Name(s)</a:t>
            </a:r>
            <a:endParaRPr lang="en-US">
              <a:solidFill>
                <a:schemeClr val="accent5"/>
              </a:solidFill>
            </a:endParaRPr>
          </a:p>
        </p:txBody>
      </p:sp>
      <p:sp>
        <p:nvSpPr>
          <p:cNvPr id="3" name="TextBox 2">
            <a:extLst>
              <a:ext uri="{FF2B5EF4-FFF2-40B4-BE49-F238E27FC236}">
                <a16:creationId xmlns:a16="http://schemas.microsoft.com/office/drawing/2014/main" id="{51067F47-FE59-25FD-1E0D-F7D7E64973F7}"/>
              </a:ext>
            </a:extLst>
          </p:cNvPr>
          <p:cNvSpPr txBox="1"/>
          <p:nvPr/>
        </p:nvSpPr>
        <p:spPr>
          <a:xfrm>
            <a:off x="1761311" y="495859"/>
            <a:ext cx="2717072" cy="353943"/>
          </a:xfrm>
          <a:prstGeom prst="rect">
            <a:avLst/>
          </a:prstGeom>
          <a:noFill/>
        </p:spPr>
        <p:txBody>
          <a:bodyPr wrap="square" rtlCol="0">
            <a:spAutoFit/>
          </a:bodyPr>
          <a:lstStyle/>
          <a:p>
            <a:pPr algn="ctr"/>
            <a:r>
              <a:rPr lang="en-US" sz="900" b="1"/>
              <a:t>International Council on Systems Engineering</a:t>
            </a:r>
          </a:p>
          <a:p>
            <a:pPr algn="ctr"/>
            <a:r>
              <a:rPr lang="en-US" sz="800" i="1"/>
              <a:t>A better world through a systems approach</a:t>
            </a:r>
          </a:p>
        </p:txBody>
      </p:sp>
      <p:sp>
        <p:nvSpPr>
          <p:cNvPr id="9" name="TextBox 8">
            <a:extLst>
              <a:ext uri="{FF2B5EF4-FFF2-40B4-BE49-F238E27FC236}">
                <a16:creationId xmlns:a16="http://schemas.microsoft.com/office/drawing/2014/main" id="{A3AC76A9-DF4F-07E0-C3C9-60BA733F8890}"/>
              </a:ext>
            </a:extLst>
          </p:cNvPr>
          <p:cNvSpPr txBox="1"/>
          <p:nvPr/>
        </p:nvSpPr>
        <p:spPr>
          <a:xfrm>
            <a:off x="6520070" y="258417"/>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54F77622-C806-5885-CFE4-F9CA821F3C5E}"/>
              </a:ext>
            </a:extLst>
          </p:cNvPr>
          <p:cNvSpPr>
            <a:spLocks noGrp="1"/>
          </p:cNvSpPr>
          <p:nvPr>
            <p:ph type="body" sz="quarter" idx="17"/>
          </p:nvPr>
        </p:nvSpPr>
        <p:spPr>
          <a:xfrm>
            <a:off x="457200" y="4735497"/>
            <a:ext cx="2957639" cy="205379"/>
          </a:xfrm>
        </p:spPr>
        <p:txBody>
          <a:bodyPr/>
          <a:lstStyle/>
          <a:p>
            <a:pPr>
              <a:spcBef>
                <a:spcPts val="0"/>
              </a:spcBef>
            </a:pPr>
            <a:r>
              <a:rPr lang="en-FR"/>
              <a:t>INCOSE International Symposium 2025 | Ottawa, Canada</a:t>
            </a:r>
          </a:p>
        </p:txBody>
      </p:sp>
      <p:pic>
        <p:nvPicPr>
          <p:cNvPr id="11" name="Picture 10" descr="A blue and white sphere with lines&#10;&#10;Description automatically generated">
            <a:extLst>
              <a:ext uri="{FF2B5EF4-FFF2-40B4-BE49-F238E27FC236}">
                <a16:creationId xmlns:a16="http://schemas.microsoft.com/office/drawing/2014/main" id="{D9F8E628-4C4F-7982-6F01-AAA94DAFA7B7}"/>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7991061" y="4230255"/>
            <a:ext cx="1164271" cy="877246"/>
          </a:xfrm>
          <a:prstGeom prst="rect">
            <a:avLst/>
          </a:prstGeom>
        </p:spPr>
      </p:pic>
      <p:sp>
        <p:nvSpPr>
          <p:cNvPr id="2" name="TextBox 1">
            <a:extLst>
              <a:ext uri="{FF2B5EF4-FFF2-40B4-BE49-F238E27FC236}">
                <a16:creationId xmlns:a16="http://schemas.microsoft.com/office/drawing/2014/main" id="{0A9E3EDE-2686-07F1-CF65-30BC5BAB9C18}"/>
              </a:ext>
            </a:extLst>
          </p:cNvPr>
          <p:cNvSpPr txBox="1"/>
          <p:nvPr/>
        </p:nvSpPr>
        <p:spPr>
          <a:xfrm>
            <a:off x="7301345" y="1856509"/>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777BCEF-D8CC-8E80-488D-0E0BD5226C7F}"/>
              </a:ext>
            </a:extLst>
          </p:cNvPr>
          <p:cNvSpPr txBox="1"/>
          <p:nvPr/>
        </p:nvSpPr>
        <p:spPr>
          <a:xfrm>
            <a:off x="7578436" y="1884218"/>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702CAA53-8479-2062-71A8-37952412C9F0}"/>
              </a:ext>
            </a:extLst>
          </p:cNvPr>
          <p:cNvSpPr/>
          <p:nvPr/>
        </p:nvSpPr>
        <p:spPr>
          <a:xfrm>
            <a:off x="6688898" y="0"/>
            <a:ext cx="2455101" cy="5143500"/>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a:solidFill>
                <a:schemeClr val="bg1"/>
              </a:solidFill>
              <a:ea typeface="Segoe UI Black" panose="020B0A02040204020203" pitchFamily="34" charset="0"/>
              <a:cs typeface="Segoe UI Black" panose="020B0A02040204020203" pitchFamily="34" charset="0"/>
            </a:endParaRPr>
          </a:p>
        </p:txBody>
      </p:sp>
      <p:pic>
        <p:nvPicPr>
          <p:cNvPr id="7" name="Picture 6" descr="A city with trees around it&#10;&#10;Description automatically generated">
            <a:extLst>
              <a:ext uri="{FF2B5EF4-FFF2-40B4-BE49-F238E27FC236}">
                <a16:creationId xmlns:a16="http://schemas.microsoft.com/office/drawing/2014/main" id="{16425417-B2BA-4C67-6346-C38524149AF1}"/>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627107" y="431031"/>
            <a:ext cx="4208417" cy="4237847"/>
          </a:xfrm>
          <a:prstGeom prst="ellipse">
            <a:avLst/>
          </a:prstGeom>
        </p:spPr>
      </p:pic>
      <p:sp>
        <p:nvSpPr>
          <p:cNvPr id="13" name="TextBox 12">
            <a:extLst>
              <a:ext uri="{FF2B5EF4-FFF2-40B4-BE49-F238E27FC236}">
                <a16:creationId xmlns:a16="http://schemas.microsoft.com/office/drawing/2014/main" id="{26A0BE47-65E7-A307-18AE-C0FCF69D67AF}"/>
              </a:ext>
            </a:extLst>
          </p:cNvPr>
          <p:cNvSpPr txBox="1"/>
          <p:nvPr/>
        </p:nvSpPr>
        <p:spPr>
          <a:xfrm>
            <a:off x="1090670" y="22034"/>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735DDD26-E211-FC71-E8DA-9B08C40E38F7}"/>
              </a:ext>
            </a:extLst>
          </p:cNvPr>
          <p:cNvPicPr>
            <a:picLocks noChangeAspect="1"/>
          </p:cNvPicPr>
          <p:nvPr/>
        </p:nvPicPr>
        <p:blipFill>
          <a:blip r:embed="rId5"/>
          <a:srcRect r="58852"/>
          <a:stretch/>
        </p:blipFill>
        <p:spPr>
          <a:xfrm>
            <a:off x="3752646" y="3908809"/>
            <a:ext cx="1440480" cy="1158500"/>
          </a:xfrm>
          <a:prstGeom prst="rect">
            <a:avLst/>
          </a:prstGeom>
        </p:spPr>
      </p:pic>
      <p:pic>
        <p:nvPicPr>
          <p:cNvPr id="14" name="Picture 13" descr="A blue globe with white lines around it&#10;&#10;AI-generated content may be incorrect.">
            <a:extLst>
              <a:ext uri="{FF2B5EF4-FFF2-40B4-BE49-F238E27FC236}">
                <a16:creationId xmlns:a16="http://schemas.microsoft.com/office/drawing/2014/main" id="{234AD2CA-7058-02EE-0319-E7DD69AE66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7929" y="355259"/>
            <a:ext cx="1337843" cy="882976"/>
          </a:xfrm>
          <a:prstGeom prst="rect">
            <a:avLst/>
          </a:prstGeom>
        </p:spPr>
      </p:pic>
    </p:spTree>
    <p:extLst>
      <p:ext uri="{BB962C8B-B14F-4D97-AF65-F5344CB8AC3E}">
        <p14:creationId xmlns:p14="http://schemas.microsoft.com/office/powerpoint/2010/main" val="2856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cxnSp>
        <p:nvCxnSpPr>
          <p:cNvPr id="3" name="Straight Connector 2"/>
          <p:cNvCxnSpPr/>
          <p:nvPr/>
        </p:nvCxnSpPr>
        <p:spPr>
          <a:xfrm>
            <a:off x="4569229" y="841061"/>
            <a:ext cx="0" cy="2073307"/>
          </a:xfrm>
          <a:prstGeom prst="line">
            <a:avLst/>
          </a:prstGeom>
          <a:ln w="38100" cap="rnd">
            <a:solidFill>
              <a:srgbClr val="C01D28"/>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a:xfrm>
            <a:off x="466851" y="709330"/>
            <a:ext cx="3652300" cy="2312253"/>
          </a:xfrm>
        </p:spPr>
        <p:txBody>
          <a:bodyPr/>
          <a:lstStyle/>
          <a:p>
            <a:r>
              <a:rPr lang="en-US" spc="0"/>
              <a:t>Summarize your agenda. Keep it focused.</a:t>
            </a:r>
          </a:p>
        </p:txBody>
      </p:sp>
      <p:sp>
        <p:nvSpPr>
          <p:cNvPr id="33" name="Text Placeholder 32"/>
          <p:cNvSpPr>
            <a:spLocks noGrp="1"/>
          </p:cNvSpPr>
          <p:nvPr>
            <p:ph type="body" sz="quarter" idx="10"/>
          </p:nvPr>
        </p:nvSpPr>
        <p:spPr>
          <a:xfrm>
            <a:off x="4849148" y="789613"/>
            <a:ext cx="2698965" cy="2381521"/>
          </a:xfrm>
        </p:spPr>
        <p:txBody>
          <a:bodyPr/>
          <a:lstStyle/>
          <a:p>
            <a:r>
              <a:rPr lang="en-US"/>
              <a:t>Not all agendas are bullet lists. Sometimes a couple short paragraphs do the trick.</a:t>
            </a:r>
          </a:p>
          <a:p>
            <a:r>
              <a:rPr lang="en-US"/>
              <a:t>You might summarize your main goal for the meeting. </a:t>
            </a:r>
          </a:p>
          <a:p>
            <a:r>
              <a:rPr lang="en-US"/>
              <a:t>There’s also an orange line for a pop of color. Drag it to the end of your text like so.</a:t>
            </a:r>
            <a:endParaRPr lang="en-GB"/>
          </a:p>
        </p:txBody>
      </p:sp>
    </p:spTree>
    <p:extLst>
      <p:ext uri="{BB962C8B-B14F-4D97-AF65-F5344CB8AC3E}">
        <p14:creationId xmlns:p14="http://schemas.microsoft.com/office/powerpoint/2010/main" val="1238036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6851" y="1938770"/>
            <a:ext cx="7004213" cy="1265959"/>
          </a:xfrm>
        </p:spPr>
        <p:txBody>
          <a:bodyPr/>
          <a:lstStyle/>
          <a:p>
            <a:r>
              <a:rPr lang="en-US" spc="0">
                <a:solidFill>
                  <a:schemeClr val="accent1"/>
                </a:solidFill>
              </a:rPr>
              <a:t>Agenda slide that doubles as a divider slide</a:t>
            </a:r>
            <a:endParaRPr lang="en-GB" spc="0">
              <a:solidFill>
                <a:schemeClr val="accent1"/>
              </a:solidFill>
            </a:endParaRPr>
          </a:p>
        </p:txBody>
      </p:sp>
      <p:sp>
        <p:nvSpPr>
          <p:cNvPr id="5" name="Text Placeholder 4"/>
          <p:cNvSpPr>
            <a:spLocks noGrp="1"/>
          </p:cNvSpPr>
          <p:nvPr>
            <p:ph type="body" sz="quarter" idx="10"/>
          </p:nvPr>
        </p:nvSpPr>
        <p:spPr/>
        <p:txBody>
          <a:bodyPr/>
          <a:lstStyle/>
          <a:p>
            <a:pPr>
              <a:buClr>
                <a:schemeClr val="tx2"/>
              </a:buClr>
            </a:pPr>
            <a:r>
              <a:rPr lang="en-US">
                <a:solidFill>
                  <a:schemeClr val="tx1"/>
                </a:solidFill>
              </a:rPr>
              <a:t>Agenda item</a:t>
            </a:r>
          </a:p>
          <a:p>
            <a:pPr>
              <a:buClr>
                <a:schemeClr val="tx2"/>
              </a:buClr>
            </a:pPr>
            <a:r>
              <a:rPr lang="en-US">
                <a:solidFill>
                  <a:schemeClr val="tx1"/>
                </a:solidFill>
              </a:rPr>
              <a:t>This is the second item</a:t>
            </a:r>
          </a:p>
          <a:p>
            <a:pPr>
              <a:buClr>
                <a:schemeClr val="tx2"/>
              </a:buClr>
            </a:pPr>
            <a:r>
              <a:rPr lang="en-US">
                <a:solidFill>
                  <a:schemeClr val="tx1"/>
                </a:solidFill>
              </a:rPr>
              <a:t>Check layout dropdown for other colors</a:t>
            </a:r>
            <a:endParaRPr lang="en-GB">
              <a:solidFill>
                <a:schemeClr val="tx1"/>
              </a:solidFill>
            </a:endParaRPr>
          </a:p>
        </p:txBody>
      </p:sp>
      <p:sp>
        <p:nvSpPr>
          <p:cNvPr id="2" name="TextBox 1">
            <a:extLst>
              <a:ext uri="{FF2B5EF4-FFF2-40B4-BE49-F238E27FC236}">
                <a16:creationId xmlns:a16="http://schemas.microsoft.com/office/drawing/2014/main" id="{2E01FC30-8BB6-7CB0-23A9-E8E60D478E9B}"/>
              </a:ext>
            </a:extLst>
          </p:cNvPr>
          <p:cNvSpPr txBox="1"/>
          <p:nvPr/>
        </p:nvSpPr>
        <p:spPr>
          <a:xfrm>
            <a:off x="571500" y="165100"/>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CF262A74-6E48-D96E-ACBB-2B110BD6D1B3}"/>
              </a:ext>
            </a:extLst>
          </p:cNvPr>
          <p:cNvSpPr txBox="1"/>
          <p:nvPr/>
        </p:nvSpPr>
        <p:spPr>
          <a:xfrm>
            <a:off x="425450" y="177800"/>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46524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D729C40-1A3E-7D92-9ED6-8C09123211E3}"/>
              </a:ext>
            </a:extLst>
          </p:cNvPr>
          <p:cNvSpPr>
            <a:spLocks noGrp="1"/>
          </p:cNvSpPr>
          <p:nvPr>
            <p:ph type="title"/>
          </p:nvPr>
        </p:nvSpPr>
        <p:spPr>
          <a:xfrm>
            <a:off x="466851" y="1938770"/>
            <a:ext cx="7004213" cy="1265959"/>
          </a:xfrm>
        </p:spPr>
        <p:txBody>
          <a:bodyPr/>
          <a:lstStyle/>
          <a:p>
            <a:r>
              <a:rPr lang="en-US" sz="4000" spc="0"/>
              <a:t>Here’s another color</a:t>
            </a:r>
            <a:endParaRPr lang="en-GB" sz="4000" spc="0"/>
          </a:p>
        </p:txBody>
      </p:sp>
      <p:sp>
        <p:nvSpPr>
          <p:cNvPr id="6" name="Text Placeholder 4">
            <a:extLst>
              <a:ext uri="{FF2B5EF4-FFF2-40B4-BE49-F238E27FC236}">
                <a16:creationId xmlns:a16="http://schemas.microsoft.com/office/drawing/2014/main" id="{A9DDFF30-DF6A-0F49-4935-16943F5F8A9F}"/>
              </a:ext>
            </a:extLst>
          </p:cNvPr>
          <p:cNvSpPr txBox="1">
            <a:spLocks/>
          </p:cNvSpPr>
          <p:nvPr/>
        </p:nvSpPr>
        <p:spPr>
          <a:xfrm>
            <a:off x="466725" y="3282950"/>
            <a:ext cx="6396038" cy="987425"/>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GB">
                <a:solidFill>
                  <a:schemeClr val="tx1"/>
                </a:solidFill>
              </a:rPr>
              <a:t>Agenda item</a:t>
            </a:r>
          </a:p>
          <a:p>
            <a:pPr>
              <a:buClr>
                <a:schemeClr val="tx2"/>
              </a:buClr>
            </a:pPr>
            <a:r>
              <a:rPr lang="en-GB">
                <a:solidFill>
                  <a:schemeClr val="tx1"/>
                </a:solidFill>
              </a:rPr>
              <a:t>This is the second item</a:t>
            </a:r>
          </a:p>
          <a:p>
            <a:pPr>
              <a:buClr>
                <a:schemeClr val="tx2"/>
              </a:buClr>
            </a:pPr>
            <a:r>
              <a:rPr lang="en-GB">
                <a:solidFill>
                  <a:schemeClr val="tx1"/>
                </a:solidFill>
              </a:rPr>
              <a:t>Check layout dropdown for other colors</a:t>
            </a:r>
          </a:p>
        </p:txBody>
      </p:sp>
    </p:spTree>
    <p:extLst>
      <p:ext uri="{BB962C8B-B14F-4D97-AF65-F5344CB8AC3E}">
        <p14:creationId xmlns:p14="http://schemas.microsoft.com/office/powerpoint/2010/main" val="2534067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4494" y="1723763"/>
            <a:ext cx="2274660" cy="2682419"/>
          </a:xfrm>
        </p:spPr>
        <p:txBody>
          <a:bodyPr/>
          <a:lstStyle/>
          <a:p>
            <a:r>
              <a:rPr lang="en-US"/>
              <a:t>Add a subtitle here</a:t>
            </a:r>
          </a:p>
          <a:p>
            <a:r>
              <a:rPr lang="en-US"/>
              <a:t>You can keep writing more text here if you need. You can copy and paste this box for more text to the right. Or you can insert a photo or graphic on the right. </a:t>
            </a:r>
          </a:p>
          <a:p>
            <a:endParaRPr lang="en-US"/>
          </a:p>
          <a:p>
            <a:endParaRPr lang="en-US"/>
          </a:p>
        </p:txBody>
      </p:sp>
      <p:sp>
        <p:nvSpPr>
          <p:cNvPr id="2" name="Text Placeholder 1"/>
          <p:cNvSpPr>
            <a:spLocks noGrp="1"/>
          </p:cNvSpPr>
          <p:nvPr>
            <p:ph type="body" sz="quarter" idx="11"/>
          </p:nvPr>
        </p:nvSpPr>
        <p:spPr>
          <a:xfrm>
            <a:off x="464493" y="599577"/>
            <a:ext cx="2716857" cy="949858"/>
          </a:xfrm>
        </p:spPr>
        <p:txBody>
          <a:bodyPr/>
          <a:lstStyle/>
          <a:p>
            <a:r>
              <a:rPr lang="en-US">
                <a:solidFill>
                  <a:schemeClr val="accent1"/>
                </a:solidFill>
              </a:rPr>
              <a:t>Left aligned titles</a:t>
            </a:r>
          </a:p>
        </p:txBody>
      </p:sp>
    </p:spTree>
    <p:extLst>
      <p:ext uri="{BB962C8B-B14F-4D97-AF65-F5344CB8AC3E}">
        <p14:creationId xmlns:p14="http://schemas.microsoft.com/office/powerpoint/2010/main" val="69729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4582480" y="656395"/>
            <a:ext cx="2452501" cy="3503613"/>
          </a:xfrm>
        </p:spPr>
        <p:txBody>
          <a:bodyPr/>
          <a:lstStyle/>
          <a:p>
            <a:r>
              <a:rPr lang="en-US"/>
              <a:t>This space is for your text, story, or point of this slide. It’s ok to keep it short.</a:t>
            </a:r>
          </a:p>
          <a:p>
            <a:r>
              <a:rPr lang="en-US"/>
              <a:t>Breaking up text into paragraphs makes it faster and easier to read.</a:t>
            </a:r>
          </a:p>
          <a:p>
            <a:r>
              <a:rPr lang="en-US"/>
              <a:t>In this example there are three short paragraphs. It’s nice and easy to read. See you’re already done.</a:t>
            </a:r>
          </a:p>
        </p:txBody>
      </p:sp>
      <p:sp>
        <p:nvSpPr>
          <p:cNvPr id="9" name="Text Placeholder 8"/>
          <p:cNvSpPr>
            <a:spLocks noGrp="1"/>
          </p:cNvSpPr>
          <p:nvPr>
            <p:ph type="body" sz="quarter" idx="11"/>
          </p:nvPr>
        </p:nvSpPr>
        <p:spPr>
          <a:xfrm>
            <a:off x="464856" y="753552"/>
            <a:ext cx="3055584" cy="2231970"/>
          </a:xfrm>
        </p:spPr>
        <p:txBody>
          <a:bodyPr/>
          <a:lstStyle/>
          <a:p>
            <a:r>
              <a:rPr lang="en-US"/>
              <a:t>To the point </a:t>
            </a:r>
            <a:br>
              <a:rPr lang="en-US"/>
            </a:br>
            <a:r>
              <a:rPr lang="en-US"/>
              <a:t>text layout</a:t>
            </a:r>
          </a:p>
          <a:p>
            <a:endParaRPr lang="en-GB"/>
          </a:p>
        </p:txBody>
      </p:sp>
    </p:spTree>
    <p:extLst>
      <p:ext uri="{BB962C8B-B14F-4D97-AF65-F5344CB8AC3E}">
        <p14:creationId xmlns:p14="http://schemas.microsoft.com/office/powerpoint/2010/main" val="30334564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 name="Text Placeholder 8"/>
          <p:cNvSpPr>
            <a:spLocks noGrp="1"/>
          </p:cNvSpPr>
          <p:nvPr>
            <p:ph type="body" sz="quarter" idx="12"/>
          </p:nvPr>
        </p:nvSpPr>
        <p:spPr>
          <a:xfrm>
            <a:off x="4582478" y="557418"/>
            <a:ext cx="2961322" cy="3503613"/>
          </a:xfrm>
        </p:spPr>
        <p:txBody>
          <a:bodyPr/>
          <a:lstStyle/>
          <a:p>
            <a:r>
              <a:rPr lang="en-US"/>
              <a:t>Changing between light and dark background slides creates a dynamic presentation.</a:t>
            </a:r>
          </a:p>
          <a:p>
            <a:r>
              <a:rPr lang="en-US"/>
              <a:t>Look under the Layout drop down menu in the Home Ribbon tab to find other color options.</a:t>
            </a:r>
          </a:p>
          <a:p>
            <a:r>
              <a:rPr lang="en-US"/>
              <a:t>If you’re really fancy you can change the background color yourself under the Design tab far left “format background” button.</a:t>
            </a:r>
          </a:p>
        </p:txBody>
      </p:sp>
      <p:sp>
        <p:nvSpPr>
          <p:cNvPr id="12" name="Text Placeholder 11"/>
          <p:cNvSpPr>
            <a:spLocks noGrp="1"/>
          </p:cNvSpPr>
          <p:nvPr>
            <p:ph type="body" sz="quarter" idx="11"/>
          </p:nvPr>
        </p:nvSpPr>
        <p:spPr>
          <a:xfrm>
            <a:off x="464856" y="798960"/>
            <a:ext cx="3055584" cy="2231970"/>
          </a:xfrm>
        </p:spPr>
        <p:txBody>
          <a:bodyPr/>
          <a:lstStyle/>
          <a:p>
            <a:r>
              <a:rPr lang="en-US">
                <a:solidFill>
                  <a:schemeClr val="accent1"/>
                </a:solidFill>
              </a:rPr>
              <a:t>Here’s another color for this text layout</a:t>
            </a:r>
          </a:p>
        </p:txBody>
      </p:sp>
    </p:spTree>
    <p:extLst>
      <p:ext uri="{BB962C8B-B14F-4D97-AF65-F5344CB8AC3E}">
        <p14:creationId xmlns:p14="http://schemas.microsoft.com/office/powerpoint/2010/main" val="1246386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465187" y="1183375"/>
            <a:ext cx="8219717" cy="170816"/>
          </a:xfrm>
        </p:spPr>
        <p:txBody>
          <a:bodyPr/>
          <a:lstStyle/>
          <a:p>
            <a:endParaRPr lang="en-GB">
              <a:solidFill>
                <a:schemeClr val="tx1"/>
              </a:solidFill>
            </a:endParaRPr>
          </a:p>
        </p:txBody>
      </p:sp>
      <p:sp>
        <p:nvSpPr>
          <p:cNvPr id="6" name="Text Placeholder 5"/>
          <p:cNvSpPr>
            <a:spLocks noGrp="1"/>
          </p:cNvSpPr>
          <p:nvPr>
            <p:ph type="body" sz="quarter" idx="17"/>
          </p:nvPr>
        </p:nvSpPr>
        <p:spPr>
          <a:xfrm>
            <a:off x="465138" y="726785"/>
            <a:ext cx="8221662" cy="368300"/>
          </a:xfrm>
        </p:spPr>
        <p:txBody>
          <a:bodyPr/>
          <a:lstStyle/>
          <a:p>
            <a:r>
              <a:rPr lang="en-US">
                <a:solidFill>
                  <a:schemeClr val="accent1"/>
                </a:solidFill>
              </a:rPr>
              <a:t>Content slide with bullet points</a:t>
            </a:r>
            <a:endParaRPr lang="en-GB">
              <a:solidFill>
                <a:schemeClr val="accent1"/>
              </a:solidFill>
            </a:endParaRPr>
          </a:p>
        </p:txBody>
      </p:sp>
      <p:sp>
        <p:nvSpPr>
          <p:cNvPr id="7" name="Text Placeholder 6"/>
          <p:cNvSpPr>
            <a:spLocks noGrp="1"/>
          </p:cNvSpPr>
          <p:nvPr>
            <p:ph type="body" sz="quarter" idx="18"/>
          </p:nvPr>
        </p:nvSpPr>
        <p:spPr/>
        <p:txBody>
          <a:bodyPr/>
          <a:lstStyle/>
          <a:p>
            <a:endParaRPr lang="en-GB"/>
          </a:p>
        </p:txBody>
      </p:sp>
      <p:sp>
        <p:nvSpPr>
          <p:cNvPr id="8" name="Text Placeholder 7"/>
          <p:cNvSpPr>
            <a:spLocks noGrp="1"/>
          </p:cNvSpPr>
          <p:nvPr>
            <p:ph type="body" sz="quarter" idx="19"/>
          </p:nvPr>
        </p:nvSpPr>
        <p:spPr>
          <a:xfrm>
            <a:off x="466725" y="1495135"/>
            <a:ext cx="8220075" cy="2820988"/>
          </a:xfrm>
        </p:spPr>
        <p:txBody>
          <a:bodyPr/>
          <a:lstStyle/>
          <a:p>
            <a:pPr>
              <a:buClr>
                <a:srgbClr val="C01D28"/>
              </a:buClr>
            </a:pPr>
            <a:r>
              <a:rPr lang="en-US">
                <a:solidFill>
                  <a:schemeClr val="tx1"/>
                </a:solidFill>
              </a:rPr>
              <a:t>Click to add text</a:t>
            </a:r>
            <a:endParaRPr lang="en-GB">
              <a:solidFill>
                <a:schemeClr val="tx1"/>
              </a:solidFill>
            </a:endParaRPr>
          </a:p>
        </p:txBody>
      </p:sp>
    </p:spTree>
    <p:extLst>
      <p:ext uri="{BB962C8B-B14F-4D97-AF65-F5344CB8AC3E}">
        <p14:creationId xmlns:p14="http://schemas.microsoft.com/office/powerpoint/2010/main" val="43530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5187" y="1199138"/>
            <a:ext cx="8219717" cy="170816"/>
          </a:xfrm>
        </p:spPr>
        <p:txBody>
          <a:bodyPr/>
          <a:lstStyle/>
          <a:p>
            <a:endParaRPr lang="en-GB">
              <a:solidFill>
                <a:schemeClr val="tx1"/>
              </a:solidFill>
            </a:endParaRPr>
          </a:p>
        </p:txBody>
      </p:sp>
      <p:sp>
        <p:nvSpPr>
          <p:cNvPr id="6" name="Text Placeholder 5"/>
          <p:cNvSpPr>
            <a:spLocks noGrp="1"/>
          </p:cNvSpPr>
          <p:nvPr>
            <p:ph type="body" sz="quarter" idx="17"/>
          </p:nvPr>
        </p:nvSpPr>
        <p:spPr>
          <a:xfrm>
            <a:off x="461169" y="737307"/>
            <a:ext cx="8221662" cy="368300"/>
          </a:xfrm>
        </p:spPr>
        <p:txBody>
          <a:bodyPr/>
          <a:lstStyle/>
          <a:p>
            <a:r>
              <a:rPr lang="en-US">
                <a:solidFill>
                  <a:schemeClr val="accent1"/>
                </a:solidFill>
              </a:rPr>
              <a:t>Content slide with three column</a:t>
            </a:r>
            <a:endParaRPr lang="en-GB">
              <a:solidFill>
                <a:schemeClr val="accent1"/>
              </a:solidFill>
            </a:endParaRPr>
          </a:p>
        </p:txBody>
      </p:sp>
      <p:sp>
        <p:nvSpPr>
          <p:cNvPr id="3" name="TextBox 2"/>
          <p:cNvSpPr txBox="1"/>
          <p:nvPr/>
        </p:nvSpPr>
        <p:spPr>
          <a:xfrm>
            <a:off x="373747" y="2241233"/>
            <a:ext cx="2630710"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This is a three</a:t>
            </a:r>
            <a:r>
              <a:rPr lang="en-GB" sz="1100">
                <a:latin typeface="Arial" panose="020B0604020202020204" pitchFamily="34" charset="0"/>
                <a:cs typeface="Arial" panose="020B0604020202020204" pitchFamily="34" charset="0"/>
              </a:rPr>
              <a:t>-column text layout</a:t>
            </a:r>
          </a:p>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Use it for bullet points</a:t>
            </a:r>
          </a:p>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Or three short paragraphs</a:t>
            </a:r>
          </a:p>
        </p:txBody>
      </p:sp>
      <p:sp>
        <p:nvSpPr>
          <p:cNvPr id="9" name="TextBox 8"/>
          <p:cNvSpPr txBox="1"/>
          <p:nvPr/>
        </p:nvSpPr>
        <p:spPr>
          <a:xfrm>
            <a:off x="3275714"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Click to edit text</a:t>
            </a:r>
          </a:p>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Hit enter for next line</a:t>
            </a:r>
          </a:p>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Like so</a:t>
            </a:r>
          </a:p>
        </p:txBody>
      </p:sp>
      <p:sp>
        <p:nvSpPr>
          <p:cNvPr id="10" name="TextBox 9"/>
          <p:cNvSpPr txBox="1"/>
          <p:nvPr/>
        </p:nvSpPr>
        <p:spPr>
          <a:xfrm>
            <a:off x="6177682"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Lorem ipsum dolor sit </a:t>
            </a:r>
            <a:r>
              <a:rPr lang="en-US" sz="1100" err="1">
                <a:latin typeface="Arial" panose="020B0604020202020204" pitchFamily="34" charset="0"/>
                <a:cs typeface="Arial" panose="020B0604020202020204" pitchFamily="34" charset="0"/>
              </a:rPr>
              <a:t>amet</a:t>
            </a:r>
            <a:r>
              <a:rPr lang="en-US" sz="1100">
                <a:latin typeface="Arial" panose="020B0604020202020204" pitchFamily="34" charset="0"/>
                <a:cs typeface="Arial" panose="020B0604020202020204" pitchFamily="34" charset="0"/>
              </a:rPr>
              <a:t>.</a:t>
            </a:r>
          </a:p>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Lorem ipsum dolor sit. Lorem description ipsum dolor </a:t>
            </a:r>
          </a:p>
          <a:p>
            <a:pPr marL="285750" indent="-285750">
              <a:spcBef>
                <a:spcPts val="750"/>
              </a:spcBef>
              <a:buClr>
                <a:schemeClr val="accent1"/>
              </a:buClr>
              <a:buSzPct val="110000"/>
              <a:buFont typeface="Arial" panose="020B0604020202020204" pitchFamily="34" charset="0"/>
              <a:buChar char="•"/>
            </a:pPr>
            <a:r>
              <a:rPr lang="en-US" sz="1100">
                <a:latin typeface="Arial" panose="020B0604020202020204" pitchFamily="34" charset="0"/>
                <a:cs typeface="Arial" panose="020B0604020202020204" pitchFamily="34" charset="0"/>
              </a:rPr>
              <a:t>Sit dolor lorem. Ipsum description dolor sit dolor.</a:t>
            </a:r>
          </a:p>
          <a:p>
            <a:pPr marL="285750" indent="-285750">
              <a:spcBef>
                <a:spcPts val="750"/>
              </a:spcBef>
              <a:buClr>
                <a:schemeClr val="accent1"/>
              </a:buClr>
              <a:buSzPct val="110000"/>
              <a:buFont typeface="Arial" panose="020B0604020202020204" pitchFamily="34" charset="0"/>
              <a:buChar char="•"/>
            </a:pPr>
            <a:endParaRPr lang="en-US" sz="1100">
              <a:latin typeface="Arial" panose="020B0604020202020204" pitchFamily="34" charset="0"/>
              <a:cs typeface="Arial" panose="020B0604020202020204" pitchFamily="34" charset="0"/>
            </a:endParaRPr>
          </a:p>
          <a:p>
            <a:pPr marL="285750" indent="-285750">
              <a:spcBef>
                <a:spcPts val="750"/>
              </a:spcBef>
              <a:buClr>
                <a:schemeClr val="accent1"/>
              </a:buClr>
              <a:buSzPct val="110000"/>
              <a:buFont typeface="Arial" panose="020B0604020202020204" pitchFamily="34" charset="0"/>
              <a:buChar char="•"/>
            </a:pPr>
            <a:endParaRPr lang="en-GB" sz="1100" err="1">
              <a:latin typeface="Arial" panose="020B0604020202020204" pitchFamily="34" charset="0"/>
              <a:cs typeface="Arial" panose="020B0604020202020204" pitchFamily="34" charset="0"/>
            </a:endParaRPr>
          </a:p>
        </p:txBody>
      </p:sp>
      <p:sp>
        <p:nvSpPr>
          <p:cNvPr id="14" name="TextBox 13"/>
          <p:cNvSpPr txBox="1"/>
          <p:nvPr/>
        </p:nvSpPr>
        <p:spPr>
          <a:xfrm>
            <a:off x="373747"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a:solidFill>
                  <a:schemeClr val="accent5"/>
                </a:solidFill>
                <a:latin typeface="Arial" panose="020B0604020202020204" pitchFamily="34" charset="0"/>
                <a:cs typeface="Arial" panose="020B0604020202020204" pitchFamily="34" charset="0"/>
              </a:rPr>
              <a:t>This is a header</a:t>
            </a:r>
          </a:p>
        </p:txBody>
      </p:sp>
      <p:sp>
        <p:nvSpPr>
          <p:cNvPr id="15" name="TextBox 14"/>
          <p:cNvSpPr txBox="1"/>
          <p:nvPr/>
        </p:nvSpPr>
        <p:spPr>
          <a:xfrm>
            <a:off x="3275714"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a:solidFill>
                  <a:schemeClr val="accent5"/>
                </a:solidFill>
                <a:latin typeface="Arial" panose="020B0604020202020204" pitchFamily="34" charset="0"/>
                <a:cs typeface="Arial" panose="020B0604020202020204" pitchFamily="34" charset="0"/>
              </a:rPr>
              <a:t>Add your content here</a:t>
            </a:r>
            <a:endParaRPr lang="en-GB" sz="1400" b="1" spc="-50" err="1">
              <a:solidFill>
                <a:schemeClr val="accent5"/>
              </a:solidFill>
              <a:latin typeface="Arial" panose="020B0604020202020204" pitchFamily="34" charset="0"/>
              <a:cs typeface="Arial" panose="020B0604020202020204" pitchFamily="34" charset="0"/>
            </a:endParaRPr>
          </a:p>
        </p:txBody>
      </p:sp>
      <p:sp>
        <p:nvSpPr>
          <p:cNvPr id="16" name="TextBox 15"/>
          <p:cNvSpPr txBox="1"/>
          <p:nvPr/>
        </p:nvSpPr>
        <p:spPr>
          <a:xfrm>
            <a:off x="6177682"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a:solidFill>
                  <a:schemeClr val="accent5"/>
                </a:solidFill>
                <a:latin typeface="Arial" panose="020B0604020202020204" pitchFamily="34" charset="0"/>
                <a:cs typeface="Arial" panose="020B0604020202020204" pitchFamily="34" charset="0"/>
              </a:rPr>
              <a:t>Here’s a third header</a:t>
            </a:r>
            <a:endParaRPr lang="en-GB" sz="1400" b="1" spc="-5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9276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 name="Text Placeholder 11"/>
          <p:cNvSpPr>
            <a:spLocks noGrp="1"/>
          </p:cNvSpPr>
          <p:nvPr>
            <p:ph type="body" sz="quarter" idx="11"/>
          </p:nvPr>
        </p:nvSpPr>
        <p:spPr>
          <a:xfrm>
            <a:off x="464493" y="601864"/>
            <a:ext cx="5866638" cy="949858"/>
          </a:xfrm>
        </p:spPr>
        <p:txBody>
          <a:bodyPr/>
          <a:lstStyle/>
          <a:p>
            <a:r>
              <a:rPr lang="en-US" sz="2800" spc="0">
                <a:solidFill>
                  <a:schemeClr val="accent1"/>
                </a:solidFill>
              </a:rPr>
              <a:t>This is what we recommend if you have a lot of text</a:t>
            </a:r>
            <a:endParaRPr lang="en-GB" sz="2800" spc="0">
              <a:solidFill>
                <a:schemeClr val="accent1"/>
              </a:solidFill>
            </a:endParaRPr>
          </a:p>
        </p:txBody>
      </p:sp>
      <p:sp>
        <p:nvSpPr>
          <p:cNvPr id="10" name="TextBox 9"/>
          <p:cNvSpPr txBox="1"/>
          <p:nvPr/>
        </p:nvSpPr>
        <p:spPr>
          <a:xfrm>
            <a:off x="390513" y="2071122"/>
            <a:ext cx="2577353" cy="1588127"/>
          </a:xfrm>
          <a:prstGeom prst="rect">
            <a:avLst/>
          </a:prstGeom>
          <a:noFill/>
        </p:spPr>
        <p:txBody>
          <a:bodyPr wrap="square" rtlCol="0">
            <a:spAutoFit/>
          </a:bodyPr>
          <a:lstStyle/>
          <a:p>
            <a:pPr>
              <a:lnSpc>
                <a:spcPct val="120000"/>
              </a:lnSpc>
            </a:pPr>
            <a:r>
              <a:rPr lang="en-GB" sz="900"/>
              <a:t>This body copy is pretty small. If you have this much information, chances are you’re creating a document that will be emailed and read. PowerPoint can be a great collaborative documentation tool. That’s why we’ve created this slide to accommodate more text. We do recommend exporting your document as PDF before sending the final version. PDF’s are better for reading and not editable. </a:t>
            </a:r>
          </a:p>
        </p:txBody>
      </p:sp>
      <p:sp>
        <p:nvSpPr>
          <p:cNvPr id="11" name="TextBox 10"/>
          <p:cNvSpPr txBox="1"/>
          <p:nvPr/>
        </p:nvSpPr>
        <p:spPr>
          <a:xfrm>
            <a:off x="3249032" y="2071122"/>
            <a:ext cx="2622178" cy="1920526"/>
          </a:xfrm>
          <a:prstGeom prst="rect">
            <a:avLst/>
          </a:prstGeom>
          <a:noFill/>
        </p:spPr>
        <p:txBody>
          <a:bodyPr wrap="square" rtlCol="0">
            <a:spAutoFit/>
          </a:bodyPr>
          <a:lstStyle/>
          <a:p>
            <a:pPr>
              <a:lnSpc>
                <a:spcPct val="120000"/>
              </a:lnSpc>
            </a:pPr>
            <a:r>
              <a:rPr lang="en-GB" sz="900"/>
              <a:t>This layout is not intended for a presenting scenario. This much text on a slide while presenting will distract your audience from what you’re saying. It’s also not a good idea to read this much text from a slide during a presentation. Instead put your notes in the notes section. Speaker notes are best as bullet points, not full sentences. They should simply jog your memory if you get stuck. That way you can focus on your message and audience, instead of reading. </a:t>
            </a:r>
          </a:p>
        </p:txBody>
      </p:sp>
      <p:sp>
        <p:nvSpPr>
          <p:cNvPr id="13" name="TextBox 12"/>
          <p:cNvSpPr txBox="1"/>
          <p:nvPr/>
        </p:nvSpPr>
        <p:spPr>
          <a:xfrm>
            <a:off x="6169960" y="2071122"/>
            <a:ext cx="2577353" cy="1920526"/>
          </a:xfrm>
          <a:prstGeom prst="rect">
            <a:avLst/>
          </a:prstGeom>
          <a:noFill/>
        </p:spPr>
        <p:txBody>
          <a:bodyPr wrap="square" rtlCol="0">
            <a:spAutoFit/>
          </a:bodyPr>
          <a:lstStyle/>
          <a:p>
            <a:pPr>
              <a:lnSpc>
                <a:spcPct val="120000"/>
              </a:lnSpc>
            </a:pPr>
            <a:r>
              <a:rPr lang="en-GB" sz="900" err="1"/>
              <a:t>Totam</a:t>
            </a:r>
            <a:r>
              <a:rPr lang="en-GB" sz="900"/>
              <a:t> rem </a:t>
            </a:r>
            <a:r>
              <a:rPr lang="en-GB" sz="900" err="1"/>
              <a:t>aperiam</a:t>
            </a:r>
            <a:r>
              <a:rPr lang="en-GB" sz="900"/>
              <a:t>, </a:t>
            </a:r>
            <a:r>
              <a:rPr lang="en-GB" sz="900" err="1"/>
              <a:t>eaque</a:t>
            </a:r>
            <a:r>
              <a:rPr lang="en-GB" sz="900"/>
              <a:t> </a:t>
            </a:r>
            <a:r>
              <a:rPr lang="en-GB" sz="900" err="1"/>
              <a:t>ipsa</a:t>
            </a:r>
            <a:r>
              <a:rPr lang="en-GB" sz="900"/>
              <a:t> quae ab </a:t>
            </a:r>
            <a:r>
              <a:rPr lang="en-GB" sz="900" err="1"/>
              <a:t>illo</a:t>
            </a:r>
            <a:r>
              <a:rPr lang="en-GB" sz="900"/>
              <a:t> </a:t>
            </a:r>
            <a:r>
              <a:rPr lang="en-GB" sz="900" err="1"/>
              <a:t>inventore</a:t>
            </a:r>
            <a:r>
              <a:rPr lang="en-GB" sz="900"/>
              <a:t> </a:t>
            </a:r>
            <a:r>
              <a:rPr lang="en-GB" sz="900" err="1"/>
              <a:t>veritatis</a:t>
            </a:r>
            <a:r>
              <a:rPr lang="en-GB" sz="900"/>
              <a:t> et quasi </a:t>
            </a:r>
            <a:r>
              <a:rPr lang="en-GB" sz="900" err="1"/>
              <a:t>architecto</a:t>
            </a:r>
            <a:r>
              <a:rPr lang="en-GB" sz="900"/>
              <a:t> </a:t>
            </a:r>
            <a:r>
              <a:rPr lang="en-GB" sz="900" err="1"/>
              <a:t>beatae</a:t>
            </a:r>
            <a:r>
              <a:rPr lang="en-GB" sz="900"/>
              <a:t> vitae dicta </a:t>
            </a:r>
            <a:r>
              <a:rPr lang="en-GB" sz="900" err="1"/>
              <a:t>sunt</a:t>
            </a:r>
            <a:r>
              <a:rPr lang="en-GB" sz="900"/>
              <a:t> </a:t>
            </a:r>
            <a:r>
              <a:rPr lang="en-GB" sz="900" err="1"/>
              <a:t>explicabo</a:t>
            </a:r>
            <a:r>
              <a:rPr lang="en-GB" sz="900"/>
              <a:t>. </a:t>
            </a:r>
            <a:r>
              <a:rPr lang="en-GB" sz="900" err="1"/>
              <a:t>Sed</a:t>
            </a:r>
            <a:r>
              <a:rPr lang="en-GB" sz="900"/>
              <a:t> </a:t>
            </a:r>
            <a:r>
              <a:rPr lang="en-GB" sz="900" err="1"/>
              <a:t>ut</a:t>
            </a:r>
            <a:r>
              <a:rPr lang="en-GB" sz="900"/>
              <a:t> </a:t>
            </a:r>
            <a:r>
              <a:rPr lang="en-GB" sz="900" err="1"/>
              <a:t>perspiciatis</a:t>
            </a:r>
            <a:r>
              <a:rPr lang="en-GB" sz="900"/>
              <a:t> </a:t>
            </a:r>
            <a:r>
              <a:rPr lang="en-GB" sz="900" err="1"/>
              <a:t>unde</a:t>
            </a:r>
            <a:r>
              <a:rPr lang="en-GB" sz="900"/>
              <a:t> </a:t>
            </a:r>
            <a:r>
              <a:rPr lang="en-GB" sz="900" err="1"/>
              <a:t>omnis</a:t>
            </a:r>
            <a:r>
              <a:rPr lang="en-GB" sz="900"/>
              <a:t> </a:t>
            </a:r>
            <a:r>
              <a:rPr lang="en-GB" sz="900" err="1"/>
              <a:t>iste</a:t>
            </a:r>
            <a:r>
              <a:rPr lang="en-GB" sz="900"/>
              <a:t> </a:t>
            </a:r>
            <a:r>
              <a:rPr lang="en-GB" sz="900" err="1"/>
              <a:t>natus</a:t>
            </a:r>
            <a:r>
              <a:rPr lang="en-GB" sz="900"/>
              <a:t> error sit </a:t>
            </a:r>
            <a:r>
              <a:rPr lang="en-GB" sz="900" err="1"/>
              <a:t>voluptatem</a:t>
            </a:r>
            <a:r>
              <a:rPr lang="en-GB" sz="900"/>
              <a:t> </a:t>
            </a:r>
            <a:r>
              <a:rPr lang="en-GB" sz="900" err="1"/>
              <a:t>accusantium</a:t>
            </a:r>
            <a:r>
              <a:rPr lang="en-GB" sz="900"/>
              <a:t> </a:t>
            </a:r>
            <a:r>
              <a:rPr lang="en-GB" sz="900" err="1"/>
              <a:t>doloremque</a:t>
            </a:r>
            <a:r>
              <a:rPr lang="en-GB" sz="900"/>
              <a:t> </a:t>
            </a:r>
            <a:r>
              <a:rPr lang="en-GB" sz="900" err="1"/>
              <a:t>laudantium</a:t>
            </a:r>
            <a:r>
              <a:rPr lang="en-GB" sz="900"/>
              <a:t>, </a:t>
            </a:r>
            <a:r>
              <a:rPr lang="en-GB" sz="900" err="1"/>
              <a:t>totam</a:t>
            </a:r>
            <a:r>
              <a:rPr lang="en-GB" sz="900"/>
              <a:t> rem </a:t>
            </a:r>
            <a:r>
              <a:rPr lang="en-GB" sz="900" err="1"/>
              <a:t>aperiam</a:t>
            </a:r>
            <a:r>
              <a:rPr lang="en-GB" sz="900"/>
              <a:t>, </a:t>
            </a:r>
            <a:r>
              <a:rPr lang="en-GB" sz="900" err="1"/>
              <a:t>eaque</a:t>
            </a:r>
            <a:r>
              <a:rPr lang="en-GB" sz="900"/>
              <a:t> </a:t>
            </a:r>
            <a:r>
              <a:rPr lang="en-GB" sz="900" err="1"/>
              <a:t>ipsa</a:t>
            </a:r>
            <a:r>
              <a:rPr lang="en-GB" sz="900"/>
              <a:t> quae ab </a:t>
            </a:r>
            <a:r>
              <a:rPr lang="en-GB" sz="900" err="1"/>
              <a:t>illo</a:t>
            </a:r>
            <a:r>
              <a:rPr lang="en-GB" sz="900"/>
              <a:t> </a:t>
            </a:r>
            <a:r>
              <a:rPr lang="en-GB" sz="900" err="1"/>
              <a:t>inventore</a:t>
            </a:r>
            <a:r>
              <a:rPr lang="en-GB" sz="900"/>
              <a:t> </a:t>
            </a:r>
            <a:r>
              <a:rPr lang="en-GB" sz="900" err="1"/>
              <a:t>veritatis</a:t>
            </a:r>
            <a:r>
              <a:rPr lang="en-GB" sz="900"/>
              <a:t> et quasi </a:t>
            </a:r>
            <a:r>
              <a:rPr lang="en-GB" sz="900" err="1"/>
              <a:t>architecto</a:t>
            </a:r>
            <a:r>
              <a:rPr lang="en-GB" sz="900"/>
              <a:t> </a:t>
            </a:r>
            <a:r>
              <a:rPr lang="en-GB" sz="900" err="1"/>
              <a:t>beatae</a:t>
            </a:r>
            <a:r>
              <a:rPr lang="en-GB" sz="900"/>
              <a:t> vitae dicta </a:t>
            </a:r>
            <a:r>
              <a:rPr lang="en-GB" sz="900" err="1"/>
              <a:t>sunt</a:t>
            </a:r>
            <a:r>
              <a:rPr lang="en-GB" sz="900"/>
              <a:t> </a:t>
            </a:r>
            <a:r>
              <a:rPr lang="en-GB" sz="900" err="1"/>
              <a:t>explicabo</a:t>
            </a:r>
            <a:r>
              <a:rPr lang="en-GB" sz="900"/>
              <a:t>. Nemo </a:t>
            </a:r>
            <a:r>
              <a:rPr lang="en-GB" sz="900" err="1"/>
              <a:t>enim</a:t>
            </a:r>
            <a:r>
              <a:rPr lang="en-GB" sz="900"/>
              <a:t> </a:t>
            </a:r>
            <a:r>
              <a:rPr lang="en-GB" sz="900" err="1"/>
              <a:t>ipsam</a:t>
            </a:r>
            <a:r>
              <a:rPr lang="en-GB" sz="900"/>
              <a:t> </a:t>
            </a:r>
            <a:r>
              <a:rPr lang="en-GB" sz="900" err="1"/>
              <a:t>voluptatem</a:t>
            </a:r>
            <a:r>
              <a:rPr lang="en-GB" sz="900"/>
              <a:t> </a:t>
            </a:r>
            <a:r>
              <a:rPr lang="en-GB" sz="900" err="1"/>
              <a:t>quia</a:t>
            </a:r>
            <a:r>
              <a:rPr lang="en-GB" sz="900"/>
              <a:t> </a:t>
            </a:r>
            <a:r>
              <a:rPr lang="en-GB" sz="900" err="1"/>
              <a:t>voluptas</a:t>
            </a:r>
            <a:r>
              <a:rPr lang="en-GB" sz="900"/>
              <a:t> sit </a:t>
            </a:r>
            <a:r>
              <a:rPr lang="en-GB" sz="900" err="1"/>
              <a:t>aspernatur</a:t>
            </a:r>
            <a:r>
              <a:rPr lang="en-GB" sz="900"/>
              <a:t> </a:t>
            </a:r>
            <a:r>
              <a:rPr lang="en-GB" sz="900" err="1"/>
              <a:t>aut</a:t>
            </a:r>
            <a:r>
              <a:rPr lang="en-GB" sz="900"/>
              <a:t> </a:t>
            </a:r>
            <a:r>
              <a:rPr lang="en-GB" sz="900" err="1"/>
              <a:t>odit</a:t>
            </a:r>
            <a:r>
              <a:rPr lang="en-GB" sz="900"/>
              <a:t> </a:t>
            </a:r>
            <a:r>
              <a:rPr lang="en-GB" sz="900" err="1"/>
              <a:t>aut</a:t>
            </a:r>
            <a:r>
              <a:rPr lang="en-GB" sz="900"/>
              <a:t> fugit, </a:t>
            </a:r>
            <a:r>
              <a:rPr lang="en-GB" sz="900" err="1"/>
              <a:t>sed</a:t>
            </a:r>
            <a:r>
              <a:rPr lang="en-GB" sz="900"/>
              <a:t> </a:t>
            </a:r>
            <a:r>
              <a:rPr lang="en-GB" sz="900" err="1"/>
              <a:t>quia</a:t>
            </a:r>
            <a:r>
              <a:rPr lang="en-GB" sz="900"/>
              <a:t> </a:t>
            </a:r>
            <a:r>
              <a:rPr lang="en-GB" sz="900" err="1"/>
              <a:t>consequuntur</a:t>
            </a:r>
            <a:r>
              <a:rPr lang="en-GB" sz="900"/>
              <a:t> </a:t>
            </a:r>
            <a:r>
              <a:rPr lang="en-GB" sz="900" err="1"/>
              <a:t>magni</a:t>
            </a:r>
            <a:r>
              <a:rPr lang="en-GB" sz="900"/>
              <a:t> </a:t>
            </a:r>
            <a:r>
              <a:rPr lang="en-GB" sz="900" err="1"/>
              <a:t>dolores</a:t>
            </a:r>
            <a:r>
              <a:rPr lang="en-GB" sz="900"/>
              <a:t> </a:t>
            </a:r>
            <a:r>
              <a:rPr lang="en-GB" sz="900" err="1"/>
              <a:t>eos</a:t>
            </a:r>
            <a:r>
              <a:rPr lang="en-GB" sz="900"/>
              <a:t> qui </a:t>
            </a:r>
            <a:r>
              <a:rPr lang="en-GB" sz="900" err="1"/>
              <a:t>ratione</a:t>
            </a:r>
            <a:r>
              <a:rPr lang="en-GB" sz="900"/>
              <a:t> </a:t>
            </a:r>
            <a:r>
              <a:rPr lang="en-GB" sz="900" err="1"/>
              <a:t>voluptatem</a:t>
            </a:r>
            <a:r>
              <a:rPr lang="en-GB" sz="900"/>
              <a:t> </a:t>
            </a:r>
            <a:r>
              <a:rPr lang="en-GB" sz="900" err="1"/>
              <a:t>sequi</a:t>
            </a:r>
            <a:r>
              <a:rPr lang="en-GB" sz="900"/>
              <a:t> </a:t>
            </a:r>
            <a:r>
              <a:rPr lang="en-GB" sz="900" err="1"/>
              <a:t>nesciunt</a:t>
            </a:r>
            <a:r>
              <a:rPr lang="en-GB" sz="900"/>
              <a:t>. </a:t>
            </a:r>
          </a:p>
        </p:txBody>
      </p:sp>
      <p:sp>
        <p:nvSpPr>
          <p:cNvPr id="14" name="TextBox 13"/>
          <p:cNvSpPr txBox="1"/>
          <p:nvPr/>
        </p:nvSpPr>
        <p:spPr>
          <a:xfrm>
            <a:off x="390513"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a:solidFill>
                  <a:schemeClr val="accent5"/>
                </a:solidFill>
                <a:latin typeface="Arial" panose="020B0604020202020204" pitchFamily="34" charset="0"/>
                <a:cs typeface="Arial" panose="020B0604020202020204" pitchFamily="34" charset="0"/>
              </a:rPr>
              <a:t>Better for documents only</a:t>
            </a:r>
            <a:endParaRPr lang="en-GB" sz="1400" b="1" spc="-50" err="1">
              <a:solidFill>
                <a:schemeClr val="accent5"/>
              </a:solidFill>
              <a:latin typeface="Arial" panose="020B0604020202020204" pitchFamily="34" charset="0"/>
              <a:cs typeface="Arial" panose="020B0604020202020204" pitchFamily="34" charset="0"/>
            </a:endParaRPr>
          </a:p>
        </p:txBody>
      </p:sp>
      <p:sp>
        <p:nvSpPr>
          <p:cNvPr id="15" name="TextBox 14"/>
          <p:cNvSpPr txBox="1"/>
          <p:nvPr/>
        </p:nvSpPr>
        <p:spPr>
          <a:xfrm>
            <a:off x="3249032"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a:solidFill>
                  <a:schemeClr val="accent5"/>
                </a:solidFill>
                <a:latin typeface="Arial" panose="020B0604020202020204" pitchFamily="34" charset="0"/>
                <a:cs typeface="Arial" panose="020B0604020202020204" pitchFamily="34" charset="0"/>
              </a:rPr>
              <a:t>Not for large screens</a:t>
            </a:r>
            <a:endParaRPr lang="en-GB" sz="1400" b="1" spc="-50" err="1">
              <a:solidFill>
                <a:schemeClr val="accent5"/>
              </a:solidFill>
              <a:latin typeface="Arial" panose="020B0604020202020204" pitchFamily="34" charset="0"/>
              <a:cs typeface="Arial" panose="020B0604020202020204" pitchFamily="34" charset="0"/>
            </a:endParaRPr>
          </a:p>
        </p:txBody>
      </p:sp>
      <p:sp>
        <p:nvSpPr>
          <p:cNvPr id="17" name="TextBox 16"/>
          <p:cNvSpPr txBox="1"/>
          <p:nvPr/>
        </p:nvSpPr>
        <p:spPr>
          <a:xfrm>
            <a:off x="6169960"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a:solidFill>
                  <a:schemeClr val="accent5"/>
                </a:solidFill>
                <a:latin typeface="Arial" panose="020B0604020202020204" pitchFamily="34" charset="0"/>
                <a:cs typeface="Arial" panose="020B0604020202020204" pitchFamily="34" charset="0"/>
              </a:rPr>
              <a:t>One more header goes here</a:t>
            </a:r>
            <a:endParaRPr lang="en-GB" sz="1400" b="1" spc="-5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0045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p:cNvSpPr txBox="1">
            <a:spLocks/>
          </p:cNvSpPr>
          <p:nvPr/>
        </p:nvSpPr>
        <p:spPr>
          <a:xfrm>
            <a:off x="1265319" y="538810"/>
            <a:ext cx="6455514" cy="2144177"/>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4000"/>
              </a:lnSpc>
              <a:buClr>
                <a:srgbClr val="13B5EA"/>
              </a:buClr>
              <a:buNone/>
            </a:pPr>
            <a:r>
              <a:rPr lang="en-US" sz="3200" b="1" spc="-50">
                <a:solidFill>
                  <a:schemeClr val="accent1"/>
                </a:solidFill>
                <a:cs typeface="Times New Roman" panose="02020603050405020304" pitchFamily="18" charset="0"/>
              </a:rPr>
              <a:t>“This is an example of a quote treatment. Type the quote of your choice here. We recommend choosing shorter quotes.”</a:t>
            </a:r>
          </a:p>
        </p:txBody>
      </p:sp>
      <p:sp>
        <p:nvSpPr>
          <p:cNvPr id="6" name="Text Placeholder 3"/>
          <p:cNvSpPr txBox="1">
            <a:spLocks/>
          </p:cNvSpPr>
          <p:nvPr/>
        </p:nvSpPr>
        <p:spPr>
          <a:xfrm>
            <a:off x="1265320" y="2900538"/>
            <a:ext cx="1664413" cy="369332"/>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800" b="1">
                <a:solidFill>
                  <a:schemeClr val="tx1"/>
                </a:solidFill>
                <a:latin typeface="Arial" panose="020B0604020202020204" pitchFamily="34" charset="0"/>
                <a:ea typeface="+mj-ea"/>
                <a:cs typeface="Arial" panose="020B0604020202020204" pitchFamily="34" charset="0"/>
              </a:rPr>
              <a:t>Insert Name</a:t>
            </a:r>
          </a:p>
        </p:txBody>
      </p:sp>
      <p:sp>
        <p:nvSpPr>
          <p:cNvPr id="9" name="Text Placeholder 3"/>
          <p:cNvSpPr txBox="1">
            <a:spLocks/>
          </p:cNvSpPr>
          <p:nvPr/>
        </p:nvSpPr>
        <p:spPr>
          <a:xfrm>
            <a:off x="1265319" y="3256834"/>
            <a:ext cx="1664413" cy="215444"/>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800">
                <a:solidFill>
                  <a:schemeClr val="tx1"/>
                </a:solidFill>
                <a:latin typeface="Arial" panose="020B0604020202020204" pitchFamily="34" charset="0"/>
                <a:ea typeface="+mj-ea"/>
                <a:cs typeface="Arial" panose="020B0604020202020204" pitchFamily="34" charset="0"/>
              </a:rPr>
              <a:t>Title, INCOSE</a:t>
            </a:r>
          </a:p>
        </p:txBody>
      </p:sp>
      <p:sp>
        <p:nvSpPr>
          <p:cNvPr id="2" name="Freeform 5">
            <a:extLst>
              <a:ext uri="{FF2B5EF4-FFF2-40B4-BE49-F238E27FC236}">
                <a16:creationId xmlns:a16="http://schemas.microsoft.com/office/drawing/2014/main" id="{5A9936BA-FD4F-AB57-A828-03404286BD30}"/>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2113526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A8038-B6D4-CF44-CA19-E33E4201614C}"/>
              </a:ext>
            </a:extLst>
          </p:cNvPr>
          <p:cNvSpPr>
            <a:spLocks noGrp="1"/>
          </p:cNvSpPr>
          <p:nvPr>
            <p:ph type="title"/>
          </p:nvPr>
        </p:nvSpPr>
        <p:spPr>
          <a:xfrm>
            <a:off x="457200" y="438150"/>
            <a:ext cx="5501148" cy="2413299"/>
          </a:xfrm>
        </p:spPr>
        <p:txBody>
          <a:bodyPr/>
          <a:lstStyle/>
          <a:p>
            <a:r>
              <a:rPr lang="en-US" spc="0"/>
              <a:t>Here’s a </a:t>
            </a:r>
            <a:br>
              <a:rPr lang="en-US" spc="0"/>
            </a:br>
            <a:r>
              <a:rPr lang="en-US" spc="0"/>
              <a:t>section divider</a:t>
            </a:r>
            <a:endParaRPr lang="en-FR"/>
          </a:p>
        </p:txBody>
      </p:sp>
      <p:sp>
        <p:nvSpPr>
          <p:cNvPr id="3" name="Text Placeholder 2">
            <a:extLst>
              <a:ext uri="{FF2B5EF4-FFF2-40B4-BE49-F238E27FC236}">
                <a16:creationId xmlns:a16="http://schemas.microsoft.com/office/drawing/2014/main" id="{B5E3F91B-3E23-4450-6E59-308B450D03CB}"/>
              </a:ext>
            </a:extLst>
          </p:cNvPr>
          <p:cNvSpPr>
            <a:spLocks noGrp="1"/>
          </p:cNvSpPr>
          <p:nvPr>
            <p:ph type="body" sz="quarter" idx="15"/>
          </p:nvPr>
        </p:nvSpPr>
        <p:spPr/>
        <p:txBody>
          <a:bodyPr/>
          <a:lstStyle/>
          <a:p>
            <a:r>
              <a:rPr lang="en-US">
                <a:solidFill>
                  <a:schemeClr val="tx1"/>
                </a:solidFill>
              </a:rPr>
              <a:t>You can also use this for a title slide. </a:t>
            </a:r>
          </a:p>
          <a:p>
            <a:endParaRPr lang="en-FR"/>
          </a:p>
        </p:txBody>
      </p:sp>
      <p:sp>
        <p:nvSpPr>
          <p:cNvPr id="4" name="Text Placeholder 3">
            <a:extLst>
              <a:ext uri="{FF2B5EF4-FFF2-40B4-BE49-F238E27FC236}">
                <a16:creationId xmlns:a16="http://schemas.microsoft.com/office/drawing/2014/main" id="{C579D9D6-7CC0-A2D3-BCF5-800D8CB3AFEC}"/>
              </a:ext>
            </a:extLst>
          </p:cNvPr>
          <p:cNvSpPr>
            <a:spLocks noGrp="1"/>
          </p:cNvSpPr>
          <p:nvPr>
            <p:ph type="body" sz="quarter" idx="17"/>
          </p:nvPr>
        </p:nvSpPr>
        <p:spPr/>
        <p:txBody>
          <a:bodyPr/>
          <a:lstStyle/>
          <a:p>
            <a:endParaRPr lang="en-FR">
              <a:solidFill>
                <a:schemeClr val="tx1"/>
              </a:solidFill>
            </a:endParaRPr>
          </a:p>
        </p:txBody>
      </p:sp>
      <p:sp>
        <p:nvSpPr>
          <p:cNvPr id="9" name="TextBox 8">
            <a:extLst>
              <a:ext uri="{FF2B5EF4-FFF2-40B4-BE49-F238E27FC236}">
                <a16:creationId xmlns:a16="http://schemas.microsoft.com/office/drawing/2014/main" id="{FA756602-50AB-D5AD-47C9-F76A7B688C00}"/>
              </a:ext>
            </a:extLst>
          </p:cNvPr>
          <p:cNvSpPr txBox="1"/>
          <p:nvPr/>
        </p:nvSpPr>
        <p:spPr>
          <a:xfrm>
            <a:off x="36576" y="2432304"/>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284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3"/>
          <p:cNvSpPr txBox="1">
            <a:spLocks/>
          </p:cNvSpPr>
          <p:nvPr/>
        </p:nvSpPr>
        <p:spPr>
          <a:xfrm>
            <a:off x="1157330" y="570040"/>
            <a:ext cx="4808456" cy="2677656"/>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13B5EA"/>
              </a:buClr>
              <a:buNone/>
            </a:pPr>
            <a:r>
              <a:rPr lang="en-US" sz="2400" b="1" spc="-50">
                <a:solidFill>
                  <a:schemeClr val="tx1"/>
                </a:solidFill>
                <a:cs typeface="Times New Roman" panose="02020603050405020304" pitchFamily="18" charset="0"/>
              </a:rPr>
              <a:t>“This is an example of a quote treatment. Type the quote of your choice here. We recommend choosing shorter quotes. It’s a little longer than the other one. Just some text for texting, so go ahead and write it out.”</a:t>
            </a:r>
          </a:p>
        </p:txBody>
      </p:sp>
      <p:sp>
        <p:nvSpPr>
          <p:cNvPr id="12" name="Text Placeholder 3"/>
          <p:cNvSpPr txBox="1">
            <a:spLocks/>
          </p:cNvSpPr>
          <p:nvPr/>
        </p:nvSpPr>
        <p:spPr>
          <a:xfrm>
            <a:off x="6705601" y="605180"/>
            <a:ext cx="1664413" cy="261610"/>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100">
                <a:solidFill>
                  <a:schemeClr val="tx1"/>
                </a:solidFill>
                <a:latin typeface="Arial" panose="020B0604020202020204" pitchFamily="34" charset="0"/>
                <a:ea typeface="+mj-ea"/>
                <a:cs typeface="Arial" panose="020B0604020202020204" pitchFamily="34" charset="0"/>
              </a:rPr>
              <a:t>Insert Name</a:t>
            </a:r>
          </a:p>
        </p:txBody>
      </p:sp>
      <p:sp>
        <p:nvSpPr>
          <p:cNvPr id="13" name="Text Placeholder 3"/>
          <p:cNvSpPr txBox="1">
            <a:spLocks/>
          </p:cNvSpPr>
          <p:nvPr/>
        </p:nvSpPr>
        <p:spPr>
          <a:xfrm>
            <a:off x="6705600" y="827879"/>
            <a:ext cx="1664413" cy="200055"/>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700">
                <a:solidFill>
                  <a:schemeClr val="tx1"/>
                </a:solidFill>
                <a:latin typeface="Arial" panose="020B0604020202020204" pitchFamily="34" charset="0"/>
                <a:ea typeface="+mj-ea"/>
                <a:cs typeface="Arial" panose="020B0604020202020204" pitchFamily="34" charset="0"/>
              </a:rPr>
              <a:t>Title, INCOSE</a:t>
            </a:r>
          </a:p>
        </p:txBody>
      </p:sp>
      <p:sp>
        <p:nvSpPr>
          <p:cNvPr id="5" name="Freeform 5">
            <a:extLst>
              <a:ext uri="{FF2B5EF4-FFF2-40B4-BE49-F238E27FC236}">
                <a16:creationId xmlns:a16="http://schemas.microsoft.com/office/drawing/2014/main" id="{52F3A853-00E5-1138-BB0E-C47480FE4B0F}"/>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3949867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09204C-4D2C-C1BB-4388-F5125D6565B3}"/>
              </a:ext>
            </a:extLst>
          </p:cNvPr>
          <p:cNvSpPr>
            <a:spLocks noGrp="1"/>
          </p:cNvSpPr>
          <p:nvPr>
            <p:ph type="body" sz="quarter" idx="17"/>
          </p:nvPr>
        </p:nvSpPr>
        <p:spPr/>
        <p:txBody>
          <a:bodyPr/>
          <a:lstStyle/>
          <a:p>
            <a:endParaRPr lang="en-FR"/>
          </a:p>
        </p:txBody>
      </p:sp>
      <p:sp>
        <p:nvSpPr>
          <p:cNvPr id="5" name="Freeform 5">
            <a:extLst>
              <a:ext uri="{FF2B5EF4-FFF2-40B4-BE49-F238E27FC236}">
                <a16:creationId xmlns:a16="http://schemas.microsoft.com/office/drawing/2014/main" id="{8A0642EC-C1A0-395F-E71D-9273AEEA5153}"/>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9" name="Text Placeholder 3">
            <a:extLst>
              <a:ext uri="{FF2B5EF4-FFF2-40B4-BE49-F238E27FC236}">
                <a16:creationId xmlns:a16="http://schemas.microsoft.com/office/drawing/2014/main" id="{9CC9E9A0-CBF9-BF93-6F1C-E021905FE27B}"/>
              </a:ext>
            </a:extLst>
          </p:cNvPr>
          <p:cNvSpPr txBox="1">
            <a:spLocks/>
          </p:cNvSpPr>
          <p:nvPr/>
        </p:nvSpPr>
        <p:spPr>
          <a:xfrm>
            <a:off x="1157330" y="586232"/>
            <a:ext cx="4808456" cy="2677656"/>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13B5EA"/>
              </a:buClr>
              <a:buNone/>
            </a:pPr>
            <a:r>
              <a:rPr lang="en-US" sz="2400" b="1" spc="-50">
                <a:solidFill>
                  <a:schemeClr val="bg1"/>
                </a:solidFill>
                <a:cs typeface="Times New Roman" panose="02020603050405020304" pitchFamily="18" charset="0"/>
              </a:rPr>
              <a:t>“This is an example of a quote treatment. Type the quote of your choice here. We recommend choosing shorter quotes. It’s a little longer than the other one. Just some text for texting, so go ahead and write it out.”</a:t>
            </a:r>
          </a:p>
        </p:txBody>
      </p:sp>
      <p:sp>
        <p:nvSpPr>
          <p:cNvPr id="10" name="Text Placeholder 3">
            <a:extLst>
              <a:ext uri="{FF2B5EF4-FFF2-40B4-BE49-F238E27FC236}">
                <a16:creationId xmlns:a16="http://schemas.microsoft.com/office/drawing/2014/main" id="{291F7573-BBBB-2CAA-6724-1B0C776BB2C3}"/>
              </a:ext>
            </a:extLst>
          </p:cNvPr>
          <p:cNvSpPr txBox="1">
            <a:spLocks/>
          </p:cNvSpPr>
          <p:nvPr/>
        </p:nvSpPr>
        <p:spPr>
          <a:xfrm>
            <a:off x="6705601" y="621372"/>
            <a:ext cx="1664413" cy="261610"/>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100">
                <a:solidFill>
                  <a:schemeClr val="bg1"/>
                </a:solidFill>
                <a:latin typeface="Arial" panose="020B0604020202020204" pitchFamily="34" charset="0"/>
                <a:ea typeface="+mj-ea"/>
                <a:cs typeface="Arial" panose="020B0604020202020204" pitchFamily="34" charset="0"/>
              </a:rPr>
              <a:t>Insert Name</a:t>
            </a:r>
          </a:p>
        </p:txBody>
      </p:sp>
      <p:sp>
        <p:nvSpPr>
          <p:cNvPr id="11" name="Text Placeholder 3">
            <a:extLst>
              <a:ext uri="{FF2B5EF4-FFF2-40B4-BE49-F238E27FC236}">
                <a16:creationId xmlns:a16="http://schemas.microsoft.com/office/drawing/2014/main" id="{B8B5F881-EFE8-DBCE-7E21-BBC415D97DBF}"/>
              </a:ext>
            </a:extLst>
          </p:cNvPr>
          <p:cNvSpPr txBox="1">
            <a:spLocks/>
          </p:cNvSpPr>
          <p:nvPr/>
        </p:nvSpPr>
        <p:spPr>
          <a:xfrm>
            <a:off x="6705600" y="844071"/>
            <a:ext cx="1664413" cy="200055"/>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700">
                <a:solidFill>
                  <a:schemeClr val="bg1"/>
                </a:solidFill>
                <a:latin typeface="Arial" panose="020B0604020202020204" pitchFamily="34" charset="0"/>
                <a:ea typeface="+mj-ea"/>
                <a:cs typeface="Arial" panose="020B0604020202020204" pitchFamily="34" charset="0"/>
              </a:rPr>
              <a:t>Title, INCOSE</a:t>
            </a:r>
          </a:p>
        </p:txBody>
      </p:sp>
    </p:spTree>
    <p:extLst>
      <p:ext uri="{BB962C8B-B14F-4D97-AF65-F5344CB8AC3E}">
        <p14:creationId xmlns:p14="http://schemas.microsoft.com/office/powerpoint/2010/main" val="1413394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464494" y="1559195"/>
            <a:ext cx="2579696" cy="847455"/>
          </a:xfrm>
        </p:spPr>
        <p:txBody>
          <a:bodyPr/>
          <a:lstStyle/>
          <a:p>
            <a:r>
              <a:rPr lang="en-US">
                <a:solidFill>
                  <a:schemeClr val="tx1"/>
                </a:solidFill>
              </a:rPr>
              <a:t>Delete the photo and add your own.</a:t>
            </a:r>
            <a:endParaRPr lang="en-GB" u="sng">
              <a:solidFill>
                <a:schemeClr val="tx1"/>
              </a:solidFill>
            </a:endParaRPr>
          </a:p>
        </p:txBody>
      </p:sp>
      <p:sp>
        <p:nvSpPr>
          <p:cNvPr id="5" name="Text Placeholder 4"/>
          <p:cNvSpPr>
            <a:spLocks noGrp="1"/>
          </p:cNvSpPr>
          <p:nvPr>
            <p:ph type="body" sz="quarter" idx="11"/>
          </p:nvPr>
        </p:nvSpPr>
        <p:spPr>
          <a:xfrm>
            <a:off x="464493" y="520065"/>
            <a:ext cx="3743713" cy="908685"/>
          </a:xfrm>
        </p:spPr>
        <p:txBody>
          <a:bodyPr/>
          <a:lstStyle/>
          <a:p>
            <a:r>
              <a:rPr lang="en-US">
                <a:solidFill>
                  <a:schemeClr val="accent1"/>
                </a:solidFill>
              </a:rPr>
              <a:t>Now for some photo placeholders</a:t>
            </a:r>
            <a:endParaRPr lang="en-GB">
              <a:solidFill>
                <a:schemeClr val="accent1"/>
              </a:solidFill>
            </a:endParaRPr>
          </a:p>
        </p:txBody>
      </p:sp>
      <p:sp>
        <p:nvSpPr>
          <p:cNvPr id="2" name="TextBox 1">
            <a:extLst>
              <a:ext uri="{FF2B5EF4-FFF2-40B4-BE49-F238E27FC236}">
                <a16:creationId xmlns:a16="http://schemas.microsoft.com/office/drawing/2014/main" id="{406470EF-DA46-DB2D-C9DA-B5940CA23CF9}"/>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bg1"/>
                </a:solidFill>
                <a:latin typeface="Arial" panose="020B0604020202020204" pitchFamily="34" charset="0"/>
                <a:cs typeface="Arial" panose="020B0604020202020204" pitchFamily="34" charset="0"/>
              </a:rPr>
              <a:t>incose.org</a:t>
            </a:r>
            <a:r>
              <a:rPr lang="en-GB" sz="800" spc="0" baseline="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22</a:t>
            </a:fld>
            <a:endParaRPr lang="en-GB" sz="800" spc="0" baseline="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92CAC41B-8924-070D-D49B-0A150C4BDCED}"/>
              </a:ext>
            </a:extLst>
          </p:cNvPr>
          <p:cNvSpPr/>
          <p:nvPr/>
        </p:nvSpPr>
        <p:spPr>
          <a:xfrm>
            <a:off x="4382429" y="0"/>
            <a:ext cx="189571" cy="5143500"/>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a:solidFill>
                <a:srgbClr val="C01D28"/>
              </a:solidFill>
              <a:ea typeface="Segoe UI Black" panose="020B0A02040204020203" pitchFamily="34" charset="0"/>
              <a:cs typeface="Segoe UI Black" panose="020B0A02040204020203" pitchFamily="34" charset="0"/>
            </a:endParaRPr>
          </a:p>
        </p:txBody>
      </p:sp>
      <p:pic>
        <p:nvPicPr>
          <p:cNvPr id="10" name="Picture Placeholder 9" descr="A close-up of people putting their hands together&#10;&#10;Description automatically generated">
            <a:extLst>
              <a:ext uri="{FF2B5EF4-FFF2-40B4-BE49-F238E27FC236}">
                <a16:creationId xmlns:a16="http://schemas.microsoft.com/office/drawing/2014/main" id="{5CB94077-1DD0-6412-E377-070928389C3B}"/>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l="25003" r="25003"/>
          <a:stretch>
            <a:fillRect/>
          </a:stretch>
        </p:blipFill>
        <p:spPr/>
      </p:pic>
      <p:pic>
        <p:nvPicPr>
          <p:cNvPr id="3" name="Picture 2" descr="A screen shot of a cellphone&#10;&#10;Description automatically generated">
            <a:extLst>
              <a:ext uri="{FF2B5EF4-FFF2-40B4-BE49-F238E27FC236}">
                <a16:creationId xmlns:a16="http://schemas.microsoft.com/office/drawing/2014/main" id="{2D3753AB-BE6D-0159-553B-90FA69238AE7}"/>
              </a:ext>
            </a:extLst>
          </p:cNvPr>
          <p:cNvPicPr>
            <a:picLocks noChangeAspect="1"/>
          </p:cNvPicPr>
          <p:nvPr/>
        </p:nvPicPr>
        <p:blipFill>
          <a:blip r:embed="rId4">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0122804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2000" y="1906723"/>
            <a:ext cx="3267855" cy="1784216"/>
          </a:xfrm>
          <a:prstGeom prst="rect">
            <a:avLst/>
          </a:prstGeom>
          <a:solidFill>
            <a:schemeClr val="tx1">
              <a:lumMod val="7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 name="Text Placeholder 5"/>
          <p:cNvSpPr>
            <a:spLocks noGrp="1"/>
          </p:cNvSpPr>
          <p:nvPr>
            <p:ph type="body" sz="quarter" idx="16"/>
          </p:nvPr>
        </p:nvSpPr>
        <p:spPr/>
        <p:txBody>
          <a:bodyPr/>
          <a:lstStyle/>
          <a:p>
            <a:r>
              <a:rPr lang="en-US">
                <a:solidFill>
                  <a:schemeClr val="tx1"/>
                </a:solidFill>
              </a:rPr>
              <a:t>With space for a central idea</a:t>
            </a:r>
            <a:endParaRPr lang="en-GB">
              <a:solidFill>
                <a:schemeClr val="tx1"/>
              </a:solidFill>
            </a:endParaRPr>
          </a:p>
        </p:txBody>
      </p:sp>
      <p:sp>
        <p:nvSpPr>
          <p:cNvPr id="4" name="Text Placeholder 3"/>
          <p:cNvSpPr>
            <a:spLocks noGrp="1"/>
          </p:cNvSpPr>
          <p:nvPr>
            <p:ph type="body" sz="quarter" idx="11"/>
          </p:nvPr>
        </p:nvSpPr>
        <p:spPr/>
        <p:txBody>
          <a:bodyPr/>
          <a:lstStyle/>
          <a:p>
            <a:r>
              <a:rPr lang="en-US">
                <a:solidFill>
                  <a:schemeClr val="accent1"/>
                </a:solidFill>
              </a:rPr>
              <a:t>Left aligned </a:t>
            </a:r>
            <a:br>
              <a:rPr lang="en-US">
                <a:solidFill>
                  <a:schemeClr val="accent1"/>
                </a:solidFill>
              </a:rPr>
            </a:br>
            <a:r>
              <a:rPr lang="en-US">
                <a:solidFill>
                  <a:schemeClr val="accent1"/>
                </a:solidFill>
              </a:rPr>
              <a:t>text box</a:t>
            </a:r>
            <a:endParaRPr lang="en-GB">
              <a:solidFill>
                <a:schemeClr val="accent1"/>
              </a:solidFill>
            </a:endParaRPr>
          </a:p>
        </p:txBody>
      </p:sp>
      <p:sp>
        <p:nvSpPr>
          <p:cNvPr id="7" name="Text Placeholder 6"/>
          <p:cNvSpPr>
            <a:spLocks noGrp="1"/>
          </p:cNvSpPr>
          <p:nvPr>
            <p:ph type="body" sz="quarter" idx="17"/>
          </p:nvPr>
        </p:nvSpPr>
        <p:spPr/>
        <p:txBody>
          <a:bodyPr/>
          <a:lstStyle/>
          <a:p>
            <a:r>
              <a:rPr lang="en-US">
                <a:solidFill>
                  <a:schemeClr val="tx1"/>
                </a:solidFill>
              </a:rPr>
              <a:t>Bullet points</a:t>
            </a:r>
          </a:p>
          <a:p>
            <a:r>
              <a:rPr lang="en-US">
                <a:solidFill>
                  <a:schemeClr val="tx1"/>
                </a:solidFill>
              </a:rPr>
              <a:t>Make a point</a:t>
            </a:r>
          </a:p>
          <a:p>
            <a:r>
              <a:rPr lang="en-US">
                <a:solidFill>
                  <a:schemeClr val="tx1"/>
                </a:solidFill>
              </a:rPr>
              <a:t>State your deal</a:t>
            </a:r>
          </a:p>
          <a:p>
            <a:r>
              <a:rPr lang="en-US">
                <a:solidFill>
                  <a:schemeClr val="tx1"/>
                </a:solidFill>
              </a:rPr>
              <a:t>Put your ideas here</a:t>
            </a:r>
            <a:endParaRPr lang="en-GB">
              <a:solidFill>
                <a:schemeClr val="tx1"/>
              </a:solidFill>
            </a:endParaRPr>
          </a:p>
        </p:txBody>
      </p:sp>
      <p:pic>
        <p:nvPicPr>
          <p:cNvPr id="10" name="Picture Placeholder 9" descr="A group of people sitting around a table with laptops&#10;&#10;Description automatically generated with medium confidence">
            <a:extLst>
              <a:ext uri="{FF2B5EF4-FFF2-40B4-BE49-F238E27FC236}">
                <a16:creationId xmlns:a16="http://schemas.microsoft.com/office/drawing/2014/main" id="{7B8ED5B6-58B7-DFCA-55C9-4B165598C4A6}"/>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650437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p:txBody>
          <a:bodyPr/>
          <a:lstStyle/>
          <a:p>
            <a:endParaRPr lang="en-GB"/>
          </a:p>
        </p:txBody>
      </p:sp>
      <p:sp>
        <p:nvSpPr>
          <p:cNvPr id="2" name="Text Placeholder 1"/>
          <p:cNvSpPr>
            <a:spLocks noGrp="1"/>
          </p:cNvSpPr>
          <p:nvPr>
            <p:ph type="body" sz="quarter" idx="11"/>
          </p:nvPr>
        </p:nvSpPr>
        <p:spPr/>
        <p:txBody>
          <a:bodyPr/>
          <a:lstStyle/>
          <a:p>
            <a:r>
              <a:rPr lang="en-GB" sz="6000">
                <a:solidFill>
                  <a:schemeClr val="accent1"/>
                </a:solidFill>
              </a:rPr>
              <a:t>Hello.</a:t>
            </a:r>
          </a:p>
        </p:txBody>
      </p:sp>
      <p:sp>
        <p:nvSpPr>
          <p:cNvPr id="13" name="Text Placeholder 12"/>
          <p:cNvSpPr>
            <a:spLocks noGrp="1"/>
          </p:cNvSpPr>
          <p:nvPr>
            <p:ph type="body" sz="quarter" idx="19"/>
          </p:nvPr>
        </p:nvSpPr>
        <p:spPr/>
        <p:txBody>
          <a:bodyPr/>
          <a:lstStyle/>
          <a:p>
            <a:r>
              <a:rPr lang="en-US" err="1"/>
              <a:t>Firstname</a:t>
            </a:r>
            <a:r>
              <a:rPr lang="en-US"/>
              <a:t> </a:t>
            </a:r>
            <a:r>
              <a:rPr lang="en-US" err="1"/>
              <a:t>Lastname</a:t>
            </a:r>
            <a:endParaRPr lang="en-GB"/>
          </a:p>
        </p:txBody>
      </p:sp>
      <p:sp>
        <p:nvSpPr>
          <p:cNvPr id="14" name="Text Placeholder 13"/>
          <p:cNvSpPr>
            <a:spLocks noGrp="1"/>
          </p:cNvSpPr>
          <p:nvPr>
            <p:ph type="body" sz="quarter" idx="20"/>
          </p:nvPr>
        </p:nvSpPr>
        <p:spPr/>
        <p:txBody>
          <a:bodyPr/>
          <a:lstStyle/>
          <a:p>
            <a:r>
              <a:rPr lang="en-US"/>
              <a:t>Title</a:t>
            </a:r>
            <a:endParaRPr lang="en-GB"/>
          </a:p>
        </p:txBody>
      </p:sp>
      <p:sp>
        <p:nvSpPr>
          <p:cNvPr id="15" name="Text Placeholder 14"/>
          <p:cNvSpPr>
            <a:spLocks noGrp="1"/>
          </p:cNvSpPr>
          <p:nvPr>
            <p:ph type="body" sz="quarter" idx="21"/>
          </p:nvPr>
        </p:nvSpPr>
        <p:spPr/>
        <p:txBody>
          <a:bodyPr/>
          <a:lstStyle/>
          <a:p>
            <a:r>
              <a:rPr lang="en-US"/>
              <a:t>Lorem ipsum dolor sit description. Lorem description ipsum dolor sit dolor lorem. Ipsum description dolor sit description sit dolor.</a:t>
            </a:r>
          </a:p>
        </p:txBody>
      </p:sp>
      <p:sp>
        <p:nvSpPr>
          <p:cNvPr id="16" name="Text Placeholder 15"/>
          <p:cNvSpPr>
            <a:spLocks noGrp="1"/>
          </p:cNvSpPr>
          <p:nvPr>
            <p:ph type="body" sz="quarter" idx="22"/>
          </p:nvPr>
        </p:nvSpPr>
        <p:spPr/>
        <p:txBody>
          <a:bodyPr/>
          <a:lstStyle/>
          <a:p>
            <a:r>
              <a:rPr lang="en-US" err="1"/>
              <a:t>Firstname</a:t>
            </a:r>
            <a:r>
              <a:rPr lang="en-US"/>
              <a:t> </a:t>
            </a:r>
            <a:r>
              <a:rPr lang="en-US" err="1"/>
              <a:t>Lastname</a:t>
            </a:r>
            <a:endParaRPr lang="en-GB"/>
          </a:p>
        </p:txBody>
      </p:sp>
      <p:sp>
        <p:nvSpPr>
          <p:cNvPr id="17" name="Text Placeholder 16"/>
          <p:cNvSpPr>
            <a:spLocks noGrp="1"/>
          </p:cNvSpPr>
          <p:nvPr>
            <p:ph type="body" sz="quarter" idx="23"/>
          </p:nvPr>
        </p:nvSpPr>
        <p:spPr/>
        <p:txBody>
          <a:bodyPr/>
          <a:lstStyle/>
          <a:p>
            <a:r>
              <a:rPr lang="en-US"/>
              <a:t>Title</a:t>
            </a:r>
            <a:endParaRPr lang="en-GB"/>
          </a:p>
        </p:txBody>
      </p:sp>
      <p:sp>
        <p:nvSpPr>
          <p:cNvPr id="18" name="Text Placeholder 17"/>
          <p:cNvSpPr>
            <a:spLocks noGrp="1"/>
          </p:cNvSpPr>
          <p:nvPr>
            <p:ph type="body" sz="quarter" idx="24"/>
          </p:nvPr>
        </p:nvSpPr>
        <p:spPr/>
        <p:txBody>
          <a:bodyPr/>
          <a:lstStyle/>
          <a:p>
            <a:r>
              <a:rPr lang="en-US"/>
              <a:t>Lorem ipsum dolor sit description. Lorem description ipsum dolor sit dolor lorem. Ipsum description dolor sit description sit dolor.</a:t>
            </a:r>
          </a:p>
        </p:txBody>
      </p:sp>
      <p:sp>
        <p:nvSpPr>
          <p:cNvPr id="41"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rgbClr val="C01D28"/>
          </a:solidFill>
          <a:ln>
            <a:noFill/>
          </a:ln>
        </p:spPr>
        <p:txBody>
          <a:bodyPr vert="horz" wrap="square" lIns="68580" tIns="34290" rIns="68580" bIns="34290" numCol="1" anchor="t" anchorCtr="0" compatLnSpc="1">
            <a:prstTxWarp prst="textNoShape">
              <a:avLst/>
            </a:prstTxWarp>
          </a:bodyPr>
          <a:lstStyle/>
          <a:p>
            <a:endParaRPr lang="en-US" sz="1350"/>
          </a:p>
        </p:txBody>
      </p:sp>
      <p:pic>
        <p:nvPicPr>
          <p:cNvPr id="7" name="Picture Placeholder 6" descr="A person wearing glasses&#10;&#10;Description automatically generated with low confidence">
            <a:extLst>
              <a:ext uri="{FF2B5EF4-FFF2-40B4-BE49-F238E27FC236}">
                <a16:creationId xmlns:a16="http://schemas.microsoft.com/office/drawing/2014/main" id="{326AC594-7C74-A1AA-766B-0E0DC96D3B4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p:pic>
      <p:pic>
        <p:nvPicPr>
          <p:cNvPr id="11" name="Picture Placeholder 10" descr="A person standing in front of a table with other people sitting at it&#10;&#10;Description automatically generated with low confidence">
            <a:extLst>
              <a:ext uri="{FF2B5EF4-FFF2-40B4-BE49-F238E27FC236}">
                <a16:creationId xmlns:a16="http://schemas.microsoft.com/office/drawing/2014/main" id="{3FB6C320-B1AD-1485-5DB8-B947D6CFE91C}"/>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3446918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1"/>
          </p:nvPr>
        </p:nvSpPr>
        <p:spPr/>
        <p:txBody>
          <a:bodyPr/>
          <a:lstStyle/>
          <a:p>
            <a:r>
              <a:rPr lang="en-US"/>
              <a:t>Firstname Lastname</a:t>
            </a:r>
            <a:endParaRPr lang="en-GB"/>
          </a:p>
        </p:txBody>
      </p:sp>
      <p:sp>
        <p:nvSpPr>
          <p:cNvPr id="8" name="Text Placeholder 7"/>
          <p:cNvSpPr>
            <a:spLocks noGrp="1"/>
          </p:cNvSpPr>
          <p:nvPr>
            <p:ph type="body" sz="quarter" idx="22"/>
          </p:nvPr>
        </p:nvSpPr>
        <p:spPr>
          <a:xfrm>
            <a:off x="478382" y="2945323"/>
            <a:ext cx="1575714" cy="669415"/>
          </a:xfrm>
        </p:spPr>
        <p:txBody>
          <a:bodyPr/>
          <a:lstStyle/>
          <a:p>
            <a:r>
              <a:rPr lang="en-US">
                <a:solidFill>
                  <a:schemeClr val="accent1"/>
                </a:solidFill>
              </a:rPr>
              <a:t>Title</a:t>
            </a:r>
          </a:p>
          <a:p>
            <a:pPr>
              <a:lnSpc>
                <a:spcPct val="150000"/>
              </a:lnSpc>
            </a:pPr>
            <a:r>
              <a:rPr lang="en-US">
                <a:solidFill>
                  <a:schemeClr val="tx1"/>
                </a:solidFill>
              </a:rPr>
              <a:t>Description or relevant details here. Lorem ipsum dolor sit. Ipsum description dolor sit description sit dolor</a:t>
            </a:r>
            <a:endParaRPr lang="en-GB">
              <a:solidFill>
                <a:schemeClr val="tx1"/>
              </a:solidFill>
            </a:endParaRPr>
          </a:p>
        </p:txBody>
      </p:sp>
      <p:sp>
        <p:nvSpPr>
          <p:cNvPr id="9" name="Text Placeholder 8"/>
          <p:cNvSpPr>
            <a:spLocks noGrp="1"/>
          </p:cNvSpPr>
          <p:nvPr>
            <p:ph type="body" sz="quarter" idx="23"/>
          </p:nvPr>
        </p:nvSpPr>
        <p:spPr/>
        <p:txBody>
          <a:bodyPr/>
          <a:lstStyle/>
          <a:p>
            <a:r>
              <a:rPr lang="en-US"/>
              <a:t>Firstname Lastname</a:t>
            </a:r>
            <a:endParaRPr lang="en-GB"/>
          </a:p>
        </p:txBody>
      </p:sp>
      <p:sp>
        <p:nvSpPr>
          <p:cNvPr id="10" name="Text Placeholder 9"/>
          <p:cNvSpPr>
            <a:spLocks noGrp="1"/>
          </p:cNvSpPr>
          <p:nvPr>
            <p:ph type="body" sz="quarter" idx="24"/>
          </p:nvPr>
        </p:nvSpPr>
        <p:spPr/>
        <p:txBody>
          <a:bodyPr/>
          <a:lstStyle/>
          <a:p>
            <a:r>
              <a:rPr lang="en-US">
                <a:solidFill>
                  <a:schemeClr val="accent1"/>
                </a:solidFill>
              </a:rPr>
              <a:t>Title</a:t>
            </a:r>
          </a:p>
          <a:p>
            <a:pPr>
              <a:lnSpc>
                <a:spcPct val="150000"/>
              </a:lnSpc>
            </a:pPr>
            <a:r>
              <a:rPr lang="en-US">
                <a:solidFill>
                  <a:schemeClr val="tx1"/>
                </a:solidFill>
              </a:rPr>
              <a:t>Description or relevant details here. Lorem ipsum dolor sit. Ipsum description dolor sit description sit dolor</a:t>
            </a:r>
            <a:endParaRPr lang="en-GB">
              <a:solidFill>
                <a:schemeClr val="tx1"/>
              </a:solidFill>
            </a:endParaRPr>
          </a:p>
        </p:txBody>
      </p:sp>
      <p:sp>
        <p:nvSpPr>
          <p:cNvPr id="11" name="Text Placeholder 10"/>
          <p:cNvSpPr>
            <a:spLocks noGrp="1"/>
          </p:cNvSpPr>
          <p:nvPr>
            <p:ph type="body" sz="quarter" idx="25"/>
          </p:nvPr>
        </p:nvSpPr>
        <p:spPr/>
        <p:txBody>
          <a:bodyPr/>
          <a:lstStyle/>
          <a:p>
            <a:r>
              <a:rPr lang="en-US"/>
              <a:t>Firstname Lastname</a:t>
            </a:r>
            <a:endParaRPr lang="en-GB"/>
          </a:p>
        </p:txBody>
      </p:sp>
      <p:sp>
        <p:nvSpPr>
          <p:cNvPr id="12" name="Text Placeholder 11"/>
          <p:cNvSpPr>
            <a:spLocks noGrp="1"/>
          </p:cNvSpPr>
          <p:nvPr>
            <p:ph type="body" sz="quarter" idx="26"/>
          </p:nvPr>
        </p:nvSpPr>
        <p:spPr/>
        <p:txBody>
          <a:bodyPr/>
          <a:lstStyle/>
          <a:p>
            <a:r>
              <a:rPr lang="en-US">
                <a:solidFill>
                  <a:schemeClr val="accent1"/>
                </a:solidFill>
              </a:rPr>
              <a:t>Title</a:t>
            </a:r>
          </a:p>
          <a:p>
            <a:pPr>
              <a:lnSpc>
                <a:spcPct val="150000"/>
              </a:lnSpc>
            </a:pPr>
            <a:r>
              <a:rPr lang="en-US">
                <a:solidFill>
                  <a:schemeClr val="tx1"/>
                </a:solidFill>
              </a:rPr>
              <a:t>Description or relevant details here. Lorem ipsum dolor sit. Ipsum description dolor sit description sit dolor</a:t>
            </a:r>
            <a:endParaRPr lang="en-GB">
              <a:solidFill>
                <a:schemeClr val="tx1"/>
              </a:solidFill>
            </a:endParaRPr>
          </a:p>
        </p:txBody>
      </p:sp>
      <p:sp>
        <p:nvSpPr>
          <p:cNvPr id="13" name="Text Placeholder 12"/>
          <p:cNvSpPr>
            <a:spLocks noGrp="1"/>
          </p:cNvSpPr>
          <p:nvPr>
            <p:ph type="body" sz="quarter" idx="27"/>
          </p:nvPr>
        </p:nvSpPr>
        <p:spPr>
          <a:xfrm>
            <a:off x="6705600" y="2712043"/>
            <a:ext cx="1575711" cy="215359"/>
          </a:xfrm>
        </p:spPr>
        <p:txBody>
          <a:bodyPr/>
          <a:lstStyle/>
          <a:p>
            <a:r>
              <a:rPr lang="en-US"/>
              <a:t>Firstname Lastname</a:t>
            </a:r>
            <a:endParaRPr lang="en-GB"/>
          </a:p>
        </p:txBody>
      </p:sp>
      <p:sp>
        <p:nvSpPr>
          <p:cNvPr id="14" name="Text Placeholder 13"/>
          <p:cNvSpPr>
            <a:spLocks noGrp="1"/>
          </p:cNvSpPr>
          <p:nvPr>
            <p:ph type="body" sz="quarter" idx="28"/>
          </p:nvPr>
        </p:nvSpPr>
        <p:spPr>
          <a:xfrm>
            <a:off x="6705600" y="2945323"/>
            <a:ext cx="1575714" cy="205131"/>
          </a:xfrm>
        </p:spPr>
        <p:txBody>
          <a:bodyPr/>
          <a:lstStyle/>
          <a:p>
            <a:r>
              <a:rPr lang="en-US">
                <a:solidFill>
                  <a:schemeClr val="accent1"/>
                </a:solidFill>
              </a:rPr>
              <a:t>Title</a:t>
            </a:r>
          </a:p>
          <a:p>
            <a:pPr>
              <a:lnSpc>
                <a:spcPct val="150000"/>
              </a:lnSpc>
            </a:pPr>
            <a:r>
              <a:rPr lang="en-US">
                <a:solidFill>
                  <a:schemeClr val="tx1"/>
                </a:solidFill>
              </a:rPr>
              <a:t>Description or relevant details here. Lorem ipsum dolor sit. Ipsum description dolor sit description sit dolor</a:t>
            </a:r>
            <a:endParaRPr lang="en-GB">
              <a:solidFill>
                <a:schemeClr val="tx1"/>
              </a:solidFill>
            </a:endParaRPr>
          </a:p>
        </p:txBody>
      </p:sp>
      <p:sp>
        <p:nvSpPr>
          <p:cNvPr id="2" name="Text Placeholder 1"/>
          <p:cNvSpPr>
            <a:spLocks noGrp="1"/>
          </p:cNvSpPr>
          <p:nvPr>
            <p:ph type="body" sz="quarter" idx="14"/>
          </p:nvPr>
        </p:nvSpPr>
        <p:spPr/>
        <p:txBody>
          <a:bodyPr/>
          <a:lstStyle/>
          <a:p>
            <a:r>
              <a:rPr lang="en-US">
                <a:solidFill>
                  <a:schemeClr val="accent1"/>
                </a:solidFill>
              </a:rPr>
              <a:t>Hello.</a:t>
            </a:r>
            <a:endParaRPr lang="en-GB">
              <a:solidFill>
                <a:schemeClr val="accent1"/>
              </a:solidFill>
            </a:endParaRPr>
          </a:p>
        </p:txBody>
      </p:sp>
      <p:pic>
        <p:nvPicPr>
          <p:cNvPr id="21" name="Picture Placeholder 20" descr="A person standing in front of a table with other people sitting at it&#10;&#10;Description automatically generated with low confidence">
            <a:extLst>
              <a:ext uri="{FF2B5EF4-FFF2-40B4-BE49-F238E27FC236}">
                <a16:creationId xmlns:a16="http://schemas.microsoft.com/office/drawing/2014/main" id="{5B7FEA6F-3F51-191A-41C3-C1F2FC424A6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p:pic>
      <p:pic>
        <p:nvPicPr>
          <p:cNvPr id="25" name="Picture Placeholder 24" descr="A person wearing glasses&#10;&#10;Description automatically generated with low confidence">
            <a:extLst>
              <a:ext uri="{FF2B5EF4-FFF2-40B4-BE49-F238E27FC236}">
                <a16:creationId xmlns:a16="http://schemas.microsoft.com/office/drawing/2014/main" id="{EBF44A64-E0D5-63A2-AF67-00F233348B5C}"/>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pic>
        <p:nvPicPr>
          <p:cNvPr id="28" name="Picture Placeholder 27" descr="A group of people sitting around a table with laptops&#10;&#10;Description automatically generated with medium confidence">
            <a:extLst>
              <a:ext uri="{FF2B5EF4-FFF2-40B4-BE49-F238E27FC236}">
                <a16:creationId xmlns:a16="http://schemas.microsoft.com/office/drawing/2014/main" id="{5468127C-6F51-EE7B-87E8-45DB069A01D1}"/>
              </a:ext>
            </a:extLst>
          </p:cNvPr>
          <p:cNvPicPr>
            <a:picLocks noGrp="1" noChangeAspect="1"/>
          </p:cNvPicPr>
          <p:nvPr>
            <p:ph type="pic" sz="quarter" idx="19"/>
          </p:nvPr>
        </p:nvPicPr>
        <p:blipFill>
          <a:blip r:embed="rId4" cstate="screen">
            <a:extLst>
              <a:ext uri="{28A0092B-C50C-407E-A947-70E740481C1C}">
                <a14:useLocalDpi xmlns:a14="http://schemas.microsoft.com/office/drawing/2010/main"/>
              </a:ext>
            </a:extLst>
          </a:blip>
          <a:srcRect/>
          <a:stretch>
            <a:fillRect/>
          </a:stretch>
        </p:blipFill>
        <p:spPr/>
      </p:pic>
      <p:pic>
        <p:nvPicPr>
          <p:cNvPr id="30" name="Picture Placeholder 29" descr="A person looking at a computer screen&#10;&#10;Description automatically generated with low confidence">
            <a:extLst>
              <a:ext uri="{FF2B5EF4-FFF2-40B4-BE49-F238E27FC236}">
                <a16:creationId xmlns:a16="http://schemas.microsoft.com/office/drawing/2014/main" id="{6936E424-989A-AC88-01BB-3510072DA241}"/>
              </a:ext>
            </a:extLst>
          </p:cNvPr>
          <p:cNvPicPr>
            <a:picLocks noGrp="1" noChangeAspect="1"/>
          </p:cNvPicPr>
          <p:nvPr>
            <p:ph type="pic" sz="quarter" idx="20"/>
          </p:nvPr>
        </p:nvPicPr>
        <p:blipFill>
          <a:blip r:embed="rId5"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505250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5" name="Rectangle 14"/>
          <p:cNvSpPr/>
          <p:nvPr/>
        </p:nvSpPr>
        <p:spPr>
          <a:xfrm>
            <a:off x="2738784" y="474447"/>
            <a:ext cx="3551403" cy="246221"/>
          </a:xfrm>
          <a:prstGeom prst="rect">
            <a:avLst/>
          </a:prstGeom>
        </p:spPr>
        <p:txBody>
          <a:bodyPr wrap="square" lIns="0" tIns="0" rIns="0" bIns="0">
            <a:spAutoFit/>
          </a:bodyPr>
          <a:lstStyle/>
          <a:p>
            <a:r>
              <a:rPr lang="en-US" sz="1600" b="1" spc="-50"/>
              <a:t>First </a:t>
            </a:r>
            <a:r>
              <a:rPr lang="en-US" sz="1600" b="1" spc="-50" err="1"/>
              <a:t>Lastname</a:t>
            </a:r>
            <a:endParaRPr lang="en-GB" sz="1600" b="1" spc="-50"/>
          </a:p>
        </p:txBody>
      </p:sp>
      <p:sp>
        <p:nvSpPr>
          <p:cNvPr id="16" name="Rectangle 15"/>
          <p:cNvSpPr/>
          <p:nvPr/>
        </p:nvSpPr>
        <p:spPr>
          <a:xfrm>
            <a:off x="2738784" y="771712"/>
            <a:ext cx="3551403" cy="314161"/>
          </a:xfrm>
          <a:prstGeom prst="rect">
            <a:avLst/>
          </a:prstGeom>
        </p:spPr>
        <p:txBody>
          <a:bodyPr wrap="square" lIns="0" tIns="0" rIns="0" bIns="0">
            <a:noAutofit/>
          </a:bodyPr>
          <a:lstStyle/>
          <a:p>
            <a:pPr>
              <a:lnSpc>
                <a:spcPct val="150000"/>
              </a:lnSpc>
            </a:pPr>
            <a:r>
              <a:rPr lang="en-US" sz="900">
                <a:solidFill>
                  <a:schemeClr val="accent1"/>
                </a:solidFill>
                <a:latin typeface="Arial" panose="020B0604020202020204" pitchFamily="34" charset="0"/>
                <a:cs typeface="Arial" panose="020B0604020202020204" pitchFamily="34" charset="0"/>
              </a:rPr>
              <a:t>Title Goes Here</a:t>
            </a:r>
          </a:p>
          <a:p>
            <a:pPr>
              <a:lnSpc>
                <a:spcPct val="150000"/>
              </a:lnSpc>
            </a:pPr>
            <a:endParaRPr lang="en-US" sz="900">
              <a:solidFill>
                <a:schemeClr val="accent4"/>
              </a:solidFill>
              <a:latin typeface="Arial" panose="020B0604020202020204" pitchFamily="34" charset="0"/>
              <a:cs typeface="Arial" panose="020B0604020202020204" pitchFamily="34" charset="0"/>
            </a:endParaRPr>
          </a:p>
        </p:txBody>
      </p:sp>
      <p:sp>
        <p:nvSpPr>
          <p:cNvPr id="22" name="Rectangle 21"/>
          <p:cNvSpPr/>
          <p:nvPr/>
        </p:nvSpPr>
        <p:spPr>
          <a:xfrm>
            <a:off x="2738784" y="3473968"/>
            <a:ext cx="5641218" cy="890972"/>
          </a:xfrm>
          <a:prstGeom prst="rect">
            <a:avLst/>
          </a:prstGeom>
        </p:spPr>
        <p:txBody>
          <a:bodyPr lIns="0" tIns="0" rIns="0" bIns="0" numCol="3">
            <a:noAutofit/>
          </a:bodyPr>
          <a:lstStyle/>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a:latin typeface="Arial" panose="020B0604020202020204" pitchFamily="34" charset="0"/>
                <a:cs typeface="Arial" panose="020B0604020202020204" pitchFamily="34" charset="0"/>
              </a:rPr>
              <a:t>Lorem </a:t>
            </a:r>
            <a:r>
              <a:rPr lang="en-US" sz="900" err="1">
                <a:latin typeface="Arial" panose="020B0604020202020204" pitchFamily="34" charset="0"/>
                <a:cs typeface="Arial" panose="020B0604020202020204" pitchFamily="34" charset="0"/>
              </a:rPr>
              <a:t>ispum</a:t>
            </a:r>
            <a:r>
              <a:rPr lang="en-US" sz="900">
                <a:latin typeface="Arial" panose="020B0604020202020204" pitchFamily="34" charset="0"/>
                <a:cs typeface="Arial" panose="020B0604020202020204" pitchFamily="34" charset="0"/>
              </a:rPr>
              <a:t> </a:t>
            </a:r>
            <a:r>
              <a:rPr lang="en-US" sz="900" err="1">
                <a:latin typeface="Arial" panose="020B0604020202020204" pitchFamily="34" charset="0"/>
                <a:cs typeface="Arial" panose="020B0604020202020204" pitchFamily="34" charset="0"/>
              </a:rPr>
              <a:t>dolar</a:t>
            </a:r>
            <a:r>
              <a:rPr lang="en-US" sz="900">
                <a:latin typeface="Arial" panose="020B0604020202020204" pitchFamily="34" charset="0"/>
                <a:cs typeface="Arial" panose="020B0604020202020204" pitchFamily="34" charset="0"/>
              </a:rPr>
              <a:t> sit</a:t>
            </a:r>
          </a:p>
        </p:txBody>
      </p:sp>
      <p:sp>
        <p:nvSpPr>
          <p:cNvPr id="23" name="Rectangle 22"/>
          <p:cNvSpPr/>
          <p:nvPr/>
        </p:nvSpPr>
        <p:spPr>
          <a:xfrm>
            <a:off x="2738784" y="3099135"/>
            <a:ext cx="916918"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a:solidFill>
                  <a:schemeClr val="accent3"/>
                </a:solidFill>
              </a:rPr>
              <a:t>Expertise </a:t>
            </a:r>
          </a:p>
        </p:txBody>
      </p:sp>
      <p:sp>
        <p:nvSpPr>
          <p:cNvPr id="17" name="Rectangle 16"/>
          <p:cNvSpPr/>
          <p:nvPr/>
        </p:nvSpPr>
        <p:spPr>
          <a:xfrm>
            <a:off x="2738784" y="1655718"/>
            <a:ext cx="3609629" cy="1086397"/>
          </a:xfrm>
          <a:prstGeom prst="rect">
            <a:avLst/>
          </a:prstGeom>
        </p:spPr>
        <p:txBody>
          <a:bodyPr lIns="0" tIns="0" rIns="0" bIns="0" numCol="1">
            <a:noAutofit/>
          </a:bodyPr>
          <a:lstStyle/>
          <a:p>
            <a:pPr>
              <a:lnSpc>
                <a:spcPct val="150000"/>
              </a:lnSpc>
              <a:spcBef>
                <a:spcPts val="750"/>
              </a:spcBef>
              <a:buSzPct val="110000"/>
            </a:pPr>
            <a:r>
              <a:rPr lang="en-GB" sz="900">
                <a:latin typeface="Arial" panose="020B0604020202020204" pitchFamily="34" charset="0"/>
                <a:cs typeface="Arial" panose="020B0604020202020204" pitchFamily="34" charset="0"/>
              </a:rPr>
              <a:t>Over 20 years doing amazing and relevant work as systems engineer. </a:t>
            </a:r>
          </a:p>
          <a:p>
            <a:pPr>
              <a:lnSpc>
                <a:spcPct val="150000"/>
              </a:lnSpc>
              <a:spcBef>
                <a:spcPts val="750"/>
              </a:spcBef>
              <a:buSzPct val="110000"/>
            </a:pPr>
            <a:r>
              <a:rPr lang="en-GB" sz="900">
                <a:latin typeface="Arial" panose="020B0604020202020204" pitchFamily="34" charset="0"/>
                <a:cs typeface="Arial" panose="020B0604020202020204" pitchFamily="34" charset="0"/>
              </a:rPr>
              <a:t>We recommend keeping this section short, so that it reads quickly and succinctly.</a:t>
            </a:r>
          </a:p>
          <a:p>
            <a:pPr>
              <a:lnSpc>
                <a:spcPct val="150000"/>
              </a:lnSpc>
              <a:spcBef>
                <a:spcPts val="750"/>
              </a:spcBef>
              <a:buClr>
                <a:srgbClr val="CC0000"/>
              </a:buClr>
              <a:buSzPct val="110000"/>
            </a:pPr>
            <a:endParaRPr lang="en-GB" sz="900">
              <a:latin typeface="Arial" panose="020B0604020202020204" pitchFamily="34" charset="0"/>
              <a:cs typeface="Arial" panose="020B0604020202020204" pitchFamily="34" charset="0"/>
            </a:endParaRPr>
          </a:p>
        </p:txBody>
      </p:sp>
      <p:sp>
        <p:nvSpPr>
          <p:cNvPr id="18" name="Rectangle 17"/>
          <p:cNvSpPr/>
          <p:nvPr/>
        </p:nvSpPr>
        <p:spPr>
          <a:xfrm>
            <a:off x="2738784" y="1289478"/>
            <a:ext cx="2212144"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a:solidFill>
                  <a:schemeClr val="accent3"/>
                </a:solidFill>
              </a:rPr>
              <a:t>Professional experience</a:t>
            </a:r>
          </a:p>
        </p:txBody>
      </p:sp>
      <p:sp>
        <p:nvSpPr>
          <p:cNvPr id="2" name="Text Placeholder 1"/>
          <p:cNvSpPr>
            <a:spLocks noGrp="1"/>
          </p:cNvSpPr>
          <p:nvPr>
            <p:ph type="body" sz="quarter" idx="17"/>
          </p:nvPr>
        </p:nvSpPr>
        <p:spPr/>
        <p:txBody>
          <a:bodyPr/>
          <a:lstStyle/>
          <a:p>
            <a:endParaRPr lang="en-GB"/>
          </a:p>
        </p:txBody>
      </p:sp>
      <p:pic>
        <p:nvPicPr>
          <p:cNvPr id="7" name="Picture Placeholder 6" descr="A person holding a tablet&#10;&#10;Description automatically generated">
            <a:extLst>
              <a:ext uri="{FF2B5EF4-FFF2-40B4-BE49-F238E27FC236}">
                <a16:creationId xmlns:a16="http://schemas.microsoft.com/office/drawing/2014/main" id="{175D1CEE-DAF3-EE65-D715-2F15648B264D}"/>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b="-241"/>
          <a:stretch/>
        </p:blipFill>
        <p:spPr>
          <a:xfrm>
            <a:off x="457200" y="438150"/>
            <a:ext cx="1900238" cy="1866900"/>
          </a:xfrm>
        </p:spPr>
      </p:pic>
    </p:spTree>
    <p:extLst>
      <p:ext uri="{BB962C8B-B14F-4D97-AF65-F5344CB8AC3E}">
        <p14:creationId xmlns:p14="http://schemas.microsoft.com/office/powerpoint/2010/main" val="20511656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p:txBody>
          <a:bodyPr/>
          <a:lstStyle/>
          <a:p>
            <a:endParaRPr lang="en-GB"/>
          </a:p>
        </p:txBody>
      </p:sp>
      <p:sp>
        <p:nvSpPr>
          <p:cNvPr id="8" name="Text Placeholder 7"/>
          <p:cNvSpPr>
            <a:spLocks noGrp="1"/>
          </p:cNvSpPr>
          <p:nvPr>
            <p:ph type="body" sz="quarter" idx="11"/>
          </p:nvPr>
        </p:nvSpPr>
        <p:spPr/>
        <p:txBody>
          <a:bodyPr/>
          <a:lstStyle/>
          <a:p>
            <a:r>
              <a:rPr lang="en-US"/>
              <a:t>Let’s </a:t>
            </a:r>
            <a:br>
              <a:rPr lang="en-US"/>
            </a:br>
            <a:r>
              <a:rPr lang="en-US"/>
              <a:t>connect</a:t>
            </a:r>
          </a:p>
        </p:txBody>
      </p:sp>
      <p:grpSp>
        <p:nvGrpSpPr>
          <p:cNvPr id="4" name="Group 3"/>
          <p:cNvGrpSpPr/>
          <p:nvPr/>
        </p:nvGrpSpPr>
        <p:grpSpPr>
          <a:xfrm>
            <a:off x="4350643" y="275726"/>
            <a:ext cx="2412123" cy="1379605"/>
            <a:chOff x="5846068" y="1140951"/>
            <a:chExt cx="2412123" cy="1379605"/>
          </a:xfrm>
        </p:grpSpPr>
        <p:sp>
          <p:nvSpPr>
            <p:cNvPr id="23" name="Round Single Corner Rectangle 22"/>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tx1"/>
                  </a:solidFill>
                  <a:cs typeface="Arial" panose="020B0604020202020204" pitchFamily="34" charset="0"/>
                </a:rPr>
                <a:t>Firstname</a:t>
              </a:r>
              <a:r>
                <a:rPr lang="en-US" sz="1200" b="1">
                  <a:solidFill>
                    <a:schemeClr val="tx1"/>
                  </a:solidFill>
                  <a:cs typeface="Arial" panose="020B0604020202020204" pitchFamily="34" charset="0"/>
                </a:rPr>
                <a:t> </a:t>
              </a:r>
              <a:r>
                <a:rPr lang="en-US" sz="1200" b="1" err="1">
                  <a:solidFill>
                    <a:schemeClr val="tx1"/>
                  </a:solidFill>
                  <a:cs typeface="Arial" panose="020B0604020202020204" pitchFamily="34" charset="0"/>
                </a:rPr>
                <a:t>Lastname</a:t>
              </a:r>
              <a:endParaRPr lang="en-US" sz="1200" b="1">
                <a:solidFill>
                  <a:schemeClr val="tx1"/>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29" name="Round Single Corner Rectangle 28"/>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grpSp>
        <p:nvGrpSpPr>
          <p:cNvPr id="2" name="Group 1">
            <a:extLst>
              <a:ext uri="{FF2B5EF4-FFF2-40B4-BE49-F238E27FC236}">
                <a16:creationId xmlns:a16="http://schemas.microsoft.com/office/drawing/2014/main" id="{6D3BE682-3D54-2041-5B46-4339D2801FF6}"/>
              </a:ext>
            </a:extLst>
          </p:cNvPr>
          <p:cNvGrpSpPr/>
          <p:nvPr/>
        </p:nvGrpSpPr>
        <p:grpSpPr>
          <a:xfrm>
            <a:off x="4350643" y="1756184"/>
            <a:ext cx="2412123" cy="1379605"/>
            <a:chOff x="5846068" y="1140951"/>
            <a:chExt cx="2412123" cy="1379605"/>
          </a:xfrm>
        </p:grpSpPr>
        <p:sp>
          <p:nvSpPr>
            <p:cNvPr id="9" name="Round Single Corner Rectangle 8">
              <a:extLst>
                <a:ext uri="{FF2B5EF4-FFF2-40B4-BE49-F238E27FC236}">
                  <a16:creationId xmlns:a16="http://schemas.microsoft.com/office/drawing/2014/main" id="{97B65674-4D0F-0CA7-42A0-7C7DC10C8543}"/>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tx1"/>
                  </a:solidFill>
                  <a:cs typeface="Arial" panose="020B0604020202020204" pitchFamily="34" charset="0"/>
                </a:rPr>
                <a:t>Firstname</a:t>
              </a:r>
              <a:r>
                <a:rPr lang="en-US" sz="1200" b="1">
                  <a:solidFill>
                    <a:schemeClr val="tx1"/>
                  </a:solidFill>
                  <a:cs typeface="Arial" panose="020B0604020202020204" pitchFamily="34" charset="0"/>
                </a:rPr>
                <a:t> </a:t>
              </a:r>
              <a:r>
                <a:rPr lang="en-US" sz="1200" b="1" err="1">
                  <a:solidFill>
                    <a:schemeClr val="tx1"/>
                  </a:solidFill>
                  <a:cs typeface="Arial" panose="020B0604020202020204" pitchFamily="34" charset="0"/>
                </a:rPr>
                <a:t>Lastname</a:t>
              </a:r>
              <a:endParaRPr lang="en-US" sz="1200" b="1">
                <a:solidFill>
                  <a:schemeClr val="tx1"/>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10" name="Round Single Corner Rectangle 9">
              <a:extLst>
                <a:ext uri="{FF2B5EF4-FFF2-40B4-BE49-F238E27FC236}">
                  <a16:creationId xmlns:a16="http://schemas.microsoft.com/office/drawing/2014/main" id="{4621E263-AB0D-B1D7-9D29-91154C079F97}"/>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grpSp>
        <p:nvGrpSpPr>
          <p:cNvPr id="11" name="Group 10">
            <a:extLst>
              <a:ext uri="{FF2B5EF4-FFF2-40B4-BE49-F238E27FC236}">
                <a16:creationId xmlns:a16="http://schemas.microsoft.com/office/drawing/2014/main" id="{07C92009-A82F-AB8E-54F4-1C759EF7B65B}"/>
              </a:ext>
            </a:extLst>
          </p:cNvPr>
          <p:cNvGrpSpPr/>
          <p:nvPr/>
        </p:nvGrpSpPr>
        <p:grpSpPr>
          <a:xfrm>
            <a:off x="4350643" y="3358561"/>
            <a:ext cx="2412123" cy="1379605"/>
            <a:chOff x="5846068" y="1140951"/>
            <a:chExt cx="2412123" cy="1379605"/>
          </a:xfrm>
        </p:grpSpPr>
        <p:sp>
          <p:nvSpPr>
            <p:cNvPr id="12" name="Round Single Corner Rectangle 11">
              <a:extLst>
                <a:ext uri="{FF2B5EF4-FFF2-40B4-BE49-F238E27FC236}">
                  <a16:creationId xmlns:a16="http://schemas.microsoft.com/office/drawing/2014/main" id="{0549479C-6264-1D16-ACF7-DA799C2DF63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tx1"/>
                  </a:solidFill>
                  <a:cs typeface="Arial" panose="020B0604020202020204" pitchFamily="34" charset="0"/>
                </a:rPr>
                <a:t>Firstname</a:t>
              </a:r>
              <a:r>
                <a:rPr lang="en-US" sz="1200" b="1">
                  <a:solidFill>
                    <a:schemeClr val="tx1"/>
                  </a:solidFill>
                  <a:cs typeface="Arial" panose="020B0604020202020204" pitchFamily="34" charset="0"/>
                </a:rPr>
                <a:t> </a:t>
              </a:r>
              <a:r>
                <a:rPr lang="en-US" sz="1200" b="1" err="1">
                  <a:solidFill>
                    <a:schemeClr val="tx1"/>
                  </a:solidFill>
                  <a:cs typeface="Arial" panose="020B0604020202020204" pitchFamily="34" charset="0"/>
                </a:rPr>
                <a:t>Lastname</a:t>
              </a:r>
              <a:endParaRPr lang="en-US" sz="1200" b="1">
                <a:solidFill>
                  <a:schemeClr val="tx1"/>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13" name="Round Single Corner Rectangle 12">
              <a:extLst>
                <a:ext uri="{FF2B5EF4-FFF2-40B4-BE49-F238E27FC236}">
                  <a16:creationId xmlns:a16="http://schemas.microsoft.com/office/drawing/2014/main" id="{63A06850-ECBC-8B56-078A-5C7C3459119C}"/>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grpSp>
        <p:nvGrpSpPr>
          <p:cNvPr id="14" name="Group 13">
            <a:extLst>
              <a:ext uri="{FF2B5EF4-FFF2-40B4-BE49-F238E27FC236}">
                <a16:creationId xmlns:a16="http://schemas.microsoft.com/office/drawing/2014/main" id="{70A1312F-C2D9-7F74-F521-BBAABCD95148}"/>
              </a:ext>
            </a:extLst>
          </p:cNvPr>
          <p:cNvGrpSpPr/>
          <p:nvPr/>
        </p:nvGrpSpPr>
        <p:grpSpPr>
          <a:xfrm>
            <a:off x="6527786" y="275726"/>
            <a:ext cx="2412123" cy="1379605"/>
            <a:chOff x="5846068" y="1140951"/>
            <a:chExt cx="2412123" cy="1379605"/>
          </a:xfrm>
        </p:grpSpPr>
        <p:sp>
          <p:nvSpPr>
            <p:cNvPr id="15" name="Round Single Corner Rectangle 14">
              <a:extLst>
                <a:ext uri="{FF2B5EF4-FFF2-40B4-BE49-F238E27FC236}">
                  <a16:creationId xmlns:a16="http://schemas.microsoft.com/office/drawing/2014/main" id="{12778D25-390C-6D6A-5C42-1B3C54D6EFA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tx1"/>
                  </a:solidFill>
                  <a:cs typeface="Arial" panose="020B0604020202020204" pitchFamily="34" charset="0"/>
                </a:rPr>
                <a:t>Firstname</a:t>
              </a:r>
              <a:r>
                <a:rPr lang="en-US" sz="1200" b="1">
                  <a:solidFill>
                    <a:schemeClr val="tx1"/>
                  </a:solidFill>
                  <a:cs typeface="Arial" panose="020B0604020202020204" pitchFamily="34" charset="0"/>
                </a:rPr>
                <a:t> </a:t>
              </a:r>
              <a:r>
                <a:rPr lang="en-US" sz="1200" b="1" err="1">
                  <a:solidFill>
                    <a:schemeClr val="tx1"/>
                  </a:solidFill>
                  <a:cs typeface="Arial" panose="020B0604020202020204" pitchFamily="34" charset="0"/>
                </a:rPr>
                <a:t>Lastname</a:t>
              </a:r>
              <a:endParaRPr lang="en-US" sz="1200" b="1">
                <a:solidFill>
                  <a:schemeClr val="tx1"/>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16" name="Round Single Corner Rectangle 15">
              <a:extLst>
                <a:ext uri="{FF2B5EF4-FFF2-40B4-BE49-F238E27FC236}">
                  <a16:creationId xmlns:a16="http://schemas.microsoft.com/office/drawing/2014/main" id="{93BE4220-DE1F-70B2-AA59-61D3A6BE2CAF}"/>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grpSp>
        <p:nvGrpSpPr>
          <p:cNvPr id="17" name="Group 16">
            <a:extLst>
              <a:ext uri="{FF2B5EF4-FFF2-40B4-BE49-F238E27FC236}">
                <a16:creationId xmlns:a16="http://schemas.microsoft.com/office/drawing/2014/main" id="{893A0C05-9CDE-60A0-E440-C966F3F47480}"/>
              </a:ext>
            </a:extLst>
          </p:cNvPr>
          <p:cNvGrpSpPr/>
          <p:nvPr/>
        </p:nvGrpSpPr>
        <p:grpSpPr>
          <a:xfrm>
            <a:off x="6527786" y="1756184"/>
            <a:ext cx="2412123" cy="1379605"/>
            <a:chOff x="5846068" y="1140951"/>
            <a:chExt cx="2412123" cy="1379605"/>
          </a:xfrm>
        </p:grpSpPr>
        <p:sp>
          <p:nvSpPr>
            <p:cNvPr id="18" name="Round Single Corner Rectangle 17">
              <a:extLst>
                <a:ext uri="{FF2B5EF4-FFF2-40B4-BE49-F238E27FC236}">
                  <a16:creationId xmlns:a16="http://schemas.microsoft.com/office/drawing/2014/main" id="{7387C962-61B5-C82F-C2A5-D54BDBB95B44}"/>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tx1"/>
                  </a:solidFill>
                  <a:cs typeface="Arial" panose="020B0604020202020204" pitchFamily="34" charset="0"/>
                </a:rPr>
                <a:t>Firstname</a:t>
              </a:r>
              <a:r>
                <a:rPr lang="en-US" sz="1200" b="1">
                  <a:solidFill>
                    <a:schemeClr val="tx1"/>
                  </a:solidFill>
                  <a:cs typeface="Arial" panose="020B0604020202020204" pitchFamily="34" charset="0"/>
                </a:rPr>
                <a:t> </a:t>
              </a:r>
              <a:r>
                <a:rPr lang="en-US" sz="1200" b="1" err="1">
                  <a:solidFill>
                    <a:schemeClr val="tx1"/>
                  </a:solidFill>
                  <a:cs typeface="Arial" panose="020B0604020202020204" pitchFamily="34" charset="0"/>
                </a:rPr>
                <a:t>Lastname</a:t>
              </a:r>
              <a:endParaRPr lang="en-US" sz="1200" b="1">
                <a:solidFill>
                  <a:schemeClr val="tx1"/>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19" name="Round Single Corner Rectangle 18">
              <a:extLst>
                <a:ext uri="{FF2B5EF4-FFF2-40B4-BE49-F238E27FC236}">
                  <a16:creationId xmlns:a16="http://schemas.microsoft.com/office/drawing/2014/main" id="{2B6BFC57-E13A-C8B2-9220-7FB8DD9B4C70}"/>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grpSp>
        <p:nvGrpSpPr>
          <p:cNvPr id="20" name="Group 19">
            <a:extLst>
              <a:ext uri="{FF2B5EF4-FFF2-40B4-BE49-F238E27FC236}">
                <a16:creationId xmlns:a16="http://schemas.microsoft.com/office/drawing/2014/main" id="{C75A8B8B-9838-F279-C390-87AEA9B84756}"/>
              </a:ext>
            </a:extLst>
          </p:cNvPr>
          <p:cNvGrpSpPr/>
          <p:nvPr/>
        </p:nvGrpSpPr>
        <p:grpSpPr>
          <a:xfrm>
            <a:off x="6527786" y="3358561"/>
            <a:ext cx="2412123" cy="1379605"/>
            <a:chOff x="5846068" y="1140951"/>
            <a:chExt cx="2412123" cy="1379605"/>
          </a:xfrm>
        </p:grpSpPr>
        <p:sp>
          <p:nvSpPr>
            <p:cNvPr id="21" name="Round Single Corner Rectangle 20">
              <a:extLst>
                <a:ext uri="{FF2B5EF4-FFF2-40B4-BE49-F238E27FC236}">
                  <a16:creationId xmlns:a16="http://schemas.microsoft.com/office/drawing/2014/main" id="{8B9A0E27-EC98-0FA8-52C1-EFC88498F232}"/>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tx1"/>
                  </a:solidFill>
                  <a:cs typeface="Arial" panose="020B0604020202020204" pitchFamily="34" charset="0"/>
                </a:rPr>
                <a:t>Firstname</a:t>
              </a:r>
              <a:r>
                <a:rPr lang="en-US" sz="1200" b="1">
                  <a:solidFill>
                    <a:schemeClr val="tx1"/>
                  </a:solidFill>
                  <a:cs typeface="Arial" panose="020B0604020202020204" pitchFamily="34" charset="0"/>
                </a:rPr>
                <a:t> </a:t>
              </a:r>
              <a:r>
                <a:rPr lang="en-US" sz="1200" b="1" err="1">
                  <a:solidFill>
                    <a:schemeClr val="tx1"/>
                  </a:solidFill>
                  <a:cs typeface="Arial" panose="020B0604020202020204" pitchFamily="34" charset="0"/>
                </a:rPr>
                <a:t>Lastname</a:t>
              </a:r>
              <a:endParaRPr lang="en-US" sz="1200" b="1">
                <a:solidFill>
                  <a:schemeClr val="tx1"/>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24" name="Round Single Corner Rectangle 23">
              <a:extLst>
                <a:ext uri="{FF2B5EF4-FFF2-40B4-BE49-F238E27FC236}">
                  <a16:creationId xmlns:a16="http://schemas.microsoft.com/office/drawing/2014/main" id="{5E2FA7F9-81C2-8AF5-6C26-D15E40AD5862}"/>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spTree>
    <p:extLst>
      <p:ext uri="{BB962C8B-B14F-4D97-AF65-F5344CB8AC3E}">
        <p14:creationId xmlns:p14="http://schemas.microsoft.com/office/powerpoint/2010/main" val="13818693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a:t>Let’s </a:t>
            </a:r>
            <a:br>
              <a:rPr lang="en-US"/>
            </a:br>
            <a:r>
              <a:rPr lang="en-US"/>
              <a:t>connect</a:t>
            </a:r>
          </a:p>
        </p:txBody>
      </p:sp>
      <p:sp>
        <p:nvSpPr>
          <p:cNvPr id="6" name="Text Placeholder 5"/>
          <p:cNvSpPr>
            <a:spLocks noGrp="1"/>
          </p:cNvSpPr>
          <p:nvPr>
            <p:ph type="body" sz="quarter" idx="4294967295"/>
          </p:nvPr>
        </p:nvSpPr>
        <p:spPr>
          <a:xfrm>
            <a:off x="464494" y="1488137"/>
            <a:ext cx="2274660" cy="3062171"/>
          </a:xfrm>
        </p:spPr>
        <p:txBody>
          <a:bodyPr/>
          <a:lstStyle/>
          <a:p>
            <a:endParaRPr lang="en-GB">
              <a:solidFill>
                <a:schemeClr val="tx1"/>
              </a:solidFill>
            </a:endParaRPr>
          </a:p>
        </p:txBody>
      </p:sp>
      <p:grpSp>
        <p:nvGrpSpPr>
          <p:cNvPr id="4" name="Group 3"/>
          <p:cNvGrpSpPr/>
          <p:nvPr/>
        </p:nvGrpSpPr>
        <p:grpSpPr>
          <a:xfrm>
            <a:off x="4572000" y="441223"/>
            <a:ext cx="4114800" cy="1285192"/>
            <a:chOff x="5884168" y="1644790"/>
            <a:chExt cx="2412123" cy="1285192"/>
          </a:xfrm>
          <a:solidFill>
            <a:schemeClr val="bg1">
              <a:alpha val="61000"/>
            </a:schemeClr>
          </a:solidFill>
        </p:grpSpPr>
        <p:sp>
          <p:nvSpPr>
            <p:cNvPr id="16" name="Round Single Corner Rectangle 15"/>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accent3"/>
                  </a:solidFill>
                  <a:cs typeface="Arial" panose="020B0604020202020204" pitchFamily="34" charset="0"/>
                </a:rPr>
                <a:t>Firstname</a:t>
              </a:r>
              <a:r>
                <a:rPr lang="en-US" sz="1200" b="1">
                  <a:solidFill>
                    <a:schemeClr val="accent3"/>
                  </a:solidFill>
                  <a:cs typeface="Arial" panose="020B0604020202020204" pitchFamily="34" charset="0"/>
                </a:rPr>
                <a:t> </a:t>
              </a:r>
              <a:r>
                <a:rPr lang="en-US" sz="1200" b="1" err="1">
                  <a:solidFill>
                    <a:schemeClr val="accent3"/>
                  </a:solidFill>
                  <a:cs typeface="Arial" panose="020B0604020202020204" pitchFamily="34" charset="0"/>
                </a:rPr>
                <a:t>Lastname</a:t>
              </a:r>
              <a:endParaRPr lang="en-US" sz="1200" b="1">
                <a:solidFill>
                  <a:schemeClr val="accent3"/>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20" name="Round Single Corner Rectangle 19"/>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grpSp>
        <p:nvGrpSpPr>
          <p:cNvPr id="13" name="Group 12"/>
          <p:cNvGrpSpPr/>
          <p:nvPr/>
        </p:nvGrpSpPr>
        <p:grpSpPr>
          <a:xfrm>
            <a:off x="4572000" y="1853169"/>
            <a:ext cx="4114800" cy="1285192"/>
            <a:chOff x="5884168" y="1644790"/>
            <a:chExt cx="2412123" cy="1285192"/>
          </a:xfrm>
        </p:grpSpPr>
        <p:sp>
          <p:nvSpPr>
            <p:cNvPr id="21" name="Round Single Corner Rectangle 20"/>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accent3"/>
                  </a:solidFill>
                  <a:cs typeface="Arial" panose="020B0604020202020204" pitchFamily="34" charset="0"/>
                </a:rPr>
                <a:t>Firstname</a:t>
              </a:r>
              <a:r>
                <a:rPr lang="en-US" sz="1200" b="1">
                  <a:solidFill>
                    <a:schemeClr val="accent3"/>
                  </a:solidFill>
                  <a:cs typeface="Arial" panose="020B0604020202020204" pitchFamily="34" charset="0"/>
                </a:rPr>
                <a:t> </a:t>
              </a:r>
              <a:r>
                <a:rPr lang="en-US" sz="1200" b="1" err="1">
                  <a:solidFill>
                    <a:schemeClr val="accent3"/>
                  </a:solidFill>
                  <a:cs typeface="Arial" panose="020B0604020202020204" pitchFamily="34" charset="0"/>
                </a:rPr>
                <a:t>Lastname</a:t>
              </a:r>
              <a:endParaRPr lang="en-US" sz="1200" b="1">
                <a:solidFill>
                  <a:schemeClr val="accent3"/>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22" name="Round Single Corner Rectangle 21"/>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grpSp>
      <p:sp>
        <p:nvSpPr>
          <p:cNvPr id="24" name="Round Single Corner Rectangle 23"/>
          <p:cNvSpPr/>
          <p:nvPr/>
        </p:nvSpPr>
        <p:spPr>
          <a:xfrm>
            <a:off x="4572000" y="3265116"/>
            <a:ext cx="4114800"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err="1">
                <a:solidFill>
                  <a:schemeClr val="accent3"/>
                </a:solidFill>
                <a:cs typeface="Arial" panose="020B0604020202020204" pitchFamily="34" charset="0"/>
              </a:rPr>
              <a:t>Firstname</a:t>
            </a:r>
            <a:r>
              <a:rPr lang="en-US" sz="1200" b="1">
                <a:solidFill>
                  <a:schemeClr val="accent3"/>
                </a:solidFill>
                <a:cs typeface="Arial" panose="020B0604020202020204" pitchFamily="34" charset="0"/>
              </a:rPr>
              <a:t> </a:t>
            </a:r>
            <a:r>
              <a:rPr lang="en-US" sz="1200" b="1" err="1">
                <a:solidFill>
                  <a:schemeClr val="accent3"/>
                </a:solidFill>
                <a:cs typeface="Arial" panose="020B0604020202020204" pitchFamily="34" charset="0"/>
              </a:rPr>
              <a:t>Lastname</a:t>
            </a:r>
            <a:endParaRPr lang="en-US" sz="1200" b="1">
              <a:solidFill>
                <a:schemeClr val="accent3"/>
              </a:solidFill>
              <a:cs typeface="Arial" panose="020B0604020202020204" pitchFamily="34" charset="0"/>
            </a:endParaRPr>
          </a:p>
          <a:p>
            <a:pPr>
              <a:lnSpc>
                <a:spcPct val="90000"/>
              </a:lnSpc>
              <a:spcBef>
                <a:spcPts val="300"/>
              </a:spcBef>
            </a:pPr>
            <a:r>
              <a:rPr lang="en-US" sz="900">
                <a:solidFill>
                  <a:schemeClr val="accent1"/>
                </a:solidFill>
                <a:latin typeface="+mj-lt"/>
              </a:rPr>
              <a:t>Role / Title</a:t>
            </a:r>
          </a:p>
        </p:txBody>
      </p:sp>
      <p:sp>
        <p:nvSpPr>
          <p:cNvPr id="25" name="Round Single Corner Rectangle 24"/>
          <p:cNvSpPr/>
          <p:nvPr/>
        </p:nvSpPr>
        <p:spPr>
          <a:xfrm>
            <a:off x="4572000" y="4041558"/>
            <a:ext cx="4114800"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a:solidFill>
                <a:schemeClr val="tx1"/>
              </a:solidFill>
              <a:latin typeface="+mj-lt"/>
            </a:endParaRPr>
          </a:p>
          <a:p>
            <a:pPr>
              <a:lnSpc>
                <a:spcPct val="90000"/>
              </a:lnSpc>
              <a:spcBef>
                <a:spcPts val="300"/>
              </a:spcBef>
            </a:pPr>
            <a:r>
              <a:rPr lang="en-US" sz="800" b="1" spc="50">
                <a:solidFill>
                  <a:schemeClr val="tx1"/>
                </a:solidFill>
              </a:rPr>
              <a:t>c</a:t>
            </a:r>
            <a:r>
              <a:rPr lang="en-US" sz="800" spc="50">
                <a:solidFill>
                  <a:schemeClr val="tx1"/>
                </a:solidFill>
              </a:rPr>
              <a:t> XXX-XXX-XXX</a:t>
            </a:r>
          </a:p>
          <a:p>
            <a:pPr>
              <a:lnSpc>
                <a:spcPct val="90000"/>
              </a:lnSpc>
              <a:spcBef>
                <a:spcPts val="300"/>
              </a:spcBef>
            </a:pPr>
            <a:r>
              <a:rPr lang="en-US" sz="800" b="1" spc="50">
                <a:solidFill>
                  <a:schemeClr val="tx1"/>
                </a:solidFill>
              </a:rPr>
              <a:t>t</a:t>
            </a:r>
            <a:r>
              <a:rPr lang="en-US" sz="800" spc="50">
                <a:solidFill>
                  <a:schemeClr val="tx1"/>
                </a:solidFill>
              </a:rPr>
              <a:t>  XXX-XXX-XXX</a:t>
            </a:r>
          </a:p>
          <a:p>
            <a:pPr>
              <a:lnSpc>
                <a:spcPct val="90000"/>
              </a:lnSpc>
              <a:spcBef>
                <a:spcPts val="300"/>
              </a:spcBef>
            </a:pPr>
            <a:r>
              <a:rPr lang="en-US" sz="800" b="1" spc="50">
                <a:solidFill>
                  <a:schemeClr val="tx1"/>
                </a:solidFill>
              </a:rPr>
              <a:t>e</a:t>
            </a:r>
            <a:r>
              <a:rPr lang="en-US" sz="800" spc="50">
                <a:solidFill>
                  <a:schemeClr val="tx1"/>
                </a:solidFill>
              </a:rPr>
              <a:t> </a:t>
            </a:r>
            <a:r>
              <a:rPr lang="en-US" sz="800" spc="50" err="1">
                <a:solidFill>
                  <a:schemeClr val="tx1"/>
                </a:solidFill>
              </a:rPr>
              <a:t>xxxxxxxx@incose.org</a:t>
            </a:r>
            <a:endParaRPr lang="en-US" sz="800" spc="50">
              <a:solidFill>
                <a:schemeClr val="tx1"/>
              </a:solidFill>
            </a:endParaRPr>
          </a:p>
        </p:txBody>
      </p:sp>
    </p:spTree>
    <p:extLst>
      <p:ext uri="{BB962C8B-B14F-4D97-AF65-F5344CB8AC3E}">
        <p14:creationId xmlns:p14="http://schemas.microsoft.com/office/powerpoint/2010/main" val="22230054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ext Placeholder 102"/>
          <p:cNvSpPr>
            <a:spLocks noGrp="1"/>
          </p:cNvSpPr>
          <p:nvPr>
            <p:ph type="body" sz="quarter" idx="28"/>
          </p:nvPr>
        </p:nvSpPr>
        <p:spPr>
          <a:xfrm>
            <a:off x="4572002" y="1352141"/>
            <a:ext cx="760050" cy="258532"/>
          </a:xfrm>
        </p:spPr>
        <p:txBody>
          <a:bodyPr/>
          <a:lstStyle/>
          <a:p>
            <a:r>
              <a:rPr lang="en-US"/>
              <a:t>Lorem </a:t>
            </a:r>
            <a:r>
              <a:rPr lang="en-US" err="1"/>
              <a:t>ispum</a:t>
            </a:r>
            <a:endParaRPr lang="en-US"/>
          </a:p>
        </p:txBody>
      </p:sp>
      <p:sp>
        <p:nvSpPr>
          <p:cNvPr id="104" name="Text Placeholder 103"/>
          <p:cNvSpPr>
            <a:spLocks noGrp="1"/>
          </p:cNvSpPr>
          <p:nvPr>
            <p:ph type="body" sz="quarter" idx="29"/>
          </p:nvPr>
        </p:nvSpPr>
        <p:spPr>
          <a:xfrm>
            <a:off x="5961059" y="920777"/>
            <a:ext cx="1118877" cy="376238"/>
          </a:xfrm>
        </p:spPr>
        <p:txBody>
          <a:bodyPr/>
          <a:lstStyle/>
          <a:p>
            <a:r>
              <a:rPr lang="en-US"/>
              <a:t>30%</a:t>
            </a:r>
            <a:endParaRPr lang="en-GB"/>
          </a:p>
        </p:txBody>
      </p:sp>
      <p:sp>
        <p:nvSpPr>
          <p:cNvPr id="105" name="Text Placeholder 104"/>
          <p:cNvSpPr>
            <a:spLocks noGrp="1"/>
          </p:cNvSpPr>
          <p:nvPr>
            <p:ph type="body" sz="quarter" idx="30"/>
          </p:nvPr>
        </p:nvSpPr>
        <p:spPr>
          <a:xfrm>
            <a:off x="5961059" y="1352141"/>
            <a:ext cx="909803" cy="258532"/>
          </a:xfrm>
        </p:spPr>
        <p:txBody>
          <a:bodyPr/>
          <a:lstStyle/>
          <a:p>
            <a:r>
              <a:rPr lang="en-US"/>
              <a:t>Lorem </a:t>
            </a:r>
            <a:r>
              <a:rPr lang="en-US" err="1"/>
              <a:t>Ispum</a:t>
            </a:r>
            <a:endParaRPr lang="en-GB"/>
          </a:p>
        </p:txBody>
      </p:sp>
      <p:sp>
        <p:nvSpPr>
          <p:cNvPr id="106" name="Text Placeholder 105"/>
          <p:cNvSpPr>
            <a:spLocks noGrp="1"/>
          </p:cNvSpPr>
          <p:nvPr>
            <p:ph type="body" sz="quarter" idx="31"/>
          </p:nvPr>
        </p:nvSpPr>
        <p:spPr>
          <a:xfrm>
            <a:off x="7350117" y="920777"/>
            <a:ext cx="1118877" cy="376238"/>
          </a:xfrm>
        </p:spPr>
        <p:txBody>
          <a:bodyPr/>
          <a:lstStyle/>
          <a:p>
            <a:r>
              <a:rPr lang="en-US"/>
              <a:t>2X</a:t>
            </a:r>
            <a:endParaRPr lang="en-GB"/>
          </a:p>
        </p:txBody>
      </p:sp>
      <p:sp>
        <p:nvSpPr>
          <p:cNvPr id="107" name="Text Placeholder 106"/>
          <p:cNvSpPr>
            <a:spLocks noGrp="1"/>
          </p:cNvSpPr>
          <p:nvPr>
            <p:ph type="body" sz="quarter" idx="32"/>
          </p:nvPr>
        </p:nvSpPr>
        <p:spPr>
          <a:xfrm>
            <a:off x="7350117" y="1352141"/>
            <a:ext cx="933271" cy="258532"/>
          </a:xfrm>
        </p:spPr>
        <p:txBody>
          <a:bodyPr/>
          <a:lstStyle/>
          <a:p>
            <a:r>
              <a:rPr lang="en-US"/>
              <a:t>Lorem </a:t>
            </a:r>
            <a:r>
              <a:rPr lang="en-US" err="1"/>
              <a:t>ispum</a:t>
            </a:r>
            <a:endParaRPr lang="en-US"/>
          </a:p>
          <a:p>
            <a:endParaRPr lang="en-GB"/>
          </a:p>
        </p:txBody>
      </p:sp>
      <p:sp>
        <p:nvSpPr>
          <p:cNvPr id="102" name="Text Placeholder 101"/>
          <p:cNvSpPr>
            <a:spLocks noGrp="1"/>
          </p:cNvSpPr>
          <p:nvPr>
            <p:ph type="body" sz="quarter" idx="27"/>
          </p:nvPr>
        </p:nvSpPr>
        <p:spPr>
          <a:xfrm>
            <a:off x="4572001" y="920777"/>
            <a:ext cx="1118877" cy="376238"/>
          </a:xfrm>
        </p:spPr>
        <p:txBody>
          <a:bodyPr/>
          <a:lstStyle/>
          <a:p>
            <a:r>
              <a:rPr lang="en-US"/>
              <a:t>$1M</a:t>
            </a:r>
            <a:endParaRPr lang="en-GB"/>
          </a:p>
        </p:txBody>
      </p:sp>
      <p:sp>
        <p:nvSpPr>
          <p:cNvPr id="125" name="Text Placeholder 124"/>
          <p:cNvSpPr>
            <a:spLocks noGrp="1"/>
          </p:cNvSpPr>
          <p:nvPr>
            <p:ph type="body" sz="quarter" idx="26"/>
          </p:nvPr>
        </p:nvSpPr>
        <p:spPr/>
        <p:txBody>
          <a:bodyPr/>
          <a:lstStyle/>
          <a:p>
            <a:r>
              <a:rPr lang="en-US"/>
              <a:t>Contact: Awesome Engineer</a:t>
            </a:r>
          </a:p>
        </p:txBody>
      </p:sp>
      <p:sp>
        <p:nvSpPr>
          <p:cNvPr id="79" name="Text Placeholder 78"/>
          <p:cNvSpPr>
            <a:spLocks noGrp="1"/>
          </p:cNvSpPr>
          <p:nvPr>
            <p:ph type="body" sz="quarter" idx="34"/>
          </p:nvPr>
        </p:nvSpPr>
        <p:spPr>
          <a:xfrm>
            <a:off x="4572000" y="2308722"/>
            <a:ext cx="2213113" cy="519096"/>
          </a:xfrm>
        </p:spPr>
        <p:txBody>
          <a:bodyPr/>
          <a:lstStyle/>
          <a:p>
            <a:r>
              <a:rPr lang="en-US"/>
              <a:t>Brief description of project here</a:t>
            </a:r>
          </a:p>
        </p:txBody>
      </p:sp>
      <p:sp>
        <p:nvSpPr>
          <p:cNvPr id="80" name="Text Placeholder 79"/>
          <p:cNvSpPr>
            <a:spLocks noGrp="1"/>
          </p:cNvSpPr>
          <p:nvPr>
            <p:ph type="body" sz="quarter" idx="35"/>
          </p:nvPr>
        </p:nvSpPr>
        <p:spPr>
          <a:xfrm>
            <a:off x="4572000" y="2099150"/>
            <a:ext cx="2349182" cy="202076"/>
          </a:xfrm>
        </p:spPr>
        <p:txBody>
          <a:bodyPr/>
          <a:lstStyle/>
          <a:p>
            <a:r>
              <a:rPr lang="en-US"/>
              <a:t>Subhead</a:t>
            </a:r>
            <a:endParaRPr lang="en-GB"/>
          </a:p>
        </p:txBody>
      </p:sp>
      <p:sp>
        <p:nvSpPr>
          <p:cNvPr id="108" name="Text Placeholder 107"/>
          <p:cNvSpPr>
            <a:spLocks noGrp="1"/>
          </p:cNvSpPr>
          <p:nvPr>
            <p:ph type="body" sz="quarter" idx="36"/>
          </p:nvPr>
        </p:nvSpPr>
        <p:spPr>
          <a:xfrm>
            <a:off x="7350117" y="2301925"/>
            <a:ext cx="1118877" cy="258532"/>
          </a:xfrm>
        </p:spPr>
        <p:txBody>
          <a:bodyPr/>
          <a:lstStyle/>
          <a:p>
            <a:r>
              <a:rPr lang="en-US"/>
              <a:t>Ex: Aerospace</a:t>
            </a:r>
            <a:endParaRPr lang="en-GB"/>
          </a:p>
        </p:txBody>
      </p:sp>
      <p:sp>
        <p:nvSpPr>
          <p:cNvPr id="82" name="Text Placeholder 81"/>
          <p:cNvSpPr>
            <a:spLocks noGrp="1"/>
          </p:cNvSpPr>
          <p:nvPr>
            <p:ph type="body" sz="quarter" idx="37"/>
          </p:nvPr>
        </p:nvSpPr>
        <p:spPr>
          <a:xfrm>
            <a:off x="7350117" y="2092353"/>
            <a:ext cx="1118877" cy="202076"/>
          </a:xfrm>
        </p:spPr>
        <p:txBody>
          <a:bodyPr/>
          <a:lstStyle/>
          <a:p>
            <a:r>
              <a:rPr lang="en-US"/>
              <a:t>Subhead</a:t>
            </a:r>
            <a:endParaRPr lang="en-GB"/>
          </a:p>
        </p:txBody>
      </p:sp>
      <p:sp>
        <p:nvSpPr>
          <p:cNvPr id="109" name="Text Placeholder 108"/>
          <p:cNvSpPr>
            <a:spLocks noGrp="1"/>
          </p:cNvSpPr>
          <p:nvPr>
            <p:ph type="body" sz="quarter" idx="38"/>
          </p:nvPr>
        </p:nvSpPr>
        <p:spPr>
          <a:xfrm>
            <a:off x="4572000" y="3428056"/>
            <a:ext cx="3326296" cy="812189"/>
          </a:xfrm>
        </p:spPr>
        <p:txBody>
          <a:bodyPr numCol="2"/>
          <a:lstStyle/>
          <a:p>
            <a:r>
              <a:rPr lang="en-US"/>
              <a:t>List terms here</a:t>
            </a:r>
          </a:p>
        </p:txBody>
      </p:sp>
      <p:sp>
        <p:nvSpPr>
          <p:cNvPr id="84" name="Text Placeholder 83"/>
          <p:cNvSpPr>
            <a:spLocks noGrp="1"/>
          </p:cNvSpPr>
          <p:nvPr>
            <p:ph type="body" sz="quarter" idx="39"/>
          </p:nvPr>
        </p:nvSpPr>
        <p:spPr>
          <a:xfrm>
            <a:off x="4572000" y="3218485"/>
            <a:ext cx="2349182" cy="202076"/>
          </a:xfrm>
        </p:spPr>
        <p:txBody>
          <a:bodyPr/>
          <a:lstStyle/>
          <a:p>
            <a:r>
              <a:rPr lang="en-US"/>
              <a:t>Subhead</a:t>
            </a:r>
            <a:endParaRPr lang="en-GB"/>
          </a:p>
        </p:txBody>
      </p:sp>
      <p:sp>
        <p:nvSpPr>
          <p:cNvPr id="126" name="Text Placeholder 125"/>
          <p:cNvSpPr>
            <a:spLocks noGrp="1"/>
          </p:cNvSpPr>
          <p:nvPr>
            <p:ph type="body" sz="quarter" idx="40"/>
          </p:nvPr>
        </p:nvSpPr>
        <p:spPr>
          <a:xfrm>
            <a:off x="7350117" y="2913716"/>
            <a:ext cx="1118877" cy="258532"/>
          </a:xfrm>
        </p:spPr>
        <p:txBody>
          <a:bodyPr/>
          <a:lstStyle/>
          <a:p>
            <a:r>
              <a:rPr lang="en-US"/>
              <a:t>Ex: Scientific</a:t>
            </a:r>
            <a:endParaRPr lang="en-GB"/>
          </a:p>
        </p:txBody>
      </p:sp>
      <p:sp>
        <p:nvSpPr>
          <p:cNvPr id="127" name="Text Placeholder 126"/>
          <p:cNvSpPr>
            <a:spLocks noGrp="1"/>
          </p:cNvSpPr>
          <p:nvPr>
            <p:ph type="body" sz="quarter" idx="41"/>
          </p:nvPr>
        </p:nvSpPr>
        <p:spPr>
          <a:xfrm>
            <a:off x="7350117" y="2704144"/>
            <a:ext cx="1118877" cy="202076"/>
          </a:xfrm>
        </p:spPr>
        <p:txBody>
          <a:bodyPr/>
          <a:lstStyle/>
          <a:p>
            <a:r>
              <a:rPr lang="en-US"/>
              <a:t>Subhead</a:t>
            </a:r>
            <a:endParaRPr lang="en-GB"/>
          </a:p>
        </p:txBody>
      </p:sp>
      <p:sp>
        <p:nvSpPr>
          <p:cNvPr id="53" name="Text Placeholder 52"/>
          <p:cNvSpPr>
            <a:spLocks noGrp="1"/>
          </p:cNvSpPr>
          <p:nvPr>
            <p:ph type="body" sz="quarter" idx="33"/>
          </p:nvPr>
        </p:nvSpPr>
        <p:spPr>
          <a:xfrm>
            <a:off x="464494" y="1738594"/>
            <a:ext cx="3186756" cy="1704412"/>
          </a:xfrm>
        </p:spPr>
        <p:txBody>
          <a:bodyPr/>
          <a:lstStyle/>
          <a:p>
            <a:r>
              <a:rPr lang="en-US">
                <a:solidFill>
                  <a:schemeClr val="tx1"/>
                </a:solidFill>
              </a:rPr>
              <a:t>Use this space to provide a concise overview of the project. Summarize what you did and why it was so impactful. </a:t>
            </a:r>
          </a:p>
        </p:txBody>
      </p:sp>
      <p:sp>
        <p:nvSpPr>
          <p:cNvPr id="78" name="Text Placeholder 77"/>
          <p:cNvSpPr>
            <a:spLocks noGrp="1"/>
          </p:cNvSpPr>
          <p:nvPr>
            <p:ph type="body" sz="quarter" idx="11"/>
          </p:nvPr>
        </p:nvSpPr>
        <p:spPr>
          <a:xfrm>
            <a:off x="464493" y="438150"/>
            <a:ext cx="3837326" cy="1257300"/>
          </a:xfrm>
        </p:spPr>
        <p:txBody>
          <a:bodyPr/>
          <a:lstStyle/>
          <a:p>
            <a:r>
              <a:rPr lang="en-US">
                <a:solidFill>
                  <a:schemeClr val="accent1"/>
                </a:solidFill>
              </a:rPr>
              <a:t>Compelling headline that makes people want to read more </a:t>
            </a:r>
          </a:p>
        </p:txBody>
      </p:sp>
      <p:sp>
        <p:nvSpPr>
          <p:cNvPr id="2" name="Rectangle 1"/>
          <p:cNvSpPr/>
          <p:nvPr/>
        </p:nvSpPr>
        <p:spPr>
          <a:xfrm>
            <a:off x="4572000" y="681990"/>
            <a:ext cx="4114800" cy="80963"/>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rgbClr val="EDBD97"/>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249255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916" y="754040"/>
            <a:ext cx="4401205" cy="889000"/>
          </a:xfrm>
        </p:spPr>
        <p:txBody>
          <a:bodyPr/>
          <a:lstStyle/>
          <a:p>
            <a:r>
              <a:rPr lang="en-US" spc="0">
                <a:solidFill>
                  <a:schemeClr val="accent1"/>
                </a:solidFill>
              </a:rPr>
              <a:t>Here’s another </a:t>
            </a:r>
            <a:br>
              <a:rPr lang="en-US" spc="0">
                <a:solidFill>
                  <a:schemeClr val="accent1"/>
                </a:solidFill>
              </a:rPr>
            </a:br>
            <a:r>
              <a:rPr lang="en-US" spc="0">
                <a:solidFill>
                  <a:schemeClr val="accent1"/>
                </a:solidFill>
              </a:rPr>
              <a:t>section divider</a:t>
            </a:r>
          </a:p>
        </p:txBody>
      </p:sp>
      <p:sp>
        <p:nvSpPr>
          <p:cNvPr id="3" name="Text Placeholder 2"/>
          <p:cNvSpPr>
            <a:spLocks noGrp="1"/>
          </p:cNvSpPr>
          <p:nvPr>
            <p:ph type="body" sz="quarter" idx="16"/>
          </p:nvPr>
        </p:nvSpPr>
        <p:spPr>
          <a:xfrm>
            <a:off x="461010" y="1736534"/>
            <a:ext cx="2516233" cy="671512"/>
          </a:xfrm>
        </p:spPr>
        <p:txBody>
          <a:bodyPr/>
          <a:lstStyle/>
          <a:p>
            <a:r>
              <a:rPr lang="en-US">
                <a:solidFill>
                  <a:schemeClr val="tx1"/>
                </a:solidFill>
              </a:rPr>
              <a:t>You can also use this for a title slide. </a:t>
            </a:r>
          </a:p>
        </p:txBody>
      </p:sp>
      <p:sp>
        <p:nvSpPr>
          <p:cNvPr id="5" name="Rectangle 4">
            <a:hlinkClick r:id="rId3"/>
          </p:cNvPr>
          <p:cNvSpPr/>
          <p:nvPr/>
        </p:nvSpPr>
        <p:spPr>
          <a:xfrm>
            <a:off x="3950473" y="2915728"/>
            <a:ext cx="908649" cy="3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7"/>
          </p:nvPr>
        </p:nvSpPr>
        <p:spPr/>
        <p:txBody>
          <a:bodyPr/>
          <a:lstStyle/>
          <a:p>
            <a:endParaRPr lang="en-GB"/>
          </a:p>
        </p:txBody>
      </p:sp>
      <p:sp>
        <p:nvSpPr>
          <p:cNvPr id="4" name="TextBox 3">
            <a:extLst>
              <a:ext uri="{FF2B5EF4-FFF2-40B4-BE49-F238E27FC236}">
                <a16:creationId xmlns:a16="http://schemas.microsoft.com/office/drawing/2014/main" id="{B855F3C5-2E83-3E49-A5AA-9F30B51285FA}"/>
              </a:ext>
            </a:extLst>
          </p:cNvPr>
          <p:cNvSpPr txBox="1"/>
          <p:nvPr/>
        </p:nvSpPr>
        <p:spPr>
          <a:xfrm>
            <a:off x="7499758" y="1132514"/>
            <a:ext cx="0" cy="0"/>
          </a:xfrm>
          <a:prstGeom prst="rect">
            <a:avLst/>
          </a:prstGeom>
          <a:noFill/>
        </p:spPr>
        <p:txBody>
          <a:bodyPr wrap="none" rtlCol="0">
            <a:noAutofit/>
          </a:bodyPr>
          <a:lstStyle/>
          <a:p>
            <a:pPr>
              <a:spcBef>
                <a:spcPts val="750"/>
              </a:spcBef>
              <a:buClr>
                <a:schemeClr val="accent2"/>
              </a:buClr>
              <a:buSzPct val="100000"/>
            </a:pPr>
            <a:endParaRPr lang="en-US" sz="1400" err="1">
              <a:solidFill>
                <a:schemeClr val="accent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F87EC16-B1D7-804A-A87B-C1EE011FE95B}"/>
              </a:ext>
            </a:extLst>
          </p:cNvPr>
          <p:cNvSpPr txBox="1"/>
          <p:nvPr/>
        </p:nvSpPr>
        <p:spPr>
          <a:xfrm>
            <a:off x="8590327" y="570451"/>
            <a:ext cx="0" cy="0"/>
          </a:xfrm>
          <a:prstGeom prst="rect">
            <a:avLst/>
          </a:prstGeom>
          <a:noFill/>
        </p:spPr>
        <p:txBody>
          <a:bodyPr wrap="none" rtlCol="0">
            <a:noAutofit/>
          </a:bodyPr>
          <a:lstStyle/>
          <a:p>
            <a:pPr>
              <a:spcBef>
                <a:spcPts val="750"/>
              </a:spcBef>
              <a:buClr>
                <a:schemeClr val="accent2"/>
              </a:buClr>
              <a:buSzPct val="100000"/>
            </a:pPr>
            <a:endParaRPr lang="en-US" sz="1400" err="1">
              <a:solidFill>
                <a:schemeClr val="accent4"/>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EF619153-C1E5-F2EE-5AE2-82763E2933E5}"/>
              </a:ext>
            </a:extLst>
          </p:cNvPr>
          <p:cNvSpPr txBox="1"/>
          <p:nvPr/>
        </p:nvSpPr>
        <p:spPr>
          <a:xfrm>
            <a:off x="8817429" y="182880"/>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5C68FDD2-1F67-3D60-8BCD-69D45F521C25}"/>
              </a:ext>
            </a:extLst>
          </p:cNvPr>
          <p:cNvSpPr txBox="1"/>
          <p:nvPr/>
        </p:nvSpPr>
        <p:spPr>
          <a:xfrm>
            <a:off x="8765177" y="339634"/>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269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90514"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a:solidFill>
                  <a:schemeClr val="accent1"/>
                </a:solidFill>
                <a:latin typeface="Arial" panose="020B0604020202020204" pitchFamily="34" charset="0"/>
                <a:cs typeface="Arial" panose="020B0604020202020204" pitchFamily="34" charset="0"/>
              </a:rPr>
              <a:t>Subhead</a:t>
            </a:r>
          </a:p>
        </p:txBody>
      </p:sp>
      <p:sp>
        <p:nvSpPr>
          <p:cNvPr id="21" name="TextBox 20"/>
          <p:cNvSpPr txBox="1"/>
          <p:nvPr/>
        </p:nvSpPr>
        <p:spPr>
          <a:xfrm>
            <a:off x="390513" y="1044753"/>
            <a:ext cx="2577353" cy="2945437"/>
          </a:xfrm>
          <a:prstGeom prst="rect">
            <a:avLst/>
          </a:prstGeom>
          <a:noFill/>
        </p:spPr>
        <p:txBody>
          <a:bodyPr wrap="square" rtlCol="0">
            <a:noAutofit/>
          </a:bodyPr>
          <a:lstStyle/>
          <a:p>
            <a:pPr algn="l"/>
            <a:r>
              <a:rPr lang="en-US" sz="1000" b="0" i="0" u="none" strike="noStrike">
                <a:solidFill>
                  <a:srgbClr val="000000"/>
                </a:solidFill>
                <a:effectLst/>
                <a:latin typeface="Arial" panose="020B0604020202020204" pitchFamily="34" charset="0"/>
                <a:cs typeface="Arial" panose="020B0604020202020204" pitchFamily="34" charset="0"/>
              </a:rPr>
              <a:t>Lorem ipsum dolor sit </a:t>
            </a:r>
            <a:r>
              <a:rPr lang="en-US" sz="1000" b="0" i="0" u="none" strike="noStrike" err="1">
                <a:solidFill>
                  <a:srgbClr val="000000"/>
                </a:solidFill>
                <a:effectLst/>
                <a:latin typeface="Arial" panose="020B0604020202020204" pitchFamily="34" charset="0"/>
                <a:cs typeface="Arial" panose="020B0604020202020204" pitchFamily="34" charset="0"/>
              </a:rPr>
              <a:t>am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cte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dipiscing</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li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uspendiss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estie</a:t>
            </a:r>
            <a:r>
              <a:rPr lang="en-US" sz="1000" b="0" i="0" u="none" strike="noStrike">
                <a:solidFill>
                  <a:srgbClr val="000000"/>
                </a:solidFill>
                <a:effectLst/>
                <a:latin typeface="Arial" panose="020B0604020202020204" pitchFamily="34" charset="0"/>
                <a:cs typeface="Arial" panose="020B0604020202020204" pitchFamily="34" charset="0"/>
              </a:rPr>
              <a:t> ex, vel semper </a:t>
            </a:r>
            <a:r>
              <a:rPr lang="en-US" sz="1000" b="0" i="0" u="none" strike="noStrike" err="1">
                <a:solidFill>
                  <a:srgbClr val="000000"/>
                </a:solidFill>
                <a:effectLst/>
                <a:latin typeface="Arial" panose="020B0604020202020204" pitchFamily="34" charset="0"/>
                <a:cs typeface="Arial" panose="020B0604020202020204" pitchFamily="34" charset="0"/>
              </a:rPr>
              <a:t>nibh</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lis</a:t>
            </a:r>
            <a:r>
              <a:rPr lang="en-US" sz="1000" b="0" i="0" u="none" strike="noStrike">
                <a:solidFill>
                  <a:srgbClr val="000000"/>
                </a:solidFill>
                <a:effectLst/>
                <a:latin typeface="Arial" panose="020B0604020202020204" pitchFamily="34" charset="0"/>
                <a:cs typeface="Arial" panose="020B0604020202020204" pitchFamily="34" charset="0"/>
              </a:rPr>
              <a:t> vel. Cras </a:t>
            </a:r>
            <a:r>
              <a:rPr lang="en-US" sz="1000" b="0" i="0" u="none" strike="noStrike" err="1">
                <a:solidFill>
                  <a:srgbClr val="000000"/>
                </a:solidFill>
                <a:effectLst/>
                <a:latin typeface="Arial" panose="020B0604020202020204" pitchFamily="34" charset="0"/>
                <a:cs typeface="Arial" panose="020B0604020202020204" pitchFamily="34" charset="0"/>
              </a:rPr>
              <a:t>tempor</a:t>
            </a:r>
            <a:r>
              <a:rPr lang="en-US" sz="1000" b="0" i="0" u="none" strike="noStrike">
                <a:solidFill>
                  <a:srgbClr val="000000"/>
                </a:solidFill>
                <a:effectLst/>
                <a:latin typeface="Arial" panose="020B0604020202020204" pitchFamily="34" charset="0"/>
                <a:cs typeface="Arial" panose="020B0604020202020204" pitchFamily="34" charset="0"/>
              </a:rPr>
              <a:t> cursus ante id </a:t>
            </a:r>
            <a:r>
              <a:rPr lang="en-US" sz="1000" b="0" i="0" u="none" strike="noStrike" err="1">
                <a:solidFill>
                  <a:srgbClr val="000000"/>
                </a:solidFill>
                <a:effectLst/>
                <a:latin typeface="Arial" panose="020B0604020202020204" pitchFamily="34" charset="0"/>
                <a:cs typeface="Arial" panose="020B0604020202020204" pitchFamily="34" charset="0"/>
              </a:rPr>
              <a:t>vari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urabi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elit</a:t>
            </a:r>
            <a:r>
              <a:rPr lang="en-US" sz="1000" b="0" i="0" u="none" strike="noStrike">
                <a:solidFill>
                  <a:srgbClr val="000000"/>
                </a:solidFill>
                <a:effectLst/>
                <a:latin typeface="Arial" panose="020B0604020202020204" pitchFamily="34" charset="0"/>
                <a:cs typeface="Arial" panose="020B0604020202020204" pitchFamily="34" charset="0"/>
              </a:rPr>
              <a:t> at </a:t>
            </a:r>
            <a:r>
              <a:rPr lang="en-US" sz="1000" b="0" i="0" u="none" strike="noStrike" err="1">
                <a:solidFill>
                  <a:srgbClr val="000000"/>
                </a:solidFill>
                <a:effectLst/>
                <a:latin typeface="Arial" panose="020B0604020202020204" pitchFamily="34" charset="0"/>
                <a:cs typeface="Arial" panose="020B0604020202020204" pitchFamily="34" charset="0"/>
              </a:rPr>
              <a:t>sodale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posuer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odio</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nequ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a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ass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g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felis</a:t>
            </a:r>
            <a:r>
              <a:rPr lang="en-US" sz="1000" b="0" i="0" u="none" strike="noStrike">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a:solidFill>
                <a:srgbClr val="000000"/>
              </a:solidFill>
              <a:effectLst/>
              <a:latin typeface="Arial" panose="020B0604020202020204" pitchFamily="34" charset="0"/>
              <a:cs typeface="Arial" panose="020B0604020202020204" pitchFamily="34" charset="0"/>
            </a:endParaRPr>
          </a:p>
          <a:p>
            <a:pPr algn="just"/>
            <a:r>
              <a:rPr lang="en-US" sz="1000" b="0" i="0" u="none" strike="noStrike">
                <a:solidFill>
                  <a:srgbClr val="000000"/>
                </a:solidFill>
                <a:effectLst/>
                <a:latin typeface="Arial" panose="020B0604020202020204" pitchFamily="34" charset="0"/>
                <a:cs typeface="Arial" panose="020B0604020202020204" pitchFamily="34" charset="0"/>
              </a:rPr>
              <a:t>Ut </a:t>
            </a:r>
            <a:r>
              <a:rPr lang="en-US" sz="1000" b="0" i="0" u="none" strike="noStrike" err="1">
                <a:solidFill>
                  <a:srgbClr val="000000"/>
                </a:solidFill>
                <a:effectLst/>
                <a:latin typeface="Arial" panose="020B0604020202020204" pitchFamily="34" charset="0"/>
                <a:cs typeface="Arial" panose="020B0604020202020204" pitchFamily="34" charset="0"/>
              </a:rPr>
              <a:t>quis</a:t>
            </a:r>
            <a:r>
              <a:rPr lang="en-US" sz="1000" b="0" i="0" u="none" strike="noStrike">
                <a:solidFill>
                  <a:srgbClr val="000000"/>
                </a:solidFill>
                <a:effectLst/>
                <a:latin typeface="Arial" panose="020B0604020202020204" pitchFamily="34" charset="0"/>
                <a:cs typeface="Arial" panose="020B0604020202020204" pitchFamily="34" charset="0"/>
              </a:rPr>
              <a:t> magna </a:t>
            </a:r>
            <a:r>
              <a:rPr lang="en-US" sz="1000" b="0" i="0" u="none" strike="noStrike" err="1">
                <a:solidFill>
                  <a:srgbClr val="000000"/>
                </a:solidFill>
                <a:effectLst/>
                <a:latin typeface="Arial" panose="020B0604020202020204" pitchFamily="34" charset="0"/>
                <a:cs typeface="Arial" panose="020B0604020202020204" pitchFamily="34" charset="0"/>
              </a:rPr>
              <a:t>vehicul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rutru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lect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u</a:t>
            </a:r>
            <a:r>
              <a:rPr lang="en-US" sz="1000" b="0" i="0" u="none" strike="noStrike">
                <a:solidFill>
                  <a:srgbClr val="000000"/>
                </a:solidFill>
                <a:effectLst/>
                <a:latin typeface="Arial" panose="020B0604020202020204" pitchFamily="34" charset="0"/>
                <a:cs typeface="Arial" panose="020B0604020202020204" pitchFamily="34" charset="0"/>
              </a:rPr>
              <a:t>, lacinia ipsum. </a:t>
            </a:r>
            <a:r>
              <a:rPr lang="en-US" sz="1000" b="0" i="0" u="none" strike="noStrike" err="1">
                <a:solidFill>
                  <a:srgbClr val="000000"/>
                </a:solidFill>
                <a:effectLst/>
                <a:latin typeface="Arial" panose="020B0604020202020204" pitchFamily="34" charset="0"/>
                <a:cs typeface="Arial" panose="020B0604020202020204" pitchFamily="34" charset="0"/>
              </a:rPr>
              <a:t>Suspendiss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ffici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et</a:t>
            </a:r>
            <a:r>
              <a:rPr lang="en-US" sz="1000" b="0" i="0" u="none" strike="noStrike">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err="1">
                <a:solidFill>
                  <a:srgbClr val="000000"/>
                </a:solidFill>
                <a:effectLst/>
                <a:latin typeface="Arial" panose="020B0604020202020204" pitchFamily="34" charset="0"/>
                <a:cs typeface="Arial" panose="020B0604020202020204" pitchFamily="34" charset="0"/>
              </a:rPr>
              <a:t>se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dapib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attis</a:t>
            </a:r>
            <a:r>
              <a:rPr lang="en-US" sz="1000" b="0" i="0" u="none" strike="noStrike">
                <a:solidFill>
                  <a:srgbClr val="000000"/>
                </a:solidFill>
                <a:effectLst/>
                <a:latin typeface="Arial" panose="020B0604020202020204" pitchFamily="34" charset="0"/>
                <a:cs typeface="Arial" panose="020B0604020202020204" pitchFamily="34" charset="0"/>
              </a:rPr>
              <a:t> mi a,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nibh</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a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esti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rat</a:t>
            </a:r>
            <a:r>
              <a:rPr lang="en-US" sz="1000" b="0" i="0" u="none" strike="noStrike">
                <a:solidFill>
                  <a:srgbClr val="000000"/>
                </a:solidFill>
                <a:effectLst/>
                <a:latin typeface="Arial" panose="020B0604020202020204" pitchFamily="34" charset="0"/>
                <a:cs typeface="Arial" panose="020B0604020202020204" pitchFamily="34" charset="0"/>
              </a:rPr>
              <a:t> et ex pharetra </a:t>
            </a:r>
            <a:r>
              <a:rPr lang="en-US" sz="1000" b="0" i="0" u="none" strike="noStrike" err="1">
                <a:solidFill>
                  <a:srgbClr val="000000"/>
                </a:solidFill>
                <a:effectLst/>
                <a:latin typeface="Arial" panose="020B0604020202020204" pitchFamily="34" charset="0"/>
                <a:cs typeface="Arial" panose="020B0604020202020204" pitchFamily="34" charset="0"/>
              </a:rPr>
              <a:t>porttitor</a:t>
            </a:r>
            <a:r>
              <a:rPr lang="en-US" sz="1000" b="0" i="0" u="none" strike="noStrike">
                <a:solidFill>
                  <a:srgbClr val="000000"/>
                </a:solidFill>
                <a:effectLst/>
                <a:latin typeface="Arial" panose="020B0604020202020204" pitchFamily="34" charset="0"/>
                <a:cs typeface="Arial" panose="020B0604020202020204" pitchFamily="34" charset="0"/>
              </a:rPr>
              <a:t>.</a:t>
            </a:r>
          </a:p>
          <a:p>
            <a:pPr algn="just"/>
            <a:endParaRPr lang="en-US" sz="1000">
              <a:solidFill>
                <a:srgbClr val="000000"/>
              </a:solidFill>
              <a:latin typeface="Arial" panose="020B0604020202020204" pitchFamily="34" charset="0"/>
              <a:cs typeface="Arial" panose="020B0604020202020204" pitchFamily="34" charset="0"/>
            </a:endParaRPr>
          </a:p>
          <a:p>
            <a:pPr algn="just"/>
            <a:r>
              <a:rPr lang="en-US" sz="1000" b="0" i="0" u="none" strike="noStrike">
                <a:solidFill>
                  <a:srgbClr val="000000"/>
                </a:solidFill>
                <a:effectLst/>
                <a:latin typeface="Arial" panose="020B0604020202020204" pitchFamily="34" charset="0"/>
                <a:cs typeface="Arial" panose="020B0604020202020204" pitchFamily="34" charset="0"/>
              </a:rPr>
              <a:t>Morbi </a:t>
            </a:r>
            <a:r>
              <a:rPr lang="en-US" sz="1000" b="0" i="0" u="none" strike="noStrike" err="1">
                <a:solidFill>
                  <a:srgbClr val="000000"/>
                </a:solidFill>
                <a:effectLst/>
                <a:latin typeface="Arial" panose="020B0604020202020204" pitchFamily="34" charset="0"/>
                <a:cs typeface="Arial" panose="020B0604020202020204" pitchFamily="34" charset="0"/>
              </a:rPr>
              <a:t>rhonc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ugue</a:t>
            </a:r>
            <a:r>
              <a:rPr lang="en-US" sz="1000" b="0" i="0" u="none" strike="noStrike">
                <a:solidFill>
                  <a:srgbClr val="000000"/>
                </a:solidFill>
                <a:effectLst/>
                <a:latin typeface="Arial" panose="020B0604020202020204" pitchFamily="34" charset="0"/>
                <a:cs typeface="Arial" panose="020B0604020202020204" pitchFamily="34" charset="0"/>
              </a:rPr>
              <a:t>, sed </a:t>
            </a:r>
            <a:r>
              <a:rPr lang="en-US" sz="1000" b="0" i="0" u="none" strike="noStrike" err="1">
                <a:solidFill>
                  <a:srgbClr val="000000"/>
                </a:solidFill>
                <a:effectLst/>
                <a:latin typeface="Arial" panose="020B0604020202020204" pitchFamily="34" charset="0"/>
                <a:cs typeface="Arial" panose="020B0604020202020204" pitchFamily="34" charset="0"/>
              </a:rPr>
              <a:t>placer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s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agittis</a:t>
            </a:r>
            <a:r>
              <a:rPr lang="en-US" sz="1000" b="0" i="0" u="none" strike="noStrike">
                <a:solidFill>
                  <a:srgbClr val="000000"/>
                </a:solidFill>
                <a:effectLst/>
                <a:latin typeface="Arial" panose="020B0604020202020204" pitchFamily="34" charset="0"/>
                <a:cs typeface="Arial" panose="020B0604020202020204" pitchFamily="34" charset="0"/>
              </a:rPr>
              <a:t> et. Sed </a:t>
            </a:r>
            <a:r>
              <a:rPr lang="en-US" sz="1000" b="0" i="0" u="none" strike="noStrike" err="1">
                <a:solidFill>
                  <a:srgbClr val="000000"/>
                </a:solidFill>
                <a:effectLst/>
                <a:latin typeface="Arial" panose="020B0604020202020204" pitchFamily="34" charset="0"/>
                <a:cs typeface="Arial" panose="020B0604020202020204" pitchFamily="34" charset="0"/>
              </a:rPr>
              <a:t>tristique</a:t>
            </a:r>
            <a:r>
              <a:rPr lang="en-US" sz="1000" b="0" i="0" u="none" strike="noStrike">
                <a:solidFill>
                  <a:srgbClr val="000000"/>
                </a:solidFill>
                <a:effectLst/>
                <a:latin typeface="Arial" panose="020B0604020202020204" pitchFamily="34" charset="0"/>
                <a:cs typeface="Arial" panose="020B0604020202020204" pitchFamily="34" charset="0"/>
              </a:rPr>
              <a:t>, dolor </a:t>
            </a:r>
            <a:r>
              <a:rPr lang="en-US" sz="1000" b="0" i="0" u="none" strike="noStrike" err="1">
                <a:solidFill>
                  <a:srgbClr val="000000"/>
                </a:solidFill>
                <a:effectLst/>
                <a:latin typeface="Arial" panose="020B0604020202020204" pitchFamily="34" charset="0"/>
                <a:cs typeface="Arial" panose="020B0604020202020204" pitchFamily="34" charset="0"/>
              </a:rPr>
              <a:t>eg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tempo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celerisqu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odio</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r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nisi, sit </a:t>
            </a:r>
            <a:r>
              <a:rPr lang="en-US" sz="1000" b="0" i="0" u="none" strike="noStrike" err="1">
                <a:solidFill>
                  <a:srgbClr val="000000"/>
                </a:solidFill>
                <a:effectLst/>
                <a:latin typeface="Arial" panose="020B0604020202020204" pitchFamily="34" charset="0"/>
                <a:cs typeface="Arial" panose="020B0604020202020204" pitchFamily="34" charset="0"/>
              </a:rPr>
              <a:t>am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lis</a:t>
            </a:r>
            <a:r>
              <a:rPr lang="en-US" sz="1000" b="0" i="0" u="none" strike="noStrike">
                <a:solidFill>
                  <a:srgbClr val="000000"/>
                </a:solidFill>
                <a:effectLst/>
                <a:latin typeface="Arial" panose="020B0604020202020204" pitchFamily="34" charset="0"/>
                <a:cs typeface="Arial" panose="020B0604020202020204" pitchFamily="34" charset="0"/>
              </a:rPr>
              <a:t> mi </a:t>
            </a:r>
            <a:r>
              <a:rPr lang="en-US" sz="1000" b="0" i="0" u="none" strike="noStrike" err="1">
                <a:solidFill>
                  <a:srgbClr val="000000"/>
                </a:solidFill>
                <a:effectLst/>
                <a:latin typeface="Arial" panose="020B0604020202020204" pitchFamily="34" charset="0"/>
                <a:cs typeface="Arial" panose="020B0604020202020204" pitchFamily="34" charset="0"/>
              </a:rPr>
              <a:t>massa</a:t>
            </a:r>
            <a:r>
              <a:rPr lang="en-US" sz="1000" b="0" i="0" u="none" strike="noStrike">
                <a:solidFill>
                  <a:srgbClr val="000000"/>
                </a:solidFill>
                <a:effectLst/>
                <a:latin typeface="Arial" panose="020B0604020202020204" pitchFamily="34" charset="0"/>
                <a:cs typeface="Arial" panose="020B0604020202020204" pitchFamily="34" charset="0"/>
              </a:rPr>
              <a:t> a </a:t>
            </a:r>
            <a:r>
              <a:rPr lang="en-US" sz="1000" b="0" i="0" u="none" strike="noStrike" err="1">
                <a:solidFill>
                  <a:srgbClr val="000000"/>
                </a:solidFill>
                <a:effectLst/>
                <a:latin typeface="Arial" panose="020B0604020202020204" pitchFamily="34" charset="0"/>
                <a:cs typeface="Arial" panose="020B0604020202020204" pitchFamily="34" charset="0"/>
              </a:rPr>
              <a:t>turpis</a:t>
            </a:r>
            <a:r>
              <a:rPr lang="en-US" sz="1000" b="0" i="0" u="none" strike="noStrike">
                <a:solidFill>
                  <a:srgbClr val="000000"/>
                </a:solidFill>
                <a:effectLst/>
                <a:latin typeface="Arial" panose="020B0604020202020204" pitchFamily="34" charset="0"/>
                <a:cs typeface="Arial" panose="020B0604020202020204" pitchFamily="34" charset="0"/>
              </a:rPr>
              <a:t>. </a:t>
            </a:r>
          </a:p>
        </p:txBody>
      </p:sp>
      <p:sp>
        <p:nvSpPr>
          <p:cNvPr id="22" name="TextBox 21"/>
          <p:cNvSpPr txBox="1"/>
          <p:nvPr/>
        </p:nvSpPr>
        <p:spPr>
          <a:xfrm>
            <a:off x="3280237"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a:solidFill>
                  <a:schemeClr val="accent1"/>
                </a:solidFill>
                <a:latin typeface="Arial" panose="020B0604020202020204" pitchFamily="34" charset="0"/>
                <a:cs typeface="Arial" panose="020B0604020202020204" pitchFamily="34" charset="0"/>
              </a:rPr>
              <a:t>Subhead</a:t>
            </a:r>
          </a:p>
        </p:txBody>
      </p:sp>
      <p:sp>
        <p:nvSpPr>
          <p:cNvPr id="23" name="TextBox 22"/>
          <p:cNvSpPr txBox="1"/>
          <p:nvPr/>
        </p:nvSpPr>
        <p:spPr>
          <a:xfrm>
            <a:off x="3280236" y="1044754"/>
            <a:ext cx="2577353" cy="2922124"/>
          </a:xfrm>
          <a:prstGeom prst="rect">
            <a:avLst/>
          </a:prstGeom>
          <a:noFill/>
        </p:spPr>
        <p:txBody>
          <a:bodyPr wrap="square" rtlCol="0">
            <a:noAutofit/>
          </a:bodyPr>
          <a:lstStyle/>
          <a:p>
            <a:pPr algn="l"/>
            <a:r>
              <a:rPr lang="en-US" sz="1000" b="0" i="0" u="none" strike="noStrike">
                <a:solidFill>
                  <a:srgbClr val="000000"/>
                </a:solidFill>
                <a:effectLst/>
                <a:latin typeface="Arial" panose="020B0604020202020204" pitchFamily="34" charset="0"/>
                <a:cs typeface="Arial" panose="020B0604020202020204" pitchFamily="34" charset="0"/>
              </a:rPr>
              <a:t>Lorem ipsum dolor sit </a:t>
            </a:r>
            <a:r>
              <a:rPr lang="en-US" sz="1000" b="0" i="0" u="none" strike="noStrike" err="1">
                <a:solidFill>
                  <a:srgbClr val="000000"/>
                </a:solidFill>
                <a:effectLst/>
                <a:latin typeface="Arial" panose="020B0604020202020204" pitchFamily="34" charset="0"/>
                <a:cs typeface="Arial" panose="020B0604020202020204" pitchFamily="34" charset="0"/>
              </a:rPr>
              <a:t>am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cte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dipiscing</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li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uspendiss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estie</a:t>
            </a:r>
            <a:r>
              <a:rPr lang="en-US" sz="1000" b="0" i="0" u="none" strike="noStrike">
                <a:solidFill>
                  <a:srgbClr val="000000"/>
                </a:solidFill>
                <a:effectLst/>
                <a:latin typeface="Arial" panose="020B0604020202020204" pitchFamily="34" charset="0"/>
                <a:cs typeface="Arial" panose="020B0604020202020204" pitchFamily="34" charset="0"/>
              </a:rPr>
              <a:t> ex, vel semper </a:t>
            </a:r>
            <a:r>
              <a:rPr lang="en-US" sz="1000" b="0" i="0" u="none" strike="noStrike" err="1">
                <a:solidFill>
                  <a:srgbClr val="000000"/>
                </a:solidFill>
                <a:effectLst/>
                <a:latin typeface="Arial" panose="020B0604020202020204" pitchFamily="34" charset="0"/>
                <a:cs typeface="Arial" panose="020B0604020202020204" pitchFamily="34" charset="0"/>
              </a:rPr>
              <a:t>nibh</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lis</a:t>
            </a:r>
            <a:r>
              <a:rPr lang="en-US" sz="1000" b="0" i="0" u="none" strike="noStrike">
                <a:solidFill>
                  <a:srgbClr val="000000"/>
                </a:solidFill>
                <a:effectLst/>
                <a:latin typeface="Arial" panose="020B0604020202020204" pitchFamily="34" charset="0"/>
                <a:cs typeface="Arial" panose="020B0604020202020204" pitchFamily="34" charset="0"/>
              </a:rPr>
              <a:t> vel. Cras </a:t>
            </a:r>
            <a:r>
              <a:rPr lang="en-US" sz="1000" b="0" i="0" u="none" strike="noStrike" err="1">
                <a:solidFill>
                  <a:srgbClr val="000000"/>
                </a:solidFill>
                <a:effectLst/>
                <a:latin typeface="Arial" panose="020B0604020202020204" pitchFamily="34" charset="0"/>
                <a:cs typeface="Arial" panose="020B0604020202020204" pitchFamily="34" charset="0"/>
              </a:rPr>
              <a:t>tempor</a:t>
            </a:r>
            <a:r>
              <a:rPr lang="en-US" sz="1000" b="0" i="0" u="none" strike="noStrike">
                <a:solidFill>
                  <a:srgbClr val="000000"/>
                </a:solidFill>
                <a:effectLst/>
                <a:latin typeface="Arial" panose="020B0604020202020204" pitchFamily="34" charset="0"/>
                <a:cs typeface="Arial" panose="020B0604020202020204" pitchFamily="34" charset="0"/>
              </a:rPr>
              <a:t> cursus ante id </a:t>
            </a:r>
            <a:r>
              <a:rPr lang="en-US" sz="1000" b="0" i="0" u="none" strike="noStrike" err="1">
                <a:solidFill>
                  <a:srgbClr val="000000"/>
                </a:solidFill>
                <a:effectLst/>
                <a:latin typeface="Arial" panose="020B0604020202020204" pitchFamily="34" charset="0"/>
                <a:cs typeface="Arial" panose="020B0604020202020204" pitchFamily="34" charset="0"/>
              </a:rPr>
              <a:t>vari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urabi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elit</a:t>
            </a:r>
            <a:r>
              <a:rPr lang="en-US" sz="1000" b="0" i="0" u="none" strike="noStrike">
                <a:solidFill>
                  <a:srgbClr val="000000"/>
                </a:solidFill>
                <a:effectLst/>
                <a:latin typeface="Arial" panose="020B0604020202020204" pitchFamily="34" charset="0"/>
                <a:cs typeface="Arial" panose="020B0604020202020204" pitchFamily="34" charset="0"/>
              </a:rPr>
              <a:t> at </a:t>
            </a:r>
            <a:r>
              <a:rPr lang="en-US" sz="1000" b="0" i="0" u="none" strike="noStrike" err="1">
                <a:solidFill>
                  <a:srgbClr val="000000"/>
                </a:solidFill>
                <a:effectLst/>
                <a:latin typeface="Arial" panose="020B0604020202020204" pitchFamily="34" charset="0"/>
                <a:cs typeface="Arial" panose="020B0604020202020204" pitchFamily="34" charset="0"/>
              </a:rPr>
              <a:t>sodale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posuer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odio</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nequ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a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ass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g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felis</a:t>
            </a:r>
            <a:r>
              <a:rPr lang="en-US" sz="1000" b="0" i="0" u="none" strike="noStrike">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a:solidFill>
                <a:srgbClr val="000000"/>
              </a:solidFill>
              <a:effectLst/>
              <a:latin typeface="Arial" panose="020B0604020202020204" pitchFamily="34" charset="0"/>
              <a:cs typeface="Arial" panose="020B0604020202020204" pitchFamily="34" charset="0"/>
            </a:endParaRPr>
          </a:p>
          <a:p>
            <a:pPr algn="just"/>
            <a:r>
              <a:rPr lang="en-US" sz="1000" b="0" i="0" u="none" strike="noStrike">
                <a:solidFill>
                  <a:srgbClr val="000000"/>
                </a:solidFill>
                <a:effectLst/>
                <a:latin typeface="Arial" panose="020B0604020202020204" pitchFamily="34" charset="0"/>
                <a:cs typeface="Arial" panose="020B0604020202020204" pitchFamily="34" charset="0"/>
              </a:rPr>
              <a:t>Ut </a:t>
            </a:r>
            <a:r>
              <a:rPr lang="en-US" sz="1000" b="0" i="0" u="none" strike="noStrike" err="1">
                <a:solidFill>
                  <a:srgbClr val="000000"/>
                </a:solidFill>
                <a:effectLst/>
                <a:latin typeface="Arial" panose="020B0604020202020204" pitchFamily="34" charset="0"/>
                <a:cs typeface="Arial" panose="020B0604020202020204" pitchFamily="34" charset="0"/>
              </a:rPr>
              <a:t>quis</a:t>
            </a:r>
            <a:r>
              <a:rPr lang="en-US" sz="1000" b="0" i="0" u="none" strike="noStrike">
                <a:solidFill>
                  <a:srgbClr val="000000"/>
                </a:solidFill>
                <a:effectLst/>
                <a:latin typeface="Arial" panose="020B0604020202020204" pitchFamily="34" charset="0"/>
                <a:cs typeface="Arial" panose="020B0604020202020204" pitchFamily="34" charset="0"/>
              </a:rPr>
              <a:t> magna </a:t>
            </a:r>
            <a:r>
              <a:rPr lang="en-US" sz="1000" b="0" i="0" u="none" strike="noStrike" err="1">
                <a:solidFill>
                  <a:srgbClr val="000000"/>
                </a:solidFill>
                <a:effectLst/>
                <a:latin typeface="Arial" panose="020B0604020202020204" pitchFamily="34" charset="0"/>
                <a:cs typeface="Arial" panose="020B0604020202020204" pitchFamily="34" charset="0"/>
              </a:rPr>
              <a:t>vehicul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rutru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lect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u</a:t>
            </a:r>
            <a:r>
              <a:rPr lang="en-US" sz="1000" b="0" i="0" u="none" strike="noStrike">
                <a:solidFill>
                  <a:srgbClr val="000000"/>
                </a:solidFill>
                <a:effectLst/>
                <a:latin typeface="Arial" panose="020B0604020202020204" pitchFamily="34" charset="0"/>
                <a:cs typeface="Arial" panose="020B0604020202020204" pitchFamily="34" charset="0"/>
              </a:rPr>
              <a:t>, lacinia ipsum. </a:t>
            </a:r>
            <a:r>
              <a:rPr lang="en-US" sz="1000" b="0" i="0" u="none" strike="noStrike" err="1">
                <a:solidFill>
                  <a:srgbClr val="000000"/>
                </a:solidFill>
                <a:effectLst/>
                <a:latin typeface="Arial" panose="020B0604020202020204" pitchFamily="34" charset="0"/>
                <a:cs typeface="Arial" panose="020B0604020202020204" pitchFamily="34" charset="0"/>
              </a:rPr>
              <a:t>Suspendiss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ffici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et</a:t>
            </a:r>
            <a:r>
              <a:rPr lang="en-US" sz="1000" b="0" i="0" u="none" strike="noStrike">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err="1">
                <a:solidFill>
                  <a:srgbClr val="000000"/>
                </a:solidFill>
                <a:effectLst/>
                <a:latin typeface="Arial" panose="020B0604020202020204" pitchFamily="34" charset="0"/>
                <a:cs typeface="Arial" panose="020B0604020202020204" pitchFamily="34" charset="0"/>
              </a:rPr>
              <a:t>se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dapib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attis</a:t>
            </a:r>
            <a:r>
              <a:rPr lang="en-US" sz="1000" b="0" i="0" u="none" strike="noStrike">
                <a:solidFill>
                  <a:srgbClr val="000000"/>
                </a:solidFill>
                <a:effectLst/>
                <a:latin typeface="Arial" panose="020B0604020202020204" pitchFamily="34" charset="0"/>
                <a:cs typeface="Arial" panose="020B0604020202020204" pitchFamily="34" charset="0"/>
              </a:rPr>
              <a:t> mi a,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nibh</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a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esti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rat</a:t>
            </a:r>
            <a:r>
              <a:rPr lang="en-US" sz="1000" b="0" i="0" u="none" strike="noStrike">
                <a:solidFill>
                  <a:srgbClr val="000000"/>
                </a:solidFill>
                <a:effectLst/>
                <a:latin typeface="Arial" panose="020B0604020202020204" pitchFamily="34" charset="0"/>
                <a:cs typeface="Arial" panose="020B0604020202020204" pitchFamily="34" charset="0"/>
              </a:rPr>
              <a:t> et ex pharetra </a:t>
            </a:r>
            <a:r>
              <a:rPr lang="en-US" sz="1000" b="0" i="0" u="none" strike="noStrike" err="1">
                <a:solidFill>
                  <a:srgbClr val="000000"/>
                </a:solidFill>
                <a:effectLst/>
                <a:latin typeface="Arial" panose="020B0604020202020204" pitchFamily="34" charset="0"/>
                <a:cs typeface="Arial" panose="020B0604020202020204" pitchFamily="34" charset="0"/>
              </a:rPr>
              <a:t>porttitor</a:t>
            </a:r>
            <a:r>
              <a:rPr lang="en-US" sz="1000" b="0" i="0" u="none" strike="noStrike">
                <a:solidFill>
                  <a:srgbClr val="000000"/>
                </a:solidFill>
                <a:effectLst/>
                <a:latin typeface="Arial" panose="020B0604020202020204" pitchFamily="34" charset="0"/>
                <a:cs typeface="Arial" panose="020B0604020202020204" pitchFamily="34" charset="0"/>
              </a:rPr>
              <a:t>.</a:t>
            </a:r>
          </a:p>
          <a:p>
            <a:pPr algn="just"/>
            <a:endParaRPr lang="en-US" sz="1000">
              <a:solidFill>
                <a:srgbClr val="000000"/>
              </a:solidFill>
              <a:latin typeface="Arial" panose="020B0604020202020204" pitchFamily="34" charset="0"/>
              <a:cs typeface="Arial" panose="020B0604020202020204" pitchFamily="34" charset="0"/>
            </a:endParaRPr>
          </a:p>
          <a:p>
            <a:pPr algn="just"/>
            <a:r>
              <a:rPr lang="en-US" sz="1000" b="0" i="0" u="none" strike="noStrike">
                <a:solidFill>
                  <a:srgbClr val="000000"/>
                </a:solidFill>
                <a:effectLst/>
                <a:latin typeface="Arial" panose="020B0604020202020204" pitchFamily="34" charset="0"/>
                <a:cs typeface="Arial" panose="020B0604020202020204" pitchFamily="34" charset="0"/>
              </a:rPr>
              <a:t>Morbi </a:t>
            </a:r>
            <a:r>
              <a:rPr lang="en-US" sz="1000" b="0" i="0" u="none" strike="noStrike" err="1">
                <a:solidFill>
                  <a:srgbClr val="000000"/>
                </a:solidFill>
                <a:effectLst/>
                <a:latin typeface="Arial" panose="020B0604020202020204" pitchFamily="34" charset="0"/>
                <a:cs typeface="Arial" panose="020B0604020202020204" pitchFamily="34" charset="0"/>
              </a:rPr>
              <a:t>rhonc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ugue</a:t>
            </a:r>
            <a:r>
              <a:rPr lang="en-US" sz="1000" b="0" i="0" u="none" strike="noStrike">
                <a:solidFill>
                  <a:srgbClr val="000000"/>
                </a:solidFill>
                <a:effectLst/>
                <a:latin typeface="Arial" panose="020B0604020202020204" pitchFamily="34" charset="0"/>
                <a:cs typeface="Arial" panose="020B0604020202020204" pitchFamily="34" charset="0"/>
              </a:rPr>
              <a:t>, sed </a:t>
            </a:r>
            <a:r>
              <a:rPr lang="en-US" sz="1000" b="0" i="0" u="none" strike="noStrike" err="1">
                <a:solidFill>
                  <a:srgbClr val="000000"/>
                </a:solidFill>
                <a:effectLst/>
                <a:latin typeface="Arial" panose="020B0604020202020204" pitchFamily="34" charset="0"/>
                <a:cs typeface="Arial" panose="020B0604020202020204" pitchFamily="34" charset="0"/>
              </a:rPr>
              <a:t>placer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s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agittis</a:t>
            </a:r>
            <a:r>
              <a:rPr lang="en-US" sz="1000" b="0" i="0" u="none" strike="noStrike">
                <a:solidFill>
                  <a:srgbClr val="000000"/>
                </a:solidFill>
                <a:effectLst/>
                <a:latin typeface="Arial" panose="020B0604020202020204" pitchFamily="34" charset="0"/>
                <a:cs typeface="Arial" panose="020B0604020202020204" pitchFamily="34" charset="0"/>
              </a:rPr>
              <a:t> et. Sed </a:t>
            </a:r>
            <a:r>
              <a:rPr lang="en-US" sz="1000" b="0" i="0" u="none" strike="noStrike" err="1">
                <a:solidFill>
                  <a:srgbClr val="000000"/>
                </a:solidFill>
                <a:effectLst/>
                <a:latin typeface="Arial" panose="020B0604020202020204" pitchFamily="34" charset="0"/>
                <a:cs typeface="Arial" panose="020B0604020202020204" pitchFamily="34" charset="0"/>
              </a:rPr>
              <a:t>tristique</a:t>
            </a:r>
            <a:r>
              <a:rPr lang="en-US" sz="1000" b="0" i="0" u="none" strike="noStrike">
                <a:solidFill>
                  <a:srgbClr val="000000"/>
                </a:solidFill>
                <a:effectLst/>
                <a:latin typeface="Arial" panose="020B0604020202020204" pitchFamily="34" charset="0"/>
                <a:cs typeface="Arial" panose="020B0604020202020204" pitchFamily="34" charset="0"/>
              </a:rPr>
              <a:t>, dolor </a:t>
            </a:r>
            <a:r>
              <a:rPr lang="en-US" sz="1000" b="0" i="0" u="none" strike="noStrike" err="1">
                <a:solidFill>
                  <a:srgbClr val="000000"/>
                </a:solidFill>
                <a:effectLst/>
                <a:latin typeface="Arial" panose="020B0604020202020204" pitchFamily="34" charset="0"/>
                <a:cs typeface="Arial" panose="020B0604020202020204" pitchFamily="34" charset="0"/>
              </a:rPr>
              <a:t>eg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tempo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celerisqu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odio</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r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nisi, sit </a:t>
            </a:r>
            <a:r>
              <a:rPr lang="en-US" sz="1000" b="0" i="0" u="none" strike="noStrike" err="1">
                <a:solidFill>
                  <a:srgbClr val="000000"/>
                </a:solidFill>
                <a:effectLst/>
                <a:latin typeface="Arial" panose="020B0604020202020204" pitchFamily="34" charset="0"/>
                <a:cs typeface="Arial" panose="020B0604020202020204" pitchFamily="34" charset="0"/>
              </a:rPr>
              <a:t>am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lis</a:t>
            </a:r>
            <a:r>
              <a:rPr lang="en-US" sz="1000" b="0" i="0" u="none" strike="noStrike">
                <a:solidFill>
                  <a:srgbClr val="000000"/>
                </a:solidFill>
                <a:effectLst/>
                <a:latin typeface="Arial" panose="020B0604020202020204" pitchFamily="34" charset="0"/>
                <a:cs typeface="Arial" panose="020B0604020202020204" pitchFamily="34" charset="0"/>
              </a:rPr>
              <a:t> mi </a:t>
            </a:r>
            <a:r>
              <a:rPr lang="en-US" sz="1000" b="0" i="0" u="none" strike="noStrike" err="1">
                <a:solidFill>
                  <a:srgbClr val="000000"/>
                </a:solidFill>
                <a:effectLst/>
                <a:latin typeface="Arial" panose="020B0604020202020204" pitchFamily="34" charset="0"/>
                <a:cs typeface="Arial" panose="020B0604020202020204" pitchFamily="34" charset="0"/>
              </a:rPr>
              <a:t>massa</a:t>
            </a:r>
            <a:r>
              <a:rPr lang="en-US" sz="1000" b="0" i="0" u="none" strike="noStrike">
                <a:solidFill>
                  <a:srgbClr val="000000"/>
                </a:solidFill>
                <a:effectLst/>
                <a:latin typeface="Arial" panose="020B0604020202020204" pitchFamily="34" charset="0"/>
                <a:cs typeface="Arial" panose="020B0604020202020204" pitchFamily="34" charset="0"/>
              </a:rPr>
              <a:t> a </a:t>
            </a:r>
            <a:r>
              <a:rPr lang="en-US" sz="1000" b="0" i="0" u="none" strike="noStrike" err="1">
                <a:solidFill>
                  <a:srgbClr val="000000"/>
                </a:solidFill>
                <a:effectLst/>
                <a:latin typeface="Arial" panose="020B0604020202020204" pitchFamily="34" charset="0"/>
                <a:cs typeface="Arial" panose="020B0604020202020204" pitchFamily="34" charset="0"/>
              </a:rPr>
              <a:t>turpis</a:t>
            </a:r>
            <a:r>
              <a:rPr lang="en-US" sz="1000" b="0" i="0" u="none" strike="noStrike">
                <a:solidFill>
                  <a:srgbClr val="000000"/>
                </a:solidFill>
                <a:effectLst/>
                <a:latin typeface="Arial" panose="020B0604020202020204" pitchFamily="34" charset="0"/>
                <a:cs typeface="Arial" panose="020B0604020202020204" pitchFamily="34" charset="0"/>
              </a:rPr>
              <a:t>. </a:t>
            </a:r>
          </a:p>
        </p:txBody>
      </p:sp>
      <p:sp>
        <p:nvSpPr>
          <p:cNvPr id="24" name="TextBox 23"/>
          <p:cNvSpPr txBox="1"/>
          <p:nvPr/>
        </p:nvSpPr>
        <p:spPr>
          <a:xfrm>
            <a:off x="6169960"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a:solidFill>
                  <a:schemeClr val="accent1"/>
                </a:solidFill>
                <a:latin typeface="Arial" panose="020B0604020202020204" pitchFamily="34" charset="0"/>
                <a:cs typeface="Arial" panose="020B0604020202020204" pitchFamily="34" charset="0"/>
              </a:rPr>
              <a:t>Subhead</a:t>
            </a:r>
          </a:p>
        </p:txBody>
      </p:sp>
      <p:sp>
        <p:nvSpPr>
          <p:cNvPr id="25" name="TextBox 24"/>
          <p:cNvSpPr txBox="1"/>
          <p:nvPr/>
        </p:nvSpPr>
        <p:spPr>
          <a:xfrm>
            <a:off x="6169959" y="1044754"/>
            <a:ext cx="2577353" cy="2945437"/>
          </a:xfrm>
          <a:prstGeom prst="rect">
            <a:avLst/>
          </a:prstGeom>
          <a:noFill/>
        </p:spPr>
        <p:txBody>
          <a:bodyPr wrap="square" rtlCol="0">
            <a:noAutofit/>
          </a:bodyPr>
          <a:lstStyle/>
          <a:p>
            <a:pPr algn="l"/>
            <a:r>
              <a:rPr lang="en-US" sz="1000" b="0" i="0" u="none" strike="noStrike">
                <a:solidFill>
                  <a:srgbClr val="000000"/>
                </a:solidFill>
                <a:effectLst/>
                <a:latin typeface="Arial" panose="020B0604020202020204" pitchFamily="34" charset="0"/>
                <a:cs typeface="Arial" panose="020B0604020202020204" pitchFamily="34" charset="0"/>
              </a:rPr>
              <a:t>Lorem ipsum dolor sit </a:t>
            </a:r>
            <a:r>
              <a:rPr lang="en-US" sz="1000" b="0" i="0" u="none" strike="noStrike" err="1">
                <a:solidFill>
                  <a:srgbClr val="000000"/>
                </a:solidFill>
                <a:effectLst/>
                <a:latin typeface="Arial" panose="020B0604020202020204" pitchFamily="34" charset="0"/>
                <a:cs typeface="Arial" panose="020B0604020202020204" pitchFamily="34" charset="0"/>
              </a:rPr>
              <a:t>am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cte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dipiscing</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li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uspendiss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estie</a:t>
            </a:r>
            <a:r>
              <a:rPr lang="en-US" sz="1000" b="0" i="0" u="none" strike="noStrike">
                <a:solidFill>
                  <a:srgbClr val="000000"/>
                </a:solidFill>
                <a:effectLst/>
                <a:latin typeface="Arial" panose="020B0604020202020204" pitchFamily="34" charset="0"/>
                <a:cs typeface="Arial" panose="020B0604020202020204" pitchFamily="34" charset="0"/>
              </a:rPr>
              <a:t> ex, vel semper </a:t>
            </a:r>
            <a:r>
              <a:rPr lang="en-US" sz="1000" b="0" i="0" u="none" strike="noStrike" err="1">
                <a:solidFill>
                  <a:srgbClr val="000000"/>
                </a:solidFill>
                <a:effectLst/>
                <a:latin typeface="Arial" panose="020B0604020202020204" pitchFamily="34" charset="0"/>
                <a:cs typeface="Arial" panose="020B0604020202020204" pitchFamily="34" charset="0"/>
              </a:rPr>
              <a:t>nibh</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lis</a:t>
            </a:r>
            <a:r>
              <a:rPr lang="en-US" sz="1000" b="0" i="0" u="none" strike="noStrike">
                <a:solidFill>
                  <a:srgbClr val="000000"/>
                </a:solidFill>
                <a:effectLst/>
                <a:latin typeface="Arial" panose="020B0604020202020204" pitchFamily="34" charset="0"/>
                <a:cs typeface="Arial" panose="020B0604020202020204" pitchFamily="34" charset="0"/>
              </a:rPr>
              <a:t> vel. Cras </a:t>
            </a:r>
            <a:r>
              <a:rPr lang="en-US" sz="1000" b="0" i="0" u="none" strike="noStrike" err="1">
                <a:solidFill>
                  <a:srgbClr val="000000"/>
                </a:solidFill>
                <a:effectLst/>
                <a:latin typeface="Arial" panose="020B0604020202020204" pitchFamily="34" charset="0"/>
                <a:cs typeface="Arial" panose="020B0604020202020204" pitchFamily="34" charset="0"/>
              </a:rPr>
              <a:t>tempor</a:t>
            </a:r>
            <a:r>
              <a:rPr lang="en-US" sz="1000" b="0" i="0" u="none" strike="noStrike">
                <a:solidFill>
                  <a:srgbClr val="000000"/>
                </a:solidFill>
                <a:effectLst/>
                <a:latin typeface="Arial" panose="020B0604020202020204" pitchFamily="34" charset="0"/>
                <a:cs typeface="Arial" panose="020B0604020202020204" pitchFamily="34" charset="0"/>
              </a:rPr>
              <a:t> cursus ante id </a:t>
            </a:r>
            <a:r>
              <a:rPr lang="en-US" sz="1000" b="0" i="0" u="none" strike="noStrike" err="1">
                <a:solidFill>
                  <a:srgbClr val="000000"/>
                </a:solidFill>
                <a:effectLst/>
                <a:latin typeface="Arial" panose="020B0604020202020204" pitchFamily="34" charset="0"/>
                <a:cs typeface="Arial" panose="020B0604020202020204" pitchFamily="34" charset="0"/>
              </a:rPr>
              <a:t>vari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urabi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elit</a:t>
            </a:r>
            <a:r>
              <a:rPr lang="en-US" sz="1000" b="0" i="0" u="none" strike="noStrike">
                <a:solidFill>
                  <a:srgbClr val="000000"/>
                </a:solidFill>
                <a:effectLst/>
                <a:latin typeface="Arial" panose="020B0604020202020204" pitchFamily="34" charset="0"/>
                <a:cs typeface="Arial" panose="020B0604020202020204" pitchFamily="34" charset="0"/>
              </a:rPr>
              <a:t> at </a:t>
            </a:r>
            <a:r>
              <a:rPr lang="en-US" sz="1000" b="0" i="0" u="none" strike="noStrike" err="1">
                <a:solidFill>
                  <a:srgbClr val="000000"/>
                </a:solidFill>
                <a:effectLst/>
                <a:latin typeface="Arial" panose="020B0604020202020204" pitchFamily="34" charset="0"/>
                <a:cs typeface="Arial" panose="020B0604020202020204" pitchFamily="34" charset="0"/>
              </a:rPr>
              <a:t>sodale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posuer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odio</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nequ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a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ass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g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felis</a:t>
            </a:r>
            <a:r>
              <a:rPr lang="en-US" sz="1000" b="0" i="0" u="none" strike="noStrike">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a:solidFill>
                <a:srgbClr val="000000"/>
              </a:solidFill>
              <a:effectLst/>
              <a:latin typeface="Arial" panose="020B0604020202020204" pitchFamily="34" charset="0"/>
              <a:cs typeface="Arial" panose="020B0604020202020204" pitchFamily="34" charset="0"/>
            </a:endParaRPr>
          </a:p>
          <a:p>
            <a:pPr algn="just"/>
            <a:r>
              <a:rPr lang="en-US" sz="1000" b="0" i="0" u="none" strike="noStrike">
                <a:solidFill>
                  <a:srgbClr val="000000"/>
                </a:solidFill>
                <a:effectLst/>
                <a:latin typeface="Arial" panose="020B0604020202020204" pitchFamily="34" charset="0"/>
                <a:cs typeface="Arial" panose="020B0604020202020204" pitchFamily="34" charset="0"/>
              </a:rPr>
              <a:t>Ut </a:t>
            </a:r>
            <a:r>
              <a:rPr lang="en-US" sz="1000" b="0" i="0" u="none" strike="noStrike" err="1">
                <a:solidFill>
                  <a:srgbClr val="000000"/>
                </a:solidFill>
                <a:effectLst/>
                <a:latin typeface="Arial" panose="020B0604020202020204" pitchFamily="34" charset="0"/>
                <a:cs typeface="Arial" panose="020B0604020202020204" pitchFamily="34" charset="0"/>
              </a:rPr>
              <a:t>quis</a:t>
            </a:r>
            <a:r>
              <a:rPr lang="en-US" sz="1000" b="0" i="0" u="none" strike="noStrike">
                <a:solidFill>
                  <a:srgbClr val="000000"/>
                </a:solidFill>
                <a:effectLst/>
                <a:latin typeface="Arial" panose="020B0604020202020204" pitchFamily="34" charset="0"/>
                <a:cs typeface="Arial" panose="020B0604020202020204" pitchFamily="34" charset="0"/>
              </a:rPr>
              <a:t> magna </a:t>
            </a:r>
            <a:r>
              <a:rPr lang="en-US" sz="1000" b="0" i="0" u="none" strike="noStrike" err="1">
                <a:solidFill>
                  <a:srgbClr val="000000"/>
                </a:solidFill>
                <a:effectLst/>
                <a:latin typeface="Arial" panose="020B0604020202020204" pitchFamily="34" charset="0"/>
                <a:cs typeface="Arial" panose="020B0604020202020204" pitchFamily="34" charset="0"/>
              </a:rPr>
              <a:t>vehicul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rutru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lect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u</a:t>
            </a:r>
            <a:r>
              <a:rPr lang="en-US" sz="1000" b="0" i="0" u="none" strike="noStrike">
                <a:solidFill>
                  <a:srgbClr val="000000"/>
                </a:solidFill>
                <a:effectLst/>
                <a:latin typeface="Arial" panose="020B0604020202020204" pitchFamily="34" charset="0"/>
                <a:cs typeface="Arial" panose="020B0604020202020204" pitchFamily="34" charset="0"/>
              </a:rPr>
              <a:t>, lacinia ipsum. </a:t>
            </a:r>
            <a:r>
              <a:rPr lang="en-US" sz="1000" b="0" i="0" u="none" strike="noStrike" err="1">
                <a:solidFill>
                  <a:srgbClr val="000000"/>
                </a:solidFill>
                <a:effectLst/>
                <a:latin typeface="Arial" panose="020B0604020202020204" pitchFamily="34" charset="0"/>
                <a:cs typeface="Arial" panose="020B0604020202020204" pitchFamily="34" charset="0"/>
              </a:rPr>
              <a:t>Suspendiss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ffici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et</a:t>
            </a:r>
            <a:r>
              <a:rPr lang="en-US" sz="1000" b="0" i="0" u="none" strike="noStrike">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err="1">
                <a:solidFill>
                  <a:srgbClr val="000000"/>
                </a:solidFill>
                <a:effectLst/>
                <a:latin typeface="Arial" panose="020B0604020202020204" pitchFamily="34" charset="0"/>
                <a:cs typeface="Arial" panose="020B0604020202020204" pitchFamily="34" charset="0"/>
              </a:rPr>
              <a:t>se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dapib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attis</a:t>
            </a:r>
            <a:r>
              <a:rPr lang="en-US" sz="1000" b="0" i="0" u="none" strike="noStrike">
                <a:solidFill>
                  <a:srgbClr val="000000"/>
                </a:solidFill>
                <a:effectLst/>
                <a:latin typeface="Arial" panose="020B0604020202020204" pitchFamily="34" charset="0"/>
                <a:cs typeface="Arial" panose="020B0604020202020204" pitchFamily="34" charset="0"/>
              </a:rPr>
              <a:t> mi a,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nibh</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a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esti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rat</a:t>
            </a:r>
            <a:r>
              <a:rPr lang="en-US" sz="1000" b="0" i="0" u="none" strike="noStrike">
                <a:solidFill>
                  <a:srgbClr val="000000"/>
                </a:solidFill>
                <a:effectLst/>
                <a:latin typeface="Arial" panose="020B0604020202020204" pitchFamily="34" charset="0"/>
                <a:cs typeface="Arial" panose="020B0604020202020204" pitchFamily="34" charset="0"/>
              </a:rPr>
              <a:t> et ex pharetra </a:t>
            </a:r>
            <a:r>
              <a:rPr lang="en-US" sz="1000" b="0" i="0" u="none" strike="noStrike" err="1">
                <a:solidFill>
                  <a:srgbClr val="000000"/>
                </a:solidFill>
                <a:effectLst/>
                <a:latin typeface="Arial" panose="020B0604020202020204" pitchFamily="34" charset="0"/>
                <a:cs typeface="Arial" panose="020B0604020202020204" pitchFamily="34" charset="0"/>
              </a:rPr>
              <a:t>porttitor</a:t>
            </a:r>
            <a:r>
              <a:rPr lang="en-US" sz="1000" b="0" i="0" u="none" strike="noStrike">
                <a:solidFill>
                  <a:srgbClr val="000000"/>
                </a:solidFill>
                <a:effectLst/>
                <a:latin typeface="Arial" panose="020B0604020202020204" pitchFamily="34" charset="0"/>
                <a:cs typeface="Arial" panose="020B0604020202020204" pitchFamily="34" charset="0"/>
              </a:rPr>
              <a:t>.</a:t>
            </a:r>
          </a:p>
          <a:p>
            <a:pPr algn="just"/>
            <a:endParaRPr lang="en-US" sz="1000">
              <a:solidFill>
                <a:srgbClr val="000000"/>
              </a:solidFill>
              <a:latin typeface="Arial" panose="020B0604020202020204" pitchFamily="34" charset="0"/>
              <a:cs typeface="Arial" panose="020B0604020202020204" pitchFamily="34" charset="0"/>
            </a:endParaRPr>
          </a:p>
          <a:p>
            <a:pPr algn="just"/>
            <a:r>
              <a:rPr lang="en-US" sz="1000" b="0" i="0" u="none" strike="noStrike">
                <a:solidFill>
                  <a:srgbClr val="000000"/>
                </a:solidFill>
                <a:effectLst/>
                <a:latin typeface="Arial" panose="020B0604020202020204" pitchFamily="34" charset="0"/>
                <a:cs typeface="Arial" panose="020B0604020202020204" pitchFamily="34" charset="0"/>
              </a:rPr>
              <a:t>Morbi </a:t>
            </a:r>
            <a:r>
              <a:rPr lang="en-US" sz="1000" b="0" i="0" u="none" strike="noStrike" err="1">
                <a:solidFill>
                  <a:srgbClr val="000000"/>
                </a:solidFill>
                <a:effectLst/>
                <a:latin typeface="Arial" panose="020B0604020202020204" pitchFamily="34" charset="0"/>
                <a:cs typeface="Arial" panose="020B0604020202020204" pitchFamily="34" charset="0"/>
              </a:rPr>
              <a:t>rhonc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ugue</a:t>
            </a:r>
            <a:r>
              <a:rPr lang="en-US" sz="1000" b="0" i="0" u="none" strike="noStrike">
                <a:solidFill>
                  <a:srgbClr val="000000"/>
                </a:solidFill>
                <a:effectLst/>
                <a:latin typeface="Arial" panose="020B0604020202020204" pitchFamily="34" charset="0"/>
                <a:cs typeface="Arial" panose="020B0604020202020204" pitchFamily="34" charset="0"/>
              </a:rPr>
              <a:t>, sed </a:t>
            </a:r>
            <a:r>
              <a:rPr lang="en-US" sz="1000" b="0" i="0" u="none" strike="noStrike" err="1">
                <a:solidFill>
                  <a:srgbClr val="000000"/>
                </a:solidFill>
                <a:effectLst/>
                <a:latin typeface="Arial" panose="020B0604020202020204" pitchFamily="34" charset="0"/>
                <a:cs typeface="Arial" panose="020B0604020202020204" pitchFamily="34" charset="0"/>
              </a:rPr>
              <a:t>placer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s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agittis</a:t>
            </a:r>
            <a:r>
              <a:rPr lang="en-US" sz="1000" b="0" i="0" u="none" strike="noStrike">
                <a:solidFill>
                  <a:srgbClr val="000000"/>
                </a:solidFill>
                <a:effectLst/>
                <a:latin typeface="Arial" panose="020B0604020202020204" pitchFamily="34" charset="0"/>
                <a:cs typeface="Arial" panose="020B0604020202020204" pitchFamily="34" charset="0"/>
              </a:rPr>
              <a:t> et. Sed </a:t>
            </a:r>
            <a:r>
              <a:rPr lang="en-US" sz="1000" b="0" i="0" u="none" strike="noStrike" err="1">
                <a:solidFill>
                  <a:srgbClr val="000000"/>
                </a:solidFill>
                <a:effectLst/>
                <a:latin typeface="Arial" panose="020B0604020202020204" pitchFamily="34" charset="0"/>
                <a:cs typeface="Arial" panose="020B0604020202020204" pitchFamily="34" charset="0"/>
              </a:rPr>
              <a:t>tristique</a:t>
            </a:r>
            <a:r>
              <a:rPr lang="en-US" sz="1000" b="0" i="0" u="none" strike="noStrike">
                <a:solidFill>
                  <a:srgbClr val="000000"/>
                </a:solidFill>
                <a:effectLst/>
                <a:latin typeface="Arial" panose="020B0604020202020204" pitchFamily="34" charset="0"/>
                <a:cs typeface="Arial" panose="020B0604020202020204" pitchFamily="34" charset="0"/>
              </a:rPr>
              <a:t>, dolor </a:t>
            </a:r>
            <a:r>
              <a:rPr lang="en-US" sz="1000" b="0" i="0" u="none" strike="noStrike" err="1">
                <a:solidFill>
                  <a:srgbClr val="000000"/>
                </a:solidFill>
                <a:effectLst/>
                <a:latin typeface="Arial" panose="020B0604020202020204" pitchFamily="34" charset="0"/>
                <a:cs typeface="Arial" panose="020B0604020202020204" pitchFamily="34" charset="0"/>
              </a:rPr>
              <a:t>eg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tempo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celerisqu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odio</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r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iverra</a:t>
            </a:r>
            <a:r>
              <a:rPr lang="en-US" sz="1000" b="0" i="0" u="none" strike="noStrike">
                <a:solidFill>
                  <a:srgbClr val="000000"/>
                </a:solidFill>
                <a:effectLst/>
                <a:latin typeface="Arial" panose="020B0604020202020204" pitchFamily="34" charset="0"/>
                <a:cs typeface="Arial" panose="020B0604020202020204" pitchFamily="34" charset="0"/>
              </a:rPr>
              <a:t> nisi, sit </a:t>
            </a:r>
            <a:r>
              <a:rPr lang="en-US" sz="1000" b="0" i="0" u="none" strike="noStrike" err="1">
                <a:solidFill>
                  <a:srgbClr val="000000"/>
                </a:solidFill>
                <a:effectLst/>
                <a:latin typeface="Arial" panose="020B0604020202020204" pitchFamily="34" charset="0"/>
                <a:cs typeface="Arial" panose="020B0604020202020204" pitchFamily="34" charset="0"/>
              </a:rPr>
              <a:t>am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lis</a:t>
            </a:r>
            <a:r>
              <a:rPr lang="en-US" sz="1000" b="0" i="0" u="none" strike="noStrike">
                <a:solidFill>
                  <a:srgbClr val="000000"/>
                </a:solidFill>
                <a:effectLst/>
                <a:latin typeface="Arial" panose="020B0604020202020204" pitchFamily="34" charset="0"/>
                <a:cs typeface="Arial" panose="020B0604020202020204" pitchFamily="34" charset="0"/>
              </a:rPr>
              <a:t> mi </a:t>
            </a:r>
            <a:r>
              <a:rPr lang="en-US" sz="1000" b="0" i="0" u="none" strike="noStrike" err="1">
                <a:solidFill>
                  <a:srgbClr val="000000"/>
                </a:solidFill>
                <a:effectLst/>
                <a:latin typeface="Arial" panose="020B0604020202020204" pitchFamily="34" charset="0"/>
                <a:cs typeface="Arial" panose="020B0604020202020204" pitchFamily="34" charset="0"/>
              </a:rPr>
              <a:t>massa</a:t>
            </a:r>
            <a:r>
              <a:rPr lang="en-US" sz="1000" b="0" i="0" u="none" strike="noStrike">
                <a:solidFill>
                  <a:srgbClr val="000000"/>
                </a:solidFill>
                <a:effectLst/>
                <a:latin typeface="Arial" panose="020B0604020202020204" pitchFamily="34" charset="0"/>
                <a:cs typeface="Arial" panose="020B0604020202020204" pitchFamily="34" charset="0"/>
              </a:rPr>
              <a:t> a </a:t>
            </a:r>
            <a:r>
              <a:rPr lang="en-US" sz="1000" b="0" i="0" u="none" strike="noStrike" err="1">
                <a:solidFill>
                  <a:srgbClr val="000000"/>
                </a:solidFill>
                <a:effectLst/>
                <a:latin typeface="Arial" panose="020B0604020202020204" pitchFamily="34" charset="0"/>
                <a:cs typeface="Arial" panose="020B0604020202020204" pitchFamily="34" charset="0"/>
              </a:rPr>
              <a:t>turpis</a:t>
            </a:r>
            <a:r>
              <a:rPr lang="en-US" sz="1000" b="0" i="0" u="none" strike="noStrike">
                <a:solidFill>
                  <a:srgbClr val="000000"/>
                </a:solidFill>
                <a:effectLst/>
                <a:latin typeface="Arial" panose="020B0604020202020204" pitchFamily="34" charset="0"/>
                <a:cs typeface="Arial" panose="020B0604020202020204" pitchFamily="34" charset="0"/>
              </a:rPr>
              <a:t>. </a:t>
            </a:r>
          </a:p>
        </p:txBody>
      </p:sp>
      <p:sp>
        <p:nvSpPr>
          <p:cNvPr id="29" name="Rectangle 28"/>
          <p:cNvSpPr/>
          <p:nvPr/>
        </p:nvSpPr>
        <p:spPr>
          <a:xfrm>
            <a:off x="457200" y="542316"/>
            <a:ext cx="8229600" cy="80963"/>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1939976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86E7A7-E65F-085B-645B-98C5EB014E8D}"/>
              </a:ext>
            </a:extLst>
          </p:cNvPr>
          <p:cNvSpPr>
            <a:spLocks noGrp="1"/>
          </p:cNvSpPr>
          <p:nvPr>
            <p:ph type="body" sz="quarter" idx="17"/>
          </p:nvPr>
        </p:nvSpPr>
        <p:spPr/>
        <p:txBody>
          <a:bodyPr/>
          <a:lstStyle/>
          <a:p>
            <a:endParaRPr lang="en-FR"/>
          </a:p>
        </p:txBody>
      </p:sp>
      <p:sp>
        <p:nvSpPr>
          <p:cNvPr id="3" name="TextBox 2">
            <a:extLst>
              <a:ext uri="{FF2B5EF4-FFF2-40B4-BE49-F238E27FC236}">
                <a16:creationId xmlns:a16="http://schemas.microsoft.com/office/drawing/2014/main" id="{562256DE-F0AE-1141-4858-222B1AD50956}"/>
              </a:ext>
            </a:extLst>
          </p:cNvPr>
          <p:cNvSpPr txBox="1"/>
          <p:nvPr/>
        </p:nvSpPr>
        <p:spPr>
          <a:xfrm>
            <a:off x="583096" y="132522"/>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EC3D79F-ACED-432C-9D58-B6A74E042C79}"/>
              </a:ext>
            </a:extLst>
          </p:cNvPr>
          <p:cNvSpPr txBox="1"/>
          <p:nvPr/>
        </p:nvSpPr>
        <p:spPr>
          <a:xfrm>
            <a:off x="7407965" y="2729948"/>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215B3EB-8398-AC75-593C-B757980EAE80}"/>
              </a:ext>
            </a:extLst>
          </p:cNvPr>
          <p:cNvSpPr/>
          <p:nvPr/>
        </p:nvSpPr>
        <p:spPr>
          <a:xfrm>
            <a:off x="7898296" y="1"/>
            <a:ext cx="1245703" cy="544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a:solidFill>
                <a:schemeClr val="bg1"/>
              </a:solidFill>
              <a:ea typeface="Segoe UI Black" panose="020B0A02040204020203" pitchFamily="34" charset="0"/>
              <a:cs typeface="Segoe UI Black" panose="020B0A02040204020203" pitchFamily="34" charset="0"/>
            </a:endParaRPr>
          </a:p>
        </p:txBody>
      </p:sp>
      <p:grpSp>
        <p:nvGrpSpPr>
          <p:cNvPr id="18" name="Group 17">
            <a:extLst>
              <a:ext uri="{FF2B5EF4-FFF2-40B4-BE49-F238E27FC236}">
                <a16:creationId xmlns:a16="http://schemas.microsoft.com/office/drawing/2014/main" id="{8D479643-4686-BC28-34F3-7692C8B98B02}"/>
              </a:ext>
            </a:extLst>
          </p:cNvPr>
          <p:cNvGrpSpPr/>
          <p:nvPr/>
        </p:nvGrpSpPr>
        <p:grpSpPr>
          <a:xfrm>
            <a:off x="941739" y="1370384"/>
            <a:ext cx="7260522" cy="2402731"/>
            <a:chOff x="941739" y="1370384"/>
            <a:chExt cx="7260522" cy="2402731"/>
          </a:xfrm>
        </p:grpSpPr>
        <p:pic>
          <p:nvPicPr>
            <p:cNvPr id="11" name="Picture 10">
              <a:extLst>
                <a:ext uri="{FF2B5EF4-FFF2-40B4-BE49-F238E27FC236}">
                  <a16:creationId xmlns:a16="http://schemas.microsoft.com/office/drawing/2014/main" id="{8322DBDD-4EF5-57B5-12AB-F2EB51EEA848}"/>
                </a:ext>
              </a:extLst>
            </p:cNvPr>
            <p:cNvPicPr>
              <a:picLocks noChangeAspect="1"/>
            </p:cNvPicPr>
            <p:nvPr/>
          </p:nvPicPr>
          <p:blipFill>
            <a:blip r:embed="rId2"/>
            <a:srcRect r="59658"/>
            <a:stretch/>
          </p:blipFill>
          <p:spPr>
            <a:xfrm>
              <a:off x="941739" y="1370384"/>
              <a:ext cx="2929049" cy="2402731"/>
            </a:xfrm>
            <a:prstGeom prst="rect">
              <a:avLst/>
            </a:prstGeom>
          </p:spPr>
        </p:pic>
        <p:pic>
          <p:nvPicPr>
            <p:cNvPr id="15" name="Graphic 14">
              <a:extLst>
                <a:ext uri="{FF2B5EF4-FFF2-40B4-BE49-F238E27FC236}">
                  <a16:creationId xmlns:a16="http://schemas.microsoft.com/office/drawing/2014/main" id="{B4B1F46B-3587-C31C-CCDF-E4022661B415}"/>
                </a:ext>
              </a:extLst>
            </p:cNvPr>
            <p:cNvPicPr>
              <a:picLocks noChangeAspect="1"/>
            </p:cNvPicPr>
            <p:nvPr/>
          </p:nvPicPr>
          <p:blipFill>
            <a:blip r:embed="rId3">
              <a:extLst>
                <a:ext uri="{96DAC541-7B7A-43D3-8B79-37D633B846F1}">
                  <asvg:svgBlip xmlns:asvg="http://schemas.microsoft.com/office/drawing/2016/SVG/main" r:embed="rId4"/>
                </a:ext>
              </a:extLst>
            </a:blip>
            <a:srcRect l="40366"/>
            <a:stretch/>
          </p:blipFill>
          <p:spPr>
            <a:xfrm>
              <a:off x="3870788" y="1370384"/>
              <a:ext cx="4331473" cy="2402731"/>
            </a:xfrm>
            <a:prstGeom prst="rect">
              <a:avLst/>
            </a:prstGeom>
          </p:spPr>
        </p:pic>
      </p:grpSp>
      <p:sp>
        <p:nvSpPr>
          <p:cNvPr id="17" name="TextBox 16">
            <a:extLst>
              <a:ext uri="{FF2B5EF4-FFF2-40B4-BE49-F238E27FC236}">
                <a16:creationId xmlns:a16="http://schemas.microsoft.com/office/drawing/2014/main" id="{EF6752BD-CB9C-B13E-CC84-1DC54FBECA1A}"/>
              </a:ext>
            </a:extLst>
          </p:cNvPr>
          <p:cNvSpPr txBox="1"/>
          <p:nvPr/>
        </p:nvSpPr>
        <p:spPr>
          <a:xfrm>
            <a:off x="5181600" y="658368"/>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08927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a:solidFill>
                <a:schemeClr val="tx1"/>
              </a:solidFill>
            </a:endParaRPr>
          </a:p>
        </p:txBody>
      </p:sp>
      <p:sp>
        <p:nvSpPr>
          <p:cNvPr id="5" name="Text Placeholder 4"/>
          <p:cNvSpPr>
            <a:spLocks noGrp="1"/>
          </p:cNvSpPr>
          <p:nvPr>
            <p:ph type="body" sz="quarter" idx="17"/>
          </p:nvPr>
        </p:nvSpPr>
        <p:spPr/>
        <p:txBody>
          <a:bodyPr/>
          <a:lstStyle/>
          <a:p>
            <a:r>
              <a:rPr lang="en-US">
                <a:solidFill>
                  <a:schemeClr val="accent1"/>
                </a:solidFill>
              </a:rPr>
              <a:t>Bar chart title here</a:t>
            </a:r>
          </a:p>
        </p:txBody>
      </p:sp>
      <p:graphicFrame>
        <p:nvGraphicFramePr>
          <p:cNvPr id="6" name="Chart 5"/>
          <p:cNvGraphicFramePr/>
          <p:nvPr>
            <p:extLst>
              <p:ext uri="{D42A27DB-BD31-4B8C-83A1-F6EECF244321}">
                <p14:modId xmlns:p14="http://schemas.microsoft.com/office/powerpoint/2010/main" val="3625801542"/>
              </p:ext>
            </p:extLst>
          </p:nvPr>
        </p:nvGraphicFramePr>
        <p:xfrm>
          <a:off x="847725" y="1166801"/>
          <a:ext cx="7162800" cy="22444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280679" y="3638087"/>
            <a:ext cx="312906" cy="369332"/>
          </a:xfrm>
          <a:prstGeom prst="rect">
            <a:avLst/>
          </a:prstGeom>
          <a:noFill/>
        </p:spPr>
        <p:txBody>
          <a:bodyPr wrap="none" rtlCol="0">
            <a:spAutoFit/>
          </a:bodyPr>
          <a:lstStyle/>
          <a:p>
            <a:pPr algn="ctr"/>
            <a:r>
              <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1</a:t>
            </a:r>
          </a:p>
        </p:txBody>
      </p:sp>
      <p:sp>
        <p:nvSpPr>
          <p:cNvPr id="8" name="Text Placeholder 32"/>
          <p:cNvSpPr txBox="1">
            <a:spLocks/>
          </p:cNvSpPr>
          <p:nvPr/>
        </p:nvSpPr>
        <p:spPr>
          <a:xfrm>
            <a:off x="1636422"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t>
            </a:r>
            <a:r>
              <a:rPr lang="en-US" sz="800" err="1">
                <a:latin typeface="Arial" panose="020B0604020202020204" pitchFamily="34" charset="0"/>
                <a:cs typeface="Arial" panose="020B0604020202020204" pitchFamily="34" charset="0"/>
              </a:rPr>
              <a:t>amet</a:t>
            </a:r>
            <a:r>
              <a:rPr lang="en-US" sz="800">
                <a:latin typeface="Arial" panose="020B0604020202020204" pitchFamily="34" charset="0"/>
                <a:cs typeface="Arial" panose="020B0604020202020204" pitchFamily="34" charset="0"/>
              </a:rPr>
              <a:t>, </a:t>
            </a:r>
            <a:r>
              <a:rPr lang="en-US" sz="800" err="1">
                <a:latin typeface="Arial" panose="020B0604020202020204" pitchFamily="34" charset="0"/>
                <a:cs typeface="Arial" panose="020B0604020202020204" pitchFamily="34" charset="0"/>
              </a:rPr>
              <a:t>consectetur</a:t>
            </a:r>
            <a:r>
              <a:rPr lang="en-US" sz="800">
                <a:latin typeface="Arial" panose="020B0604020202020204" pitchFamily="34" charset="0"/>
                <a:cs typeface="Arial" panose="020B0604020202020204" pitchFamily="34" charset="0"/>
              </a:rPr>
              <a:t> </a:t>
            </a:r>
            <a:r>
              <a:rPr lang="en-US" sz="800" err="1">
                <a:latin typeface="Arial" panose="020B0604020202020204" pitchFamily="34" charset="0"/>
                <a:cs typeface="Arial" panose="020B0604020202020204" pitchFamily="34" charset="0"/>
              </a:rPr>
              <a:t>adipiscing</a:t>
            </a:r>
            <a:r>
              <a:rPr lang="en-US" sz="800">
                <a:latin typeface="Arial" panose="020B0604020202020204" pitchFamily="34" charset="0"/>
                <a:cs typeface="Arial" panose="020B0604020202020204" pitchFamily="34" charset="0"/>
              </a:rPr>
              <a:t> </a:t>
            </a:r>
            <a:r>
              <a:rPr lang="en-US" sz="800" err="1">
                <a:latin typeface="Arial" panose="020B0604020202020204" pitchFamily="34" charset="0"/>
                <a:cs typeface="Arial" panose="020B0604020202020204" pitchFamily="34" charset="0"/>
              </a:rPr>
              <a:t>elit</a:t>
            </a:r>
            <a:r>
              <a:rPr lang="en-US" sz="800">
                <a:latin typeface="Arial" panose="020B0604020202020204" pitchFamily="34" charset="0"/>
                <a:cs typeface="Arial" panose="020B0604020202020204" pitchFamily="34" charset="0"/>
              </a:rPr>
              <a:t>, </a:t>
            </a:r>
            <a:r>
              <a:rPr lang="en-US" sz="800" err="1">
                <a:latin typeface="Arial" panose="020B0604020202020204" pitchFamily="34" charset="0"/>
                <a:cs typeface="Arial" panose="020B0604020202020204" pitchFamily="34" charset="0"/>
              </a:rPr>
              <a:t>sed</a:t>
            </a:r>
            <a:r>
              <a:rPr lang="en-US" sz="800">
                <a:latin typeface="Arial" panose="020B0604020202020204" pitchFamily="34" charset="0"/>
                <a:cs typeface="Arial" panose="020B0604020202020204" pitchFamily="34" charset="0"/>
              </a:rPr>
              <a:t> do </a:t>
            </a:r>
            <a:r>
              <a:rPr lang="en-US" sz="800" err="1">
                <a:latin typeface="Arial" panose="020B0604020202020204" pitchFamily="34" charset="0"/>
                <a:cs typeface="Arial" panose="020B0604020202020204" pitchFamily="34" charset="0"/>
              </a:rPr>
              <a:t>eiusmod</a:t>
            </a:r>
            <a:r>
              <a:rPr lang="en-US" sz="800">
                <a:latin typeface="Arial" panose="020B0604020202020204" pitchFamily="34" charset="0"/>
                <a:cs typeface="Arial" panose="020B0604020202020204" pitchFamily="34" charset="0"/>
              </a:rPr>
              <a:t> </a:t>
            </a:r>
            <a:r>
              <a:rPr lang="en-US" sz="800" err="1">
                <a:latin typeface="Arial" panose="020B0604020202020204" pitchFamily="34" charset="0"/>
                <a:cs typeface="Arial" panose="020B0604020202020204" pitchFamily="34" charset="0"/>
              </a:rPr>
              <a:t>tempor</a:t>
            </a:r>
            <a:r>
              <a:rPr lang="en-US" sz="800">
                <a:latin typeface="Arial" panose="020B0604020202020204" pitchFamily="34" charset="0"/>
                <a:cs typeface="Arial" panose="020B0604020202020204" pitchFamily="34" charset="0"/>
              </a:rPr>
              <a:t> </a:t>
            </a:r>
            <a:r>
              <a:rPr lang="en-US" sz="800" err="1">
                <a:latin typeface="Arial" panose="020B0604020202020204" pitchFamily="34" charset="0"/>
                <a:cs typeface="Arial" panose="020B0604020202020204" pitchFamily="34" charset="0"/>
              </a:rPr>
              <a:t>incididunt</a:t>
            </a:r>
            <a:r>
              <a:rPr lang="en-US" sz="800">
                <a:latin typeface="Arial" panose="020B0604020202020204" pitchFamily="34" charset="0"/>
                <a:cs typeface="Arial" panose="020B0604020202020204" pitchFamily="34" charset="0"/>
              </a:rPr>
              <a:t> </a:t>
            </a:r>
            <a:r>
              <a:rPr lang="en-US" sz="800" err="1">
                <a:latin typeface="Arial" panose="020B0604020202020204" pitchFamily="34" charset="0"/>
                <a:cs typeface="Arial" panose="020B0604020202020204" pitchFamily="34" charset="0"/>
              </a:rPr>
              <a:t>ut</a:t>
            </a:r>
            <a:endParaRPr lang="en-US" sz="800">
              <a:latin typeface="Arial" panose="020B0604020202020204" pitchFamily="34" charset="0"/>
              <a:cs typeface="Arial" panose="020B0604020202020204" pitchFamily="34" charset="0"/>
            </a:endParaRPr>
          </a:p>
        </p:txBody>
      </p:sp>
      <p:sp>
        <p:nvSpPr>
          <p:cNvPr id="9" name="Text Placeholder 33"/>
          <p:cNvSpPr txBox="1">
            <a:spLocks/>
          </p:cNvSpPr>
          <p:nvPr/>
        </p:nvSpPr>
        <p:spPr>
          <a:xfrm>
            <a:off x="1636424"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0" name="TextBox 9"/>
          <p:cNvSpPr txBox="1"/>
          <p:nvPr/>
        </p:nvSpPr>
        <p:spPr>
          <a:xfrm>
            <a:off x="3590455" y="3638087"/>
            <a:ext cx="312906" cy="369332"/>
          </a:xfrm>
          <a:prstGeom prst="rect">
            <a:avLst/>
          </a:prstGeom>
          <a:noFill/>
        </p:spPr>
        <p:txBody>
          <a:bodyPr wrap="none" rtlCol="0">
            <a:spAutoFit/>
          </a:bodyPr>
          <a:lstStyle/>
          <a:p>
            <a:pPr algn="ctr"/>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2</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1" name="Text Placeholder 32"/>
          <p:cNvSpPr txBox="1">
            <a:spLocks/>
          </p:cNvSpPr>
          <p:nvPr/>
        </p:nvSpPr>
        <p:spPr>
          <a:xfrm>
            <a:off x="3946197"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2" name="Text Placeholder 33"/>
          <p:cNvSpPr txBox="1">
            <a:spLocks/>
          </p:cNvSpPr>
          <p:nvPr/>
        </p:nvSpPr>
        <p:spPr>
          <a:xfrm>
            <a:off x="3946199"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3" name="TextBox 12"/>
          <p:cNvSpPr txBox="1"/>
          <p:nvPr/>
        </p:nvSpPr>
        <p:spPr>
          <a:xfrm>
            <a:off x="5954371" y="3638087"/>
            <a:ext cx="312906" cy="369332"/>
          </a:xfrm>
          <a:prstGeom prst="rect">
            <a:avLst/>
          </a:prstGeom>
          <a:noFill/>
        </p:spPr>
        <p:txBody>
          <a:bodyPr wrap="none" rtlCol="0">
            <a:spAutoFit/>
          </a:bodyPr>
          <a:lstStyle/>
          <a:p>
            <a:pPr lvl="0"/>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3</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4" name="Text Placeholder 32"/>
          <p:cNvSpPr txBox="1">
            <a:spLocks/>
          </p:cNvSpPr>
          <p:nvPr/>
        </p:nvSpPr>
        <p:spPr>
          <a:xfrm>
            <a:off x="6280619"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5" name="Text Placeholder 33"/>
          <p:cNvSpPr txBox="1">
            <a:spLocks/>
          </p:cNvSpPr>
          <p:nvPr/>
        </p:nvSpPr>
        <p:spPr>
          <a:xfrm>
            <a:off x="6280620"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9AC6809-D2D2-732E-B782-40BFABFF9059}"/>
              </a:ext>
            </a:extLst>
          </p:cNvPr>
          <p:cNvSpPr txBox="1"/>
          <p:nvPr/>
        </p:nvSpPr>
        <p:spPr>
          <a:xfrm>
            <a:off x="6895070" y="-593124"/>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5084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solidFill>
                <a:schemeClr val="tx1"/>
              </a:solidFill>
            </a:endParaRPr>
          </a:p>
        </p:txBody>
      </p:sp>
      <p:sp>
        <p:nvSpPr>
          <p:cNvPr id="4" name="Text Placeholder 3"/>
          <p:cNvSpPr>
            <a:spLocks noGrp="1"/>
          </p:cNvSpPr>
          <p:nvPr>
            <p:ph type="body" sz="quarter" idx="17"/>
          </p:nvPr>
        </p:nvSpPr>
        <p:spPr/>
        <p:txBody>
          <a:bodyPr/>
          <a:lstStyle/>
          <a:p>
            <a:r>
              <a:rPr lang="en-US">
                <a:solidFill>
                  <a:schemeClr val="accent1"/>
                </a:solidFill>
              </a:rPr>
              <a:t>Bar chart title here</a:t>
            </a:r>
          </a:p>
        </p:txBody>
      </p:sp>
      <p:sp>
        <p:nvSpPr>
          <p:cNvPr id="5" name="TextBox 4"/>
          <p:cNvSpPr txBox="1"/>
          <p:nvPr/>
        </p:nvSpPr>
        <p:spPr>
          <a:xfrm>
            <a:off x="992457" y="4150639"/>
            <a:ext cx="7203689" cy="525465"/>
          </a:xfrm>
          <a:prstGeom prst="rect">
            <a:avLst/>
          </a:prstGeom>
          <a:noFill/>
        </p:spPr>
        <p:txBody>
          <a:bodyPr wrap="square" lIns="0" rtlCol="0">
            <a:spAutoFit/>
          </a:bodyPr>
          <a:lstStyle/>
          <a:p>
            <a:pPr algn="ctr" defTabSz="514350">
              <a:lnSpc>
                <a:spcPct val="150000"/>
              </a:lnSpc>
              <a:spcAft>
                <a:spcPts val="300"/>
              </a:spcAft>
              <a:buClr>
                <a:srgbClr val="CC0000"/>
              </a:buClr>
              <a:buSzPct val="110000"/>
            </a:pPr>
            <a:r>
              <a:rPr lang="en-US" sz="1000" b="0" i="0" u="none" strike="noStrike">
                <a:solidFill>
                  <a:srgbClr val="000000"/>
                </a:solidFill>
                <a:effectLst/>
                <a:latin typeface="Arial" panose="020B0604020202020204" pitchFamily="34" charset="0"/>
                <a:cs typeface="Arial" panose="020B0604020202020204" pitchFamily="34" charset="0"/>
              </a:rPr>
              <a:t>Lorem ipsum dolor sit </a:t>
            </a:r>
            <a:r>
              <a:rPr lang="en-US" sz="1000" b="0" i="0" u="none" strike="noStrike" err="1">
                <a:solidFill>
                  <a:srgbClr val="000000"/>
                </a:solidFill>
                <a:effectLst/>
                <a:latin typeface="Arial" panose="020B0604020202020204" pitchFamily="34" charset="0"/>
                <a:cs typeface="Arial" panose="020B0604020202020204" pitchFamily="34" charset="0"/>
              </a:rPr>
              <a:t>ame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cte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dipiscing</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eli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Suspendiss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estie</a:t>
            </a:r>
            <a:r>
              <a:rPr lang="en-US" sz="1000" b="0" i="0" u="none" strike="noStrike">
                <a:solidFill>
                  <a:srgbClr val="000000"/>
                </a:solidFill>
                <a:effectLst/>
                <a:latin typeface="Arial" panose="020B0604020202020204" pitchFamily="34" charset="0"/>
                <a:cs typeface="Arial" panose="020B0604020202020204" pitchFamily="34" charset="0"/>
              </a:rPr>
              <a:t> ex, vel semper </a:t>
            </a:r>
            <a:r>
              <a:rPr lang="en-US" sz="1000" b="0" i="0" u="none" strike="noStrike" err="1">
                <a:solidFill>
                  <a:srgbClr val="000000"/>
                </a:solidFill>
                <a:effectLst/>
                <a:latin typeface="Arial" panose="020B0604020202020204" pitchFamily="34" charset="0"/>
                <a:cs typeface="Arial" panose="020B0604020202020204" pitchFamily="34" charset="0"/>
              </a:rPr>
              <a:t>nibh</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ollis</a:t>
            </a:r>
            <a:r>
              <a:rPr lang="en-US" sz="1000" b="0" i="0" u="none" strike="noStrike">
                <a:solidFill>
                  <a:srgbClr val="000000"/>
                </a:solidFill>
                <a:effectLst/>
                <a:latin typeface="Arial" panose="020B0604020202020204" pitchFamily="34" charset="0"/>
                <a:cs typeface="Arial" panose="020B0604020202020204" pitchFamily="34" charset="0"/>
              </a:rPr>
              <a:t> vel. Cras </a:t>
            </a:r>
            <a:r>
              <a:rPr lang="en-US" sz="1000" b="0" i="0" u="none" strike="noStrike" err="1">
                <a:solidFill>
                  <a:srgbClr val="000000"/>
                </a:solidFill>
                <a:effectLst/>
                <a:latin typeface="Arial" panose="020B0604020202020204" pitchFamily="34" charset="0"/>
                <a:cs typeface="Arial" panose="020B0604020202020204" pitchFamily="34" charset="0"/>
              </a:rPr>
              <a:t>tempor</a:t>
            </a:r>
            <a:r>
              <a:rPr lang="en-US" sz="1000" b="0" i="0" u="none" strike="noStrike">
                <a:solidFill>
                  <a:srgbClr val="000000"/>
                </a:solidFill>
                <a:effectLst/>
                <a:latin typeface="Arial" panose="020B0604020202020204" pitchFamily="34" charset="0"/>
                <a:cs typeface="Arial" panose="020B0604020202020204" pitchFamily="34" charset="0"/>
              </a:rPr>
              <a:t> cursus ante id </a:t>
            </a:r>
            <a:r>
              <a:rPr lang="en-US" sz="1000" b="0" i="0" u="none" strike="noStrike" err="1">
                <a:solidFill>
                  <a:srgbClr val="000000"/>
                </a:solidFill>
                <a:effectLst/>
                <a:latin typeface="Arial" panose="020B0604020202020204" pitchFamily="34" charset="0"/>
                <a:cs typeface="Arial" panose="020B0604020202020204" pitchFamily="34" charset="0"/>
              </a:rPr>
              <a:t>variu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urabitur</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consequat</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velit</a:t>
            </a:r>
            <a:r>
              <a:rPr lang="en-US" sz="1000" b="0" i="0" u="none" strike="noStrike">
                <a:solidFill>
                  <a:srgbClr val="000000"/>
                </a:solidFill>
                <a:effectLst/>
                <a:latin typeface="Arial" panose="020B0604020202020204" pitchFamily="34" charset="0"/>
                <a:cs typeface="Arial" panose="020B0604020202020204" pitchFamily="34" charset="0"/>
              </a:rPr>
              <a:t> at </a:t>
            </a:r>
            <a:r>
              <a:rPr lang="en-US" sz="1000" b="0" i="0" u="none" strike="noStrike" err="1">
                <a:solidFill>
                  <a:srgbClr val="000000"/>
                </a:solidFill>
                <a:effectLst/>
                <a:latin typeface="Arial" panose="020B0604020202020204" pitchFamily="34" charset="0"/>
                <a:cs typeface="Arial" panose="020B0604020202020204" pitchFamily="34" charset="0"/>
              </a:rPr>
              <a:t>sodales</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posuer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odio</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neque</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aliquam</a:t>
            </a:r>
            <a:r>
              <a:rPr lang="en-US" sz="1000" b="0" i="0" u="none" strike="noStrike">
                <a:solidFill>
                  <a:srgbClr val="000000"/>
                </a:solidFill>
                <a:effectLst/>
                <a:latin typeface="Arial" panose="020B0604020202020204" pitchFamily="34" charset="0"/>
                <a:cs typeface="Arial" panose="020B0604020202020204" pitchFamily="34" charset="0"/>
              </a:rPr>
              <a:t> </a:t>
            </a:r>
            <a:r>
              <a:rPr lang="en-US" sz="1000" b="0" i="0" u="none" strike="noStrike" err="1">
                <a:solidFill>
                  <a:srgbClr val="000000"/>
                </a:solidFill>
                <a:effectLst/>
                <a:latin typeface="Arial" panose="020B0604020202020204" pitchFamily="34" charset="0"/>
                <a:cs typeface="Arial" panose="020B0604020202020204" pitchFamily="34" charset="0"/>
              </a:rPr>
              <a:t>massa</a:t>
            </a:r>
            <a:endParaRPr lang="en-US" sz="1000">
              <a:solidFill>
                <a:schemeClr val="accent5"/>
              </a:solidFill>
              <a:latin typeface="Arial" panose="020B0604020202020204" pitchFamily="34" charset="0"/>
              <a:ea typeface="Roboto Light" panose="02000000000000000000" pitchFamily="2" charset="0"/>
              <a:cs typeface="Arial" panose="020B0604020202020204" pitchFamily="34" charset="0"/>
            </a:endParaRPr>
          </a:p>
        </p:txBody>
      </p:sp>
      <p:graphicFrame>
        <p:nvGraphicFramePr>
          <p:cNvPr id="6" name="Chart 5"/>
          <p:cNvGraphicFramePr/>
          <p:nvPr>
            <p:extLst>
              <p:ext uri="{D42A27DB-BD31-4B8C-83A1-F6EECF244321}">
                <p14:modId xmlns:p14="http://schemas.microsoft.com/office/powerpoint/2010/main" val="3804176404"/>
              </p:ext>
            </p:extLst>
          </p:nvPr>
        </p:nvGraphicFramePr>
        <p:xfrm>
          <a:off x="1099442" y="1168688"/>
          <a:ext cx="6891221" cy="273549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879287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solidFill>
                <a:schemeClr val="tx1"/>
              </a:solidFill>
            </a:endParaRPr>
          </a:p>
        </p:txBody>
      </p:sp>
      <p:sp>
        <p:nvSpPr>
          <p:cNvPr id="10" name="Text Placeholder 9"/>
          <p:cNvSpPr>
            <a:spLocks noGrp="1"/>
          </p:cNvSpPr>
          <p:nvPr>
            <p:ph type="body" sz="quarter" idx="17"/>
          </p:nvPr>
        </p:nvSpPr>
        <p:spPr/>
        <p:txBody>
          <a:bodyPr/>
          <a:lstStyle/>
          <a:p>
            <a:r>
              <a:rPr lang="en-US">
                <a:solidFill>
                  <a:schemeClr val="accent1"/>
                </a:solidFill>
              </a:rPr>
              <a:t>Comparing stats</a:t>
            </a:r>
          </a:p>
        </p:txBody>
      </p:sp>
      <p:sp>
        <p:nvSpPr>
          <p:cNvPr id="5" name="Text Placeholder 32"/>
          <p:cNvSpPr txBox="1">
            <a:spLocks/>
          </p:cNvSpPr>
          <p:nvPr/>
        </p:nvSpPr>
        <p:spPr>
          <a:xfrm>
            <a:off x="480743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a:solidFill>
                  <a:schemeClr val="accent5"/>
                </a:solidFill>
                <a:latin typeface="Arial" panose="020B0604020202020204" pitchFamily="34" charset="0"/>
                <a:cs typeface="Arial" panose="020B0604020202020204" pitchFamily="34" charset="0"/>
              </a:rPr>
              <a:t>Lorem ipsum dolor sit </a:t>
            </a:r>
            <a:r>
              <a:rPr lang="en-US" sz="800" spc="10" err="1">
                <a:solidFill>
                  <a:schemeClr val="accent5"/>
                </a:solidFill>
                <a:latin typeface="Arial" panose="020B0604020202020204" pitchFamily="34" charset="0"/>
                <a:cs typeface="Arial" panose="020B0604020202020204" pitchFamily="34" charset="0"/>
              </a:rPr>
              <a:t>ame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consectetu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adipiscing</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eli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sed</a:t>
            </a:r>
            <a:r>
              <a:rPr lang="en-US" sz="800" spc="10">
                <a:solidFill>
                  <a:schemeClr val="accent5"/>
                </a:solidFill>
                <a:latin typeface="Arial" panose="020B0604020202020204" pitchFamily="34" charset="0"/>
                <a:cs typeface="Arial" panose="020B0604020202020204" pitchFamily="34" charset="0"/>
              </a:rPr>
              <a:t> do </a:t>
            </a:r>
            <a:r>
              <a:rPr lang="en-US" sz="800" spc="10" err="1">
                <a:solidFill>
                  <a:schemeClr val="accent5"/>
                </a:solidFill>
                <a:latin typeface="Arial" panose="020B0604020202020204" pitchFamily="34" charset="0"/>
                <a:cs typeface="Arial" panose="020B0604020202020204" pitchFamily="34" charset="0"/>
              </a:rPr>
              <a:t>eiusmod</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tempo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incididunt</a:t>
            </a:r>
            <a:endParaRPr lang="en-US" sz="800" spc="10">
              <a:solidFill>
                <a:schemeClr val="accent5"/>
              </a:solidFill>
              <a:latin typeface="Arial" panose="020B0604020202020204" pitchFamily="34" charset="0"/>
              <a:cs typeface="Arial" panose="020B0604020202020204" pitchFamily="34" charset="0"/>
            </a:endParaRPr>
          </a:p>
        </p:txBody>
      </p:sp>
      <p:sp>
        <p:nvSpPr>
          <p:cNvPr id="6" name="Text Placeholder 33"/>
          <p:cNvSpPr txBox="1">
            <a:spLocks/>
          </p:cNvSpPr>
          <p:nvPr/>
        </p:nvSpPr>
        <p:spPr>
          <a:xfrm>
            <a:off x="480743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a:latin typeface="Arial" panose="020B0604020202020204" pitchFamily="34" charset="0"/>
                <a:cs typeface="Arial" panose="020B0604020202020204" pitchFamily="34" charset="0"/>
              </a:rPr>
              <a:t>Headline Three</a:t>
            </a:r>
          </a:p>
        </p:txBody>
      </p:sp>
      <p:grpSp>
        <p:nvGrpSpPr>
          <p:cNvPr id="7" name="Group 6"/>
          <p:cNvGrpSpPr/>
          <p:nvPr/>
        </p:nvGrpSpPr>
        <p:grpSpPr>
          <a:xfrm>
            <a:off x="4882026" y="1582494"/>
            <a:ext cx="1399320" cy="1399320"/>
            <a:chOff x="1447864" y="1680671"/>
            <a:chExt cx="1256032" cy="1256032"/>
          </a:xfrm>
          <a:solidFill>
            <a:schemeClr val="accent5"/>
          </a:solidFill>
        </p:grpSpPr>
        <p:sp>
          <p:nvSpPr>
            <p:cNvPr id="8" name="Donut 7"/>
            <p:cNvSpPr/>
            <p:nvPr/>
          </p:nvSpPr>
          <p:spPr>
            <a:xfrm>
              <a:off x="1447864" y="1680671"/>
              <a:ext cx="1256032" cy="1256032"/>
            </a:xfrm>
            <a:prstGeom prst="donut">
              <a:avLst>
                <a:gd name="adj" fmla="val 11686"/>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9" name="Block Arc 8"/>
            <p:cNvSpPr/>
            <p:nvPr/>
          </p:nvSpPr>
          <p:spPr>
            <a:xfrm>
              <a:off x="1447864" y="1680671"/>
              <a:ext cx="1256032" cy="1256032"/>
            </a:xfrm>
            <a:prstGeom prst="blockArc">
              <a:avLst>
                <a:gd name="adj1" fmla="val 16162069"/>
                <a:gd name="adj2" fmla="val 3793687"/>
                <a:gd name="adj3" fmla="val 11689"/>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grpSp>
      <p:sp>
        <p:nvSpPr>
          <p:cNvPr id="11" name="Rectangle 10"/>
          <p:cNvSpPr/>
          <p:nvPr/>
        </p:nvSpPr>
        <p:spPr>
          <a:xfrm>
            <a:off x="5223313" y="2049101"/>
            <a:ext cx="721672" cy="415498"/>
          </a:xfrm>
          <a:prstGeom prst="rect">
            <a:avLst/>
          </a:prstGeom>
        </p:spPr>
        <p:txBody>
          <a:bodyPr wrap="none">
            <a:spAutoFit/>
          </a:bodyPr>
          <a:lstStyle/>
          <a:p>
            <a:pPr algn="ctr"/>
            <a:r>
              <a:rPr lang="en-AU" sz="2100" b="1">
                <a:solidFill>
                  <a:schemeClr val="accent5"/>
                </a:solidFill>
                <a:latin typeface="Arial" panose="020B0604020202020204" pitchFamily="34" charset="0"/>
                <a:cs typeface="Arial" panose="020B0604020202020204" pitchFamily="34" charset="0"/>
              </a:rPr>
              <a:t>40%</a:t>
            </a:r>
            <a:endParaRPr lang="en-US" sz="2100" b="1">
              <a:solidFill>
                <a:schemeClr val="accent5"/>
              </a:solidFill>
              <a:latin typeface="Arial" panose="020B0604020202020204" pitchFamily="34" charset="0"/>
              <a:cs typeface="Arial" panose="020B0604020202020204" pitchFamily="34" charset="0"/>
            </a:endParaRPr>
          </a:p>
        </p:txBody>
      </p:sp>
      <p:sp>
        <p:nvSpPr>
          <p:cNvPr id="12" name="Text Placeholder 32"/>
          <p:cNvSpPr txBox="1">
            <a:spLocks/>
          </p:cNvSpPr>
          <p:nvPr/>
        </p:nvSpPr>
        <p:spPr>
          <a:xfrm>
            <a:off x="6805498"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a:solidFill>
                  <a:schemeClr val="accent5"/>
                </a:solidFill>
                <a:latin typeface="Arial" panose="020B0604020202020204" pitchFamily="34" charset="0"/>
                <a:cs typeface="Arial" panose="020B0604020202020204" pitchFamily="34" charset="0"/>
              </a:rPr>
              <a:t>Lorem ipsum dolor sit </a:t>
            </a:r>
            <a:r>
              <a:rPr lang="en-US" sz="800" spc="10" err="1">
                <a:solidFill>
                  <a:schemeClr val="accent5"/>
                </a:solidFill>
                <a:latin typeface="Arial" panose="020B0604020202020204" pitchFamily="34" charset="0"/>
                <a:cs typeface="Arial" panose="020B0604020202020204" pitchFamily="34" charset="0"/>
              </a:rPr>
              <a:t>ame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consectetu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adipiscing</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eli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sed</a:t>
            </a:r>
            <a:r>
              <a:rPr lang="en-US" sz="800" spc="10">
                <a:solidFill>
                  <a:schemeClr val="accent5"/>
                </a:solidFill>
                <a:latin typeface="Arial" panose="020B0604020202020204" pitchFamily="34" charset="0"/>
                <a:cs typeface="Arial" panose="020B0604020202020204" pitchFamily="34" charset="0"/>
              </a:rPr>
              <a:t> do </a:t>
            </a:r>
            <a:r>
              <a:rPr lang="en-US" sz="800" spc="10" err="1">
                <a:solidFill>
                  <a:schemeClr val="accent5"/>
                </a:solidFill>
                <a:latin typeface="Arial" panose="020B0604020202020204" pitchFamily="34" charset="0"/>
                <a:cs typeface="Arial" panose="020B0604020202020204" pitchFamily="34" charset="0"/>
              </a:rPr>
              <a:t>eiusmod</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tempo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incididunt</a:t>
            </a:r>
            <a:endParaRPr lang="en-US" sz="800" spc="10">
              <a:solidFill>
                <a:schemeClr val="accent5"/>
              </a:solidFill>
              <a:latin typeface="Arial" panose="020B0604020202020204" pitchFamily="34" charset="0"/>
              <a:cs typeface="Arial" panose="020B0604020202020204" pitchFamily="34" charset="0"/>
            </a:endParaRPr>
          </a:p>
        </p:txBody>
      </p:sp>
      <p:sp>
        <p:nvSpPr>
          <p:cNvPr id="13" name="Text Placeholder 33"/>
          <p:cNvSpPr txBox="1">
            <a:spLocks/>
          </p:cNvSpPr>
          <p:nvPr/>
        </p:nvSpPr>
        <p:spPr>
          <a:xfrm>
            <a:off x="6805498"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a:latin typeface="Arial" panose="020B0604020202020204" pitchFamily="34" charset="0"/>
                <a:cs typeface="Arial" panose="020B0604020202020204" pitchFamily="34" charset="0"/>
              </a:rPr>
              <a:t>Headline Four</a:t>
            </a:r>
          </a:p>
        </p:txBody>
      </p:sp>
      <p:grpSp>
        <p:nvGrpSpPr>
          <p:cNvPr id="14" name="Group 13"/>
          <p:cNvGrpSpPr/>
          <p:nvPr/>
        </p:nvGrpSpPr>
        <p:grpSpPr>
          <a:xfrm>
            <a:off x="6880093" y="1582494"/>
            <a:ext cx="1399320" cy="1399320"/>
            <a:chOff x="1447864" y="1680671"/>
            <a:chExt cx="1256032" cy="1256032"/>
          </a:xfrm>
        </p:grpSpPr>
        <p:sp>
          <p:nvSpPr>
            <p:cNvPr id="15" name="Donut 14"/>
            <p:cNvSpPr/>
            <p:nvPr/>
          </p:nvSpPr>
          <p:spPr>
            <a:xfrm>
              <a:off x="1447864" y="1680671"/>
              <a:ext cx="1256032" cy="1256032"/>
            </a:xfrm>
            <a:prstGeom prst="donut">
              <a:avLst>
                <a:gd name="adj" fmla="val 11686"/>
              </a:avLst>
            </a:prstGeom>
            <a:solidFill>
              <a:schemeClr val="accent2">
                <a:lumMod val="20000"/>
                <a:lumOff val="80000"/>
                <a:alpha val="5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6" name="Block Arc 15"/>
            <p:cNvSpPr/>
            <p:nvPr/>
          </p:nvSpPr>
          <p:spPr>
            <a:xfrm>
              <a:off x="1447864" y="1680671"/>
              <a:ext cx="1256032" cy="1256032"/>
            </a:xfrm>
            <a:prstGeom prst="blockArc">
              <a:avLst>
                <a:gd name="adj1" fmla="val 16162069"/>
                <a:gd name="adj2" fmla="val 9513426"/>
                <a:gd name="adj3" fmla="val 11542"/>
              </a:avLst>
            </a:prstGeom>
            <a:solidFill>
              <a:srgbClr val="C01D2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grpSp>
      <p:sp>
        <p:nvSpPr>
          <p:cNvPr id="18" name="Rectangle 17"/>
          <p:cNvSpPr/>
          <p:nvPr/>
        </p:nvSpPr>
        <p:spPr>
          <a:xfrm>
            <a:off x="7221380" y="2049101"/>
            <a:ext cx="721672" cy="415498"/>
          </a:xfrm>
          <a:prstGeom prst="rect">
            <a:avLst/>
          </a:prstGeom>
        </p:spPr>
        <p:txBody>
          <a:bodyPr wrap="none">
            <a:spAutoFit/>
          </a:bodyPr>
          <a:lstStyle/>
          <a:p>
            <a:pPr algn="ctr"/>
            <a:r>
              <a:rPr lang="en-AU" sz="2100" b="1">
                <a:solidFill>
                  <a:srgbClr val="C01D28"/>
                </a:solidFill>
                <a:latin typeface="Arial" panose="020B0604020202020204" pitchFamily="34" charset="0"/>
                <a:cs typeface="Arial" panose="020B0604020202020204" pitchFamily="34" charset="0"/>
              </a:rPr>
              <a:t>69%</a:t>
            </a:r>
            <a:endParaRPr lang="en-US" sz="2100" b="1">
              <a:solidFill>
                <a:srgbClr val="C01D28"/>
              </a:solidFill>
              <a:latin typeface="Arial" panose="020B0604020202020204" pitchFamily="34" charset="0"/>
              <a:cs typeface="Arial" panose="020B0604020202020204" pitchFamily="34" charset="0"/>
            </a:endParaRPr>
          </a:p>
        </p:txBody>
      </p:sp>
      <p:sp>
        <p:nvSpPr>
          <p:cNvPr id="19" name="Text Placeholder 32"/>
          <p:cNvSpPr txBox="1">
            <a:spLocks/>
          </p:cNvSpPr>
          <p:nvPr/>
        </p:nvSpPr>
        <p:spPr>
          <a:xfrm>
            <a:off x="782656"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a:solidFill>
                  <a:schemeClr val="accent5"/>
                </a:solidFill>
                <a:latin typeface="Arial" panose="020B0604020202020204" pitchFamily="34" charset="0"/>
                <a:cs typeface="Arial" panose="020B0604020202020204" pitchFamily="34" charset="0"/>
              </a:rPr>
              <a:t>Lorem ipsum dolor sit </a:t>
            </a:r>
            <a:r>
              <a:rPr lang="en-US" sz="800" spc="10" err="1">
                <a:solidFill>
                  <a:schemeClr val="accent5"/>
                </a:solidFill>
                <a:latin typeface="Arial" panose="020B0604020202020204" pitchFamily="34" charset="0"/>
                <a:cs typeface="Arial" panose="020B0604020202020204" pitchFamily="34" charset="0"/>
              </a:rPr>
              <a:t>ame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consectetu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adipiscing</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eli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sed</a:t>
            </a:r>
            <a:r>
              <a:rPr lang="en-US" sz="800" spc="10">
                <a:solidFill>
                  <a:schemeClr val="accent5"/>
                </a:solidFill>
                <a:latin typeface="Arial" panose="020B0604020202020204" pitchFamily="34" charset="0"/>
                <a:cs typeface="Arial" panose="020B0604020202020204" pitchFamily="34" charset="0"/>
              </a:rPr>
              <a:t> do </a:t>
            </a:r>
            <a:r>
              <a:rPr lang="en-US" sz="800" spc="10" err="1">
                <a:solidFill>
                  <a:schemeClr val="accent5"/>
                </a:solidFill>
                <a:latin typeface="Arial" panose="020B0604020202020204" pitchFamily="34" charset="0"/>
                <a:cs typeface="Arial" panose="020B0604020202020204" pitchFamily="34" charset="0"/>
              </a:rPr>
              <a:t>eiusmod</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tempo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incididunt</a:t>
            </a:r>
            <a:endParaRPr lang="en-US" sz="800" spc="10">
              <a:solidFill>
                <a:schemeClr val="accent5"/>
              </a:solidFill>
              <a:latin typeface="Arial" panose="020B0604020202020204" pitchFamily="34" charset="0"/>
              <a:cs typeface="Arial" panose="020B0604020202020204" pitchFamily="34" charset="0"/>
            </a:endParaRPr>
          </a:p>
        </p:txBody>
      </p:sp>
      <p:sp>
        <p:nvSpPr>
          <p:cNvPr id="20" name="Text Placeholder 33"/>
          <p:cNvSpPr txBox="1">
            <a:spLocks/>
          </p:cNvSpPr>
          <p:nvPr/>
        </p:nvSpPr>
        <p:spPr>
          <a:xfrm>
            <a:off x="782656"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a:latin typeface="Arial" panose="020B0604020202020204" pitchFamily="34" charset="0"/>
                <a:cs typeface="Arial" panose="020B0604020202020204" pitchFamily="34" charset="0"/>
              </a:rPr>
              <a:t>Headline One</a:t>
            </a:r>
          </a:p>
        </p:txBody>
      </p:sp>
      <p:grpSp>
        <p:nvGrpSpPr>
          <p:cNvPr id="21" name="Group 20"/>
          <p:cNvGrpSpPr/>
          <p:nvPr/>
        </p:nvGrpSpPr>
        <p:grpSpPr>
          <a:xfrm>
            <a:off x="857250" y="1582494"/>
            <a:ext cx="1399320" cy="1399320"/>
            <a:chOff x="1447864" y="1680671"/>
            <a:chExt cx="1256032" cy="1256032"/>
          </a:xfrm>
        </p:grpSpPr>
        <p:sp>
          <p:nvSpPr>
            <p:cNvPr id="22" name="Donut 21"/>
            <p:cNvSpPr/>
            <p:nvPr/>
          </p:nvSpPr>
          <p:spPr>
            <a:xfrm>
              <a:off x="1447864" y="1680671"/>
              <a:ext cx="1256032" cy="1256032"/>
            </a:xfrm>
            <a:prstGeom prst="donut">
              <a:avLst>
                <a:gd name="adj" fmla="val 11686"/>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23" name="Block Arc 22"/>
            <p:cNvSpPr/>
            <p:nvPr/>
          </p:nvSpPr>
          <p:spPr>
            <a:xfrm>
              <a:off x="1447864" y="1680671"/>
              <a:ext cx="1256032" cy="1256032"/>
            </a:xfrm>
            <a:prstGeom prst="blockArc">
              <a:avLst>
                <a:gd name="adj1" fmla="val 16162069"/>
                <a:gd name="adj2" fmla="val 0"/>
                <a:gd name="adj3" fmla="val 1181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grpSp>
      <p:sp>
        <p:nvSpPr>
          <p:cNvPr id="25" name="Rectangle 24"/>
          <p:cNvSpPr/>
          <p:nvPr/>
        </p:nvSpPr>
        <p:spPr>
          <a:xfrm>
            <a:off x="1198537" y="2049101"/>
            <a:ext cx="721672" cy="415498"/>
          </a:xfrm>
          <a:prstGeom prst="rect">
            <a:avLst/>
          </a:prstGeom>
        </p:spPr>
        <p:txBody>
          <a:bodyPr wrap="none">
            <a:spAutoFit/>
          </a:bodyPr>
          <a:lstStyle/>
          <a:p>
            <a:pPr algn="ctr"/>
            <a:r>
              <a:rPr lang="en-AU" sz="2100" b="1">
                <a:solidFill>
                  <a:schemeClr val="accent1"/>
                </a:solidFill>
                <a:latin typeface="Arial" panose="020B0604020202020204" pitchFamily="34" charset="0"/>
                <a:cs typeface="Arial" panose="020B0604020202020204" pitchFamily="34" charset="0"/>
              </a:rPr>
              <a:t>25%</a:t>
            </a:r>
            <a:endParaRPr lang="en-US" sz="2100" b="1">
              <a:solidFill>
                <a:schemeClr val="accent1"/>
              </a:solidFill>
              <a:latin typeface="Arial" panose="020B0604020202020204" pitchFamily="34" charset="0"/>
              <a:cs typeface="Arial" panose="020B0604020202020204" pitchFamily="34" charset="0"/>
            </a:endParaRPr>
          </a:p>
        </p:txBody>
      </p:sp>
      <p:sp>
        <p:nvSpPr>
          <p:cNvPr id="26" name="Text Placeholder 32"/>
          <p:cNvSpPr txBox="1">
            <a:spLocks/>
          </p:cNvSpPr>
          <p:nvPr/>
        </p:nvSpPr>
        <p:spPr>
          <a:xfrm>
            <a:off x="278072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a:solidFill>
                  <a:schemeClr val="accent5"/>
                </a:solidFill>
                <a:latin typeface="Arial" panose="020B0604020202020204" pitchFamily="34" charset="0"/>
                <a:cs typeface="Arial" panose="020B0604020202020204" pitchFamily="34" charset="0"/>
              </a:rPr>
              <a:t>Lorem ipsum dolor sit </a:t>
            </a:r>
            <a:r>
              <a:rPr lang="en-US" sz="800" spc="10" err="1">
                <a:solidFill>
                  <a:schemeClr val="accent5"/>
                </a:solidFill>
                <a:latin typeface="Arial" panose="020B0604020202020204" pitchFamily="34" charset="0"/>
                <a:cs typeface="Arial" panose="020B0604020202020204" pitchFamily="34" charset="0"/>
              </a:rPr>
              <a:t>ame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consectetu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adipiscing</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elit</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sed</a:t>
            </a:r>
            <a:r>
              <a:rPr lang="en-US" sz="800" spc="10">
                <a:solidFill>
                  <a:schemeClr val="accent5"/>
                </a:solidFill>
                <a:latin typeface="Arial" panose="020B0604020202020204" pitchFamily="34" charset="0"/>
                <a:cs typeface="Arial" panose="020B0604020202020204" pitchFamily="34" charset="0"/>
              </a:rPr>
              <a:t> do </a:t>
            </a:r>
            <a:r>
              <a:rPr lang="en-US" sz="800" spc="10" err="1">
                <a:solidFill>
                  <a:schemeClr val="accent5"/>
                </a:solidFill>
                <a:latin typeface="Arial" panose="020B0604020202020204" pitchFamily="34" charset="0"/>
                <a:cs typeface="Arial" panose="020B0604020202020204" pitchFamily="34" charset="0"/>
              </a:rPr>
              <a:t>eiusmod</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tempor</a:t>
            </a:r>
            <a:r>
              <a:rPr lang="en-US" sz="800" spc="10">
                <a:solidFill>
                  <a:schemeClr val="accent5"/>
                </a:solidFill>
                <a:latin typeface="Arial" panose="020B0604020202020204" pitchFamily="34" charset="0"/>
                <a:cs typeface="Arial" panose="020B0604020202020204" pitchFamily="34" charset="0"/>
              </a:rPr>
              <a:t> </a:t>
            </a:r>
            <a:r>
              <a:rPr lang="en-US" sz="800" spc="10" err="1">
                <a:solidFill>
                  <a:schemeClr val="accent5"/>
                </a:solidFill>
                <a:latin typeface="Arial" panose="020B0604020202020204" pitchFamily="34" charset="0"/>
                <a:cs typeface="Arial" panose="020B0604020202020204" pitchFamily="34" charset="0"/>
              </a:rPr>
              <a:t>incididunt</a:t>
            </a:r>
            <a:endParaRPr lang="en-US" sz="800" spc="10">
              <a:solidFill>
                <a:schemeClr val="accent5"/>
              </a:solidFill>
              <a:latin typeface="Arial" panose="020B0604020202020204" pitchFamily="34" charset="0"/>
              <a:cs typeface="Arial" panose="020B0604020202020204" pitchFamily="34" charset="0"/>
            </a:endParaRPr>
          </a:p>
        </p:txBody>
      </p:sp>
      <p:sp>
        <p:nvSpPr>
          <p:cNvPr id="27" name="Text Placeholder 33"/>
          <p:cNvSpPr txBox="1">
            <a:spLocks/>
          </p:cNvSpPr>
          <p:nvPr/>
        </p:nvSpPr>
        <p:spPr>
          <a:xfrm>
            <a:off x="278072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a:latin typeface="Arial" panose="020B0604020202020204" pitchFamily="34" charset="0"/>
                <a:cs typeface="Arial" panose="020B0604020202020204" pitchFamily="34" charset="0"/>
              </a:rPr>
              <a:t>Headline Two</a:t>
            </a:r>
          </a:p>
        </p:txBody>
      </p:sp>
      <p:grpSp>
        <p:nvGrpSpPr>
          <p:cNvPr id="28" name="Group 27"/>
          <p:cNvGrpSpPr/>
          <p:nvPr/>
        </p:nvGrpSpPr>
        <p:grpSpPr>
          <a:xfrm>
            <a:off x="2855317" y="1582494"/>
            <a:ext cx="1399320" cy="1399320"/>
            <a:chOff x="1447864" y="1680671"/>
            <a:chExt cx="1256032" cy="1256032"/>
          </a:xfrm>
          <a:effectLst/>
        </p:grpSpPr>
        <p:sp>
          <p:nvSpPr>
            <p:cNvPr id="29" name="Donut 28"/>
            <p:cNvSpPr/>
            <p:nvPr/>
          </p:nvSpPr>
          <p:spPr>
            <a:xfrm>
              <a:off x="1447864" y="1680671"/>
              <a:ext cx="1256032" cy="1256032"/>
            </a:xfrm>
            <a:prstGeom prst="donut">
              <a:avLst>
                <a:gd name="adj" fmla="val 11686"/>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30" name="Block Arc 29"/>
            <p:cNvSpPr/>
            <p:nvPr/>
          </p:nvSpPr>
          <p:spPr>
            <a:xfrm>
              <a:off x="1447864" y="1680671"/>
              <a:ext cx="1256032" cy="1256032"/>
            </a:xfrm>
            <a:prstGeom prst="blockArc">
              <a:avLst>
                <a:gd name="adj1" fmla="val 16162069"/>
                <a:gd name="adj2" fmla="val 9513426"/>
                <a:gd name="adj3" fmla="val 1154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grpSp>
      <p:sp>
        <p:nvSpPr>
          <p:cNvPr id="32" name="Rectangle 31"/>
          <p:cNvSpPr/>
          <p:nvPr/>
        </p:nvSpPr>
        <p:spPr>
          <a:xfrm>
            <a:off x="3196604" y="2049101"/>
            <a:ext cx="721672" cy="415498"/>
          </a:xfrm>
          <a:prstGeom prst="rect">
            <a:avLst/>
          </a:prstGeom>
        </p:spPr>
        <p:txBody>
          <a:bodyPr wrap="none">
            <a:spAutoFit/>
          </a:bodyPr>
          <a:lstStyle/>
          <a:p>
            <a:pPr algn="ctr"/>
            <a:r>
              <a:rPr lang="en-AU" sz="2100" b="1">
                <a:solidFill>
                  <a:schemeClr val="accent3"/>
                </a:solidFill>
                <a:latin typeface="Arial" panose="020B0604020202020204" pitchFamily="34" charset="0"/>
                <a:cs typeface="Arial" panose="020B0604020202020204" pitchFamily="34" charset="0"/>
              </a:rPr>
              <a:t>69%</a:t>
            </a:r>
            <a:endParaRPr lang="en-US" sz="2100" b="1">
              <a:solidFill>
                <a:schemeClr val="accent3"/>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1BCEEA35-EB60-8F7A-8F96-50BF55DCFFDC}"/>
              </a:ext>
            </a:extLst>
          </p:cNvPr>
          <p:cNvSpPr txBox="1"/>
          <p:nvPr/>
        </p:nvSpPr>
        <p:spPr>
          <a:xfrm>
            <a:off x="1203158" y="211756"/>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F7242635-7AFD-C123-000A-9D63CFB3CF00}"/>
              </a:ext>
            </a:extLst>
          </p:cNvPr>
          <p:cNvSpPr txBox="1"/>
          <p:nvPr/>
        </p:nvSpPr>
        <p:spPr>
          <a:xfrm>
            <a:off x="1645920" y="154004"/>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18175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80409" y="1"/>
            <a:ext cx="3063591"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4" name="Text Placeholder 3"/>
          <p:cNvSpPr>
            <a:spLocks noGrp="1"/>
          </p:cNvSpPr>
          <p:nvPr>
            <p:ph type="body" sz="quarter" idx="16"/>
          </p:nvPr>
        </p:nvSpPr>
        <p:spPr>
          <a:xfrm>
            <a:off x="465188" y="894740"/>
            <a:ext cx="5489046" cy="170816"/>
          </a:xfrm>
        </p:spPr>
        <p:txBody>
          <a:bodyPr/>
          <a:lstStyle/>
          <a:p>
            <a:endParaRPr lang="en-US">
              <a:solidFill>
                <a:schemeClr val="tx1"/>
              </a:solidFill>
            </a:endParaRPr>
          </a:p>
        </p:txBody>
      </p:sp>
      <p:sp>
        <p:nvSpPr>
          <p:cNvPr id="5" name="Text Placeholder 4"/>
          <p:cNvSpPr>
            <a:spLocks noGrp="1"/>
          </p:cNvSpPr>
          <p:nvPr>
            <p:ph type="body" sz="quarter" idx="17"/>
          </p:nvPr>
        </p:nvSpPr>
        <p:spPr/>
        <p:txBody>
          <a:bodyPr/>
          <a:lstStyle/>
          <a:p>
            <a:r>
              <a:rPr lang="en-US">
                <a:solidFill>
                  <a:schemeClr val="accent1"/>
                </a:solidFill>
              </a:rPr>
              <a:t>Chart with callouts</a:t>
            </a:r>
          </a:p>
        </p:txBody>
      </p:sp>
      <p:graphicFrame>
        <p:nvGraphicFramePr>
          <p:cNvPr id="7" name="Chart 6"/>
          <p:cNvGraphicFramePr/>
          <p:nvPr>
            <p:extLst>
              <p:ext uri="{D42A27DB-BD31-4B8C-83A1-F6EECF244321}">
                <p14:modId xmlns:p14="http://schemas.microsoft.com/office/powerpoint/2010/main" val="1047988982"/>
              </p:ext>
            </p:extLst>
          </p:nvPr>
        </p:nvGraphicFramePr>
        <p:xfrm>
          <a:off x="884040" y="1593840"/>
          <a:ext cx="4470356" cy="3246116"/>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p:cNvGrpSpPr/>
          <p:nvPr/>
        </p:nvGrpSpPr>
        <p:grpSpPr>
          <a:xfrm>
            <a:off x="4945453" y="1159807"/>
            <a:ext cx="408943" cy="419089"/>
            <a:chOff x="4059092" y="1752952"/>
            <a:chExt cx="585787" cy="600321"/>
          </a:xfrm>
          <a:solidFill>
            <a:srgbClr val="C01D28"/>
          </a:solidFill>
        </p:grpSpPr>
        <p:sp>
          <p:nvSpPr>
            <p:cNvPr id="9" name="Rectangle 8"/>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0" name="Oval 9"/>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p>
          </p:txBody>
        </p:sp>
      </p:grpSp>
      <p:grpSp>
        <p:nvGrpSpPr>
          <p:cNvPr id="11" name="Group 10"/>
          <p:cNvGrpSpPr/>
          <p:nvPr/>
        </p:nvGrpSpPr>
        <p:grpSpPr>
          <a:xfrm>
            <a:off x="1162397" y="2936964"/>
            <a:ext cx="408943" cy="419089"/>
            <a:chOff x="4059092" y="1752952"/>
            <a:chExt cx="585787" cy="600321"/>
          </a:xfrm>
          <a:solidFill>
            <a:schemeClr val="accent1"/>
          </a:solidFill>
        </p:grpSpPr>
        <p:sp>
          <p:nvSpPr>
            <p:cNvPr id="12" name="Rectangle 11"/>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3" name="Oval 12"/>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1</a:t>
              </a:r>
            </a:p>
          </p:txBody>
        </p:sp>
      </p:grpSp>
      <p:sp>
        <p:nvSpPr>
          <p:cNvPr id="14" name="Text Placeholder 32"/>
          <p:cNvSpPr txBox="1">
            <a:spLocks/>
          </p:cNvSpPr>
          <p:nvPr/>
        </p:nvSpPr>
        <p:spPr>
          <a:xfrm>
            <a:off x="6380584" y="1160560"/>
            <a:ext cx="2493872" cy="72069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err="1">
                <a:gradFill>
                  <a:gsLst>
                    <a:gs pos="0">
                      <a:schemeClr val="bg1"/>
                    </a:gs>
                    <a:gs pos="98000">
                      <a:schemeClr val="bg1"/>
                    </a:gs>
                  </a:gsLst>
                  <a:lin ang="5400000" scaled="1"/>
                </a:gradFill>
                <a:latin typeface="+mj-lt"/>
              </a:rPr>
              <a:t>Liquorice</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a</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s</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applicake</a:t>
            </a:r>
            <a:r>
              <a:rPr lang="en-US" sz="800">
                <a:gradFill>
                  <a:gsLst>
                    <a:gs pos="0">
                      <a:schemeClr val="bg1"/>
                    </a:gs>
                    <a:gs pos="98000">
                      <a:schemeClr val="bg1"/>
                    </a:gs>
                  </a:gsLst>
                  <a:lin ang="5400000" scaled="1"/>
                </a:gradFill>
                <a:latin typeface="+mj-lt"/>
              </a:rPr>
              <a:t> apple pie cupcake brownie bear claw gingerbread cotton candy. Bear claw croissant apple pie. Croissant cake tart liquorice tart pastry. iscuit wafer sweet apple pie. </a:t>
            </a:r>
          </a:p>
        </p:txBody>
      </p:sp>
      <p:sp>
        <p:nvSpPr>
          <p:cNvPr id="15" name="Text Placeholder 33"/>
          <p:cNvSpPr txBox="1">
            <a:spLocks/>
          </p:cNvSpPr>
          <p:nvPr/>
        </p:nvSpPr>
        <p:spPr>
          <a:xfrm>
            <a:off x="6371904" y="92854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16" name="Text Placeholder 33"/>
          <p:cNvSpPr txBox="1">
            <a:spLocks/>
          </p:cNvSpPr>
          <p:nvPr/>
        </p:nvSpPr>
        <p:spPr>
          <a:xfrm>
            <a:off x="6360793" y="56387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a:gradFill>
                  <a:gsLst>
                    <a:gs pos="0">
                      <a:schemeClr val="bg1"/>
                    </a:gs>
                    <a:gs pos="98000">
                      <a:schemeClr val="bg1"/>
                    </a:gs>
                  </a:gsLst>
                  <a:lin ang="5400000" scaled="1"/>
                </a:gradFill>
                <a:latin typeface="+mj-lt"/>
              </a:rPr>
              <a:t>2020</a:t>
            </a:r>
          </a:p>
        </p:txBody>
      </p:sp>
      <p:sp>
        <p:nvSpPr>
          <p:cNvPr id="17" name="Text Placeholder 32"/>
          <p:cNvSpPr txBox="1">
            <a:spLocks/>
          </p:cNvSpPr>
          <p:nvPr/>
        </p:nvSpPr>
        <p:spPr>
          <a:xfrm>
            <a:off x="6380584" y="2679250"/>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18" name="Text Placeholder 33"/>
          <p:cNvSpPr txBox="1">
            <a:spLocks/>
          </p:cNvSpPr>
          <p:nvPr/>
        </p:nvSpPr>
        <p:spPr>
          <a:xfrm>
            <a:off x="6371904" y="2447232"/>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19" name="Text Placeholder 33"/>
          <p:cNvSpPr txBox="1">
            <a:spLocks/>
          </p:cNvSpPr>
          <p:nvPr/>
        </p:nvSpPr>
        <p:spPr>
          <a:xfrm>
            <a:off x="6360793" y="208256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a:gradFill>
                  <a:gsLst>
                    <a:gs pos="0">
                      <a:schemeClr val="bg1"/>
                    </a:gs>
                    <a:gs pos="98000">
                      <a:schemeClr val="bg1"/>
                    </a:gs>
                  </a:gsLst>
                  <a:lin ang="5400000" scaled="1"/>
                </a:gradFill>
                <a:latin typeface="+mj-lt"/>
              </a:rPr>
              <a:t>2021</a:t>
            </a:r>
          </a:p>
        </p:txBody>
      </p:sp>
      <p:sp>
        <p:nvSpPr>
          <p:cNvPr id="20" name="Text Placeholder 32"/>
          <p:cNvSpPr txBox="1">
            <a:spLocks/>
          </p:cNvSpPr>
          <p:nvPr/>
        </p:nvSpPr>
        <p:spPr>
          <a:xfrm>
            <a:off x="6380584" y="3802401"/>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21" name="Text Placeholder 33"/>
          <p:cNvSpPr txBox="1">
            <a:spLocks/>
          </p:cNvSpPr>
          <p:nvPr/>
        </p:nvSpPr>
        <p:spPr>
          <a:xfrm>
            <a:off x="6371904" y="357038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22" name="Text Placeholder 33"/>
          <p:cNvSpPr txBox="1">
            <a:spLocks/>
          </p:cNvSpPr>
          <p:nvPr/>
        </p:nvSpPr>
        <p:spPr>
          <a:xfrm>
            <a:off x="6360793" y="3205714"/>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a:gradFill>
                  <a:gsLst>
                    <a:gs pos="0">
                      <a:schemeClr val="bg1"/>
                    </a:gs>
                    <a:gs pos="98000">
                      <a:schemeClr val="bg1"/>
                    </a:gs>
                  </a:gsLst>
                  <a:lin ang="5400000" scaled="1"/>
                </a:gradFill>
                <a:latin typeface="+mj-lt"/>
              </a:rPr>
              <a:t>2022</a:t>
            </a:r>
          </a:p>
        </p:txBody>
      </p:sp>
      <p:sp>
        <p:nvSpPr>
          <p:cNvPr id="3" name="TextBox 2">
            <a:extLst>
              <a:ext uri="{FF2B5EF4-FFF2-40B4-BE49-F238E27FC236}">
                <a16:creationId xmlns:a16="http://schemas.microsoft.com/office/drawing/2014/main" id="{FDFDCF4F-AC6F-4EC6-A017-AA2A5F6254DC}"/>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bg1"/>
                </a:solidFill>
                <a:latin typeface="Arial" panose="020B0604020202020204" pitchFamily="34" charset="0"/>
                <a:cs typeface="Arial" panose="020B0604020202020204" pitchFamily="34" charset="0"/>
              </a:rPr>
              <a:t>incose.org</a:t>
            </a:r>
            <a:r>
              <a:rPr lang="en-GB" sz="800" spc="0" baseline="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35</a:t>
            </a:fld>
            <a:endParaRPr lang="en-GB" sz="800" spc="0" baseline="0">
              <a:solidFill>
                <a:schemeClr val="bg1"/>
              </a:solidFill>
              <a:latin typeface="Arial" panose="020B0604020202020204" pitchFamily="34" charset="0"/>
              <a:cs typeface="Arial" panose="020B0604020202020204" pitchFamily="34" charset="0"/>
            </a:endParaRPr>
          </a:p>
        </p:txBody>
      </p:sp>
      <p:pic>
        <p:nvPicPr>
          <p:cNvPr id="24" name="Picture 23" descr="A screen shot of a cellphone&#10;&#10;Description automatically generated">
            <a:extLst>
              <a:ext uri="{FF2B5EF4-FFF2-40B4-BE49-F238E27FC236}">
                <a16:creationId xmlns:a16="http://schemas.microsoft.com/office/drawing/2014/main" id="{8EFDFB13-C6CF-C165-1E34-D49C607D4E5C}"/>
              </a:ext>
            </a:extLst>
          </p:cNvPr>
          <p:cNvPicPr>
            <a:picLocks noChangeAspect="1"/>
          </p:cNvPicPr>
          <p:nvPr/>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7258887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solidFill>
                <a:schemeClr val="tx1"/>
              </a:solidFill>
            </a:endParaRPr>
          </a:p>
        </p:txBody>
      </p:sp>
      <p:sp>
        <p:nvSpPr>
          <p:cNvPr id="24" name="Text Placeholder 23"/>
          <p:cNvSpPr>
            <a:spLocks noGrp="1"/>
          </p:cNvSpPr>
          <p:nvPr>
            <p:ph type="body" sz="quarter" idx="17"/>
          </p:nvPr>
        </p:nvSpPr>
        <p:spPr/>
        <p:txBody>
          <a:bodyPr/>
          <a:lstStyle/>
          <a:p>
            <a:r>
              <a:rPr lang="en-US">
                <a:solidFill>
                  <a:schemeClr val="accent1"/>
                </a:solidFill>
              </a:rPr>
              <a:t>Chart</a:t>
            </a:r>
          </a:p>
        </p:txBody>
      </p:sp>
      <p:graphicFrame>
        <p:nvGraphicFramePr>
          <p:cNvPr id="5" name="Chart 4"/>
          <p:cNvGraphicFramePr/>
          <p:nvPr>
            <p:extLst>
              <p:ext uri="{D42A27DB-BD31-4B8C-83A1-F6EECF244321}">
                <p14:modId xmlns:p14="http://schemas.microsoft.com/office/powerpoint/2010/main" val="2584367275"/>
              </p:ext>
            </p:extLst>
          </p:nvPr>
        </p:nvGraphicFramePr>
        <p:xfrm>
          <a:off x="483498" y="1264027"/>
          <a:ext cx="5983248" cy="3189168"/>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5"/>
          <p:cNvGrpSpPr/>
          <p:nvPr/>
        </p:nvGrpSpPr>
        <p:grpSpPr>
          <a:xfrm>
            <a:off x="2304766" y="2106309"/>
            <a:ext cx="408943" cy="419089"/>
            <a:chOff x="4059092" y="1752952"/>
            <a:chExt cx="585787" cy="600321"/>
          </a:xfrm>
          <a:solidFill>
            <a:srgbClr val="FB7264"/>
          </a:solidFill>
        </p:grpSpPr>
        <p:sp>
          <p:nvSpPr>
            <p:cNvPr id="7" name="Rectangle 6"/>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8" name="Oval 7"/>
            <p:cNvSpPr/>
            <p:nvPr/>
          </p:nvSpPr>
          <p:spPr>
            <a:xfrm>
              <a:off x="4059092" y="1752952"/>
              <a:ext cx="585787" cy="585787"/>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1</a:t>
              </a:r>
              <a:endParaRPr lang="en-US" sz="1200">
                <a:solidFill>
                  <a:schemeClr val="bg1"/>
                </a:solidFill>
                <a:latin typeface="+mj-lt"/>
              </a:endParaRPr>
            </a:p>
          </p:txBody>
        </p:sp>
      </p:grpSp>
      <p:grpSp>
        <p:nvGrpSpPr>
          <p:cNvPr id="9" name="Group 8"/>
          <p:cNvGrpSpPr/>
          <p:nvPr/>
        </p:nvGrpSpPr>
        <p:grpSpPr>
          <a:xfrm>
            <a:off x="4571226" y="1213879"/>
            <a:ext cx="408943" cy="419089"/>
            <a:chOff x="4059092" y="1752952"/>
            <a:chExt cx="585787" cy="600321"/>
          </a:xfrm>
          <a:solidFill>
            <a:schemeClr val="accent3"/>
          </a:solidFill>
        </p:grpSpPr>
        <p:sp>
          <p:nvSpPr>
            <p:cNvPr id="10" name="Rectangle 9"/>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1" name="Oval 10"/>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grpSp>
      <p:grpSp>
        <p:nvGrpSpPr>
          <p:cNvPr id="12" name="Group 11"/>
          <p:cNvGrpSpPr/>
          <p:nvPr/>
        </p:nvGrpSpPr>
        <p:grpSpPr>
          <a:xfrm>
            <a:off x="5692709" y="1107692"/>
            <a:ext cx="408943" cy="419089"/>
            <a:chOff x="4059092" y="1752952"/>
            <a:chExt cx="585787" cy="600321"/>
          </a:xfrm>
          <a:solidFill>
            <a:schemeClr val="accent6"/>
          </a:solidFill>
        </p:grpSpPr>
        <p:sp>
          <p:nvSpPr>
            <p:cNvPr id="13" name="Rectangle 12"/>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4" name="Oval 13"/>
            <p:cNvSpPr/>
            <p:nvPr/>
          </p:nvSpPr>
          <p:spPr>
            <a:xfrm>
              <a:off x="4059092" y="1752952"/>
              <a:ext cx="585787" cy="58578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grpSp>
      <p:sp>
        <p:nvSpPr>
          <p:cNvPr id="15" name="Oval 14"/>
          <p:cNvSpPr/>
          <p:nvPr/>
        </p:nvSpPr>
        <p:spPr>
          <a:xfrm flipH="1">
            <a:off x="6697831" y="1664698"/>
            <a:ext cx="408943" cy="408943"/>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1</a:t>
            </a:r>
          </a:p>
        </p:txBody>
      </p:sp>
      <p:sp>
        <p:nvSpPr>
          <p:cNvPr id="16" name="Text Placeholder 32"/>
          <p:cNvSpPr txBox="1">
            <a:spLocks/>
          </p:cNvSpPr>
          <p:nvPr/>
        </p:nvSpPr>
        <p:spPr>
          <a:xfrm>
            <a:off x="7239775" y="2508645"/>
            <a:ext cx="1532749"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solidFill>
                  <a:schemeClr val="accent5"/>
                </a:solidFill>
                <a:latin typeface="+mj-lt"/>
              </a:rPr>
              <a:t>Lorem </a:t>
            </a:r>
            <a:r>
              <a:rPr lang="en-US" sz="800" err="1">
                <a:solidFill>
                  <a:schemeClr val="accent5"/>
                </a:solidFill>
                <a:latin typeface="+mj-lt"/>
              </a:rPr>
              <a:t>ispum</a:t>
            </a:r>
            <a:r>
              <a:rPr lang="en-US" sz="800">
                <a:solidFill>
                  <a:schemeClr val="accent5"/>
                </a:solidFill>
                <a:latin typeface="+mj-lt"/>
              </a:rPr>
              <a:t> </a:t>
            </a:r>
            <a:r>
              <a:rPr lang="en-US" sz="800" err="1">
                <a:solidFill>
                  <a:schemeClr val="accent5"/>
                </a:solidFill>
                <a:latin typeface="+mj-lt"/>
              </a:rPr>
              <a:t>dolar</a:t>
            </a:r>
            <a:r>
              <a:rPr lang="en-US" sz="800">
                <a:solidFill>
                  <a:schemeClr val="accent5"/>
                </a:solidFill>
                <a:latin typeface="+mj-lt"/>
              </a:rPr>
              <a:t> site </a:t>
            </a:r>
            <a:r>
              <a:rPr lang="en-US" sz="800" err="1">
                <a:solidFill>
                  <a:schemeClr val="accent5"/>
                </a:solidFill>
                <a:latin typeface="+mj-lt"/>
              </a:rPr>
              <a:t>amet</a:t>
            </a:r>
            <a:r>
              <a:rPr lang="en-US" sz="800">
                <a:solidFill>
                  <a:schemeClr val="accent5"/>
                </a:solidFill>
                <a:latin typeface="+mj-lt"/>
              </a:rPr>
              <a:t> </a:t>
            </a:r>
            <a:r>
              <a:rPr lang="en-US" sz="800" err="1">
                <a:solidFill>
                  <a:schemeClr val="accent5"/>
                </a:solidFill>
                <a:latin typeface="+mj-lt"/>
              </a:rPr>
              <a:t>dinso</a:t>
            </a:r>
            <a:r>
              <a:rPr lang="en-US" sz="800">
                <a:solidFill>
                  <a:schemeClr val="accent5"/>
                </a:solidFill>
                <a:latin typeface="+mj-lt"/>
              </a:rPr>
              <a:t> hem </a:t>
            </a:r>
            <a:r>
              <a:rPr lang="en-US" sz="800" err="1">
                <a:solidFill>
                  <a:schemeClr val="accent5"/>
                </a:solidFill>
                <a:latin typeface="+mj-lt"/>
              </a:rPr>
              <a:t>licj</a:t>
            </a:r>
            <a:r>
              <a:rPr lang="en-US" sz="800">
                <a:solidFill>
                  <a:schemeClr val="accent5"/>
                </a:solidFill>
                <a:latin typeface="+mj-lt"/>
              </a:rPr>
              <a:t> qwerty </a:t>
            </a:r>
            <a:r>
              <a:rPr lang="en-US" sz="800" err="1">
                <a:solidFill>
                  <a:schemeClr val="accent5"/>
                </a:solidFill>
                <a:latin typeface="+mj-lt"/>
              </a:rPr>
              <a:t>inso</a:t>
            </a:r>
            <a:r>
              <a:rPr lang="en-US" sz="800">
                <a:solidFill>
                  <a:schemeClr val="accent5"/>
                </a:solidFill>
                <a:latin typeface="+mj-lt"/>
              </a:rPr>
              <a:t> </a:t>
            </a:r>
            <a:r>
              <a:rPr lang="en-US" sz="800" err="1">
                <a:solidFill>
                  <a:schemeClr val="accent5"/>
                </a:solidFill>
                <a:latin typeface="+mj-lt"/>
              </a:rPr>
              <a:t>erkilum</a:t>
            </a:r>
            <a:endParaRPr lang="en-US" sz="800">
              <a:solidFill>
                <a:schemeClr val="accent5"/>
              </a:solidFill>
              <a:latin typeface="+mj-lt"/>
            </a:endParaRPr>
          </a:p>
        </p:txBody>
      </p:sp>
      <p:sp>
        <p:nvSpPr>
          <p:cNvPr id="17" name="Text Placeholder 33"/>
          <p:cNvSpPr txBox="1">
            <a:spLocks/>
          </p:cNvSpPr>
          <p:nvPr/>
        </p:nvSpPr>
        <p:spPr>
          <a:xfrm>
            <a:off x="7228690" y="2343150"/>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a:latin typeface="+mj-lt"/>
              </a:rPr>
              <a:t>Headline</a:t>
            </a:r>
          </a:p>
        </p:txBody>
      </p:sp>
      <p:sp>
        <p:nvSpPr>
          <p:cNvPr id="18" name="Text Placeholder 32"/>
          <p:cNvSpPr txBox="1">
            <a:spLocks/>
          </p:cNvSpPr>
          <p:nvPr/>
        </p:nvSpPr>
        <p:spPr>
          <a:xfrm>
            <a:off x="7225951" y="1791167"/>
            <a:ext cx="1590198"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solidFill>
                  <a:schemeClr val="accent5"/>
                </a:solidFill>
                <a:latin typeface="+mj-lt"/>
              </a:rPr>
              <a:t>Lorem </a:t>
            </a:r>
            <a:r>
              <a:rPr lang="en-US" sz="800" err="1">
                <a:solidFill>
                  <a:schemeClr val="accent5"/>
                </a:solidFill>
                <a:latin typeface="+mj-lt"/>
              </a:rPr>
              <a:t>ispum</a:t>
            </a:r>
            <a:r>
              <a:rPr lang="en-US" sz="800">
                <a:solidFill>
                  <a:schemeClr val="accent5"/>
                </a:solidFill>
                <a:latin typeface="+mj-lt"/>
              </a:rPr>
              <a:t> </a:t>
            </a:r>
            <a:r>
              <a:rPr lang="en-US" sz="800" err="1">
                <a:solidFill>
                  <a:schemeClr val="accent5"/>
                </a:solidFill>
                <a:latin typeface="+mj-lt"/>
              </a:rPr>
              <a:t>dolar</a:t>
            </a:r>
            <a:r>
              <a:rPr lang="en-US" sz="800">
                <a:solidFill>
                  <a:schemeClr val="accent5"/>
                </a:solidFill>
                <a:latin typeface="+mj-lt"/>
              </a:rPr>
              <a:t> site </a:t>
            </a:r>
            <a:r>
              <a:rPr lang="en-US" sz="800" err="1">
                <a:solidFill>
                  <a:schemeClr val="accent5"/>
                </a:solidFill>
                <a:latin typeface="+mj-lt"/>
              </a:rPr>
              <a:t>amet</a:t>
            </a:r>
            <a:r>
              <a:rPr lang="en-US" sz="800">
                <a:solidFill>
                  <a:schemeClr val="accent5"/>
                </a:solidFill>
                <a:latin typeface="+mj-lt"/>
              </a:rPr>
              <a:t> </a:t>
            </a:r>
            <a:r>
              <a:rPr lang="en-US" sz="800" err="1">
                <a:solidFill>
                  <a:schemeClr val="accent5"/>
                </a:solidFill>
                <a:latin typeface="+mj-lt"/>
              </a:rPr>
              <a:t>dinso</a:t>
            </a:r>
            <a:r>
              <a:rPr lang="en-US" sz="800">
                <a:solidFill>
                  <a:schemeClr val="accent5"/>
                </a:solidFill>
                <a:latin typeface="+mj-lt"/>
              </a:rPr>
              <a:t> hem </a:t>
            </a:r>
            <a:r>
              <a:rPr lang="en-US" sz="800" err="1">
                <a:solidFill>
                  <a:schemeClr val="accent5"/>
                </a:solidFill>
                <a:latin typeface="+mj-lt"/>
              </a:rPr>
              <a:t>licj</a:t>
            </a:r>
            <a:r>
              <a:rPr lang="en-US" sz="800">
                <a:solidFill>
                  <a:schemeClr val="accent5"/>
                </a:solidFill>
                <a:latin typeface="+mj-lt"/>
              </a:rPr>
              <a:t> qwerty </a:t>
            </a:r>
            <a:r>
              <a:rPr lang="en-US" sz="800" err="1">
                <a:solidFill>
                  <a:schemeClr val="accent5"/>
                </a:solidFill>
                <a:latin typeface="+mj-lt"/>
              </a:rPr>
              <a:t>inso</a:t>
            </a:r>
            <a:r>
              <a:rPr lang="en-US" sz="800">
                <a:solidFill>
                  <a:schemeClr val="accent5"/>
                </a:solidFill>
                <a:latin typeface="+mj-lt"/>
              </a:rPr>
              <a:t> </a:t>
            </a:r>
            <a:r>
              <a:rPr lang="en-US" sz="800" err="1">
                <a:solidFill>
                  <a:schemeClr val="accent5"/>
                </a:solidFill>
                <a:latin typeface="+mj-lt"/>
              </a:rPr>
              <a:t>erkilum</a:t>
            </a:r>
            <a:endParaRPr lang="en-US" sz="800">
              <a:solidFill>
                <a:schemeClr val="accent5"/>
              </a:solidFill>
              <a:latin typeface="+mj-lt"/>
            </a:endParaRPr>
          </a:p>
        </p:txBody>
      </p:sp>
      <p:sp>
        <p:nvSpPr>
          <p:cNvPr id="19" name="Text Placeholder 33"/>
          <p:cNvSpPr txBox="1">
            <a:spLocks/>
          </p:cNvSpPr>
          <p:nvPr/>
        </p:nvSpPr>
        <p:spPr>
          <a:xfrm>
            <a:off x="7214867" y="1625672"/>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a:solidFill>
                  <a:srgbClr val="C01D28"/>
                </a:solidFill>
                <a:latin typeface="+mj-lt"/>
              </a:rPr>
              <a:t>Headline</a:t>
            </a:r>
          </a:p>
        </p:txBody>
      </p:sp>
      <p:sp>
        <p:nvSpPr>
          <p:cNvPr id="20" name="Text Placeholder 32"/>
          <p:cNvSpPr txBox="1">
            <a:spLocks/>
          </p:cNvSpPr>
          <p:nvPr/>
        </p:nvSpPr>
        <p:spPr>
          <a:xfrm>
            <a:off x="7235553" y="3199692"/>
            <a:ext cx="1550405"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solidFill>
                  <a:schemeClr val="accent5"/>
                </a:solidFill>
                <a:latin typeface="+mj-lt"/>
              </a:rPr>
              <a:t>Lorem </a:t>
            </a:r>
            <a:r>
              <a:rPr lang="en-US" sz="800" err="1">
                <a:solidFill>
                  <a:schemeClr val="accent5"/>
                </a:solidFill>
                <a:latin typeface="+mj-lt"/>
              </a:rPr>
              <a:t>ispum</a:t>
            </a:r>
            <a:r>
              <a:rPr lang="en-US" sz="800">
                <a:solidFill>
                  <a:schemeClr val="accent5"/>
                </a:solidFill>
                <a:latin typeface="+mj-lt"/>
              </a:rPr>
              <a:t> </a:t>
            </a:r>
            <a:r>
              <a:rPr lang="en-US" sz="800" err="1">
                <a:solidFill>
                  <a:schemeClr val="accent5"/>
                </a:solidFill>
                <a:latin typeface="+mj-lt"/>
              </a:rPr>
              <a:t>dolar</a:t>
            </a:r>
            <a:r>
              <a:rPr lang="en-US" sz="800">
                <a:solidFill>
                  <a:schemeClr val="accent5"/>
                </a:solidFill>
                <a:latin typeface="+mj-lt"/>
              </a:rPr>
              <a:t> site </a:t>
            </a:r>
            <a:r>
              <a:rPr lang="en-US" sz="800" err="1">
                <a:solidFill>
                  <a:schemeClr val="accent5"/>
                </a:solidFill>
                <a:latin typeface="+mj-lt"/>
              </a:rPr>
              <a:t>amet</a:t>
            </a:r>
            <a:r>
              <a:rPr lang="en-US" sz="800">
                <a:solidFill>
                  <a:schemeClr val="accent5"/>
                </a:solidFill>
                <a:latin typeface="+mj-lt"/>
              </a:rPr>
              <a:t> </a:t>
            </a:r>
            <a:r>
              <a:rPr lang="en-US" sz="800" err="1">
                <a:solidFill>
                  <a:schemeClr val="accent5"/>
                </a:solidFill>
                <a:latin typeface="+mj-lt"/>
              </a:rPr>
              <a:t>dinso</a:t>
            </a:r>
            <a:r>
              <a:rPr lang="en-US" sz="800">
                <a:solidFill>
                  <a:schemeClr val="accent5"/>
                </a:solidFill>
                <a:latin typeface="+mj-lt"/>
              </a:rPr>
              <a:t> hem </a:t>
            </a:r>
            <a:r>
              <a:rPr lang="en-US" sz="800" err="1">
                <a:solidFill>
                  <a:schemeClr val="accent5"/>
                </a:solidFill>
                <a:latin typeface="+mj-lt"/>
              </a:rPr>
              <a:t>licj</a:t>
            </a:r>
            <a:r>
              <a:rPr lang="en-US" sz="800">
                <a:solidFill>
                  <a:schemeClr val="accent5"/>
                </a:solidFill>
                <a:latin typeface="+mj-lt"/>
              </a:rPr>
              <a:t> qwerty </a:t>
            </a:r>
            <a:r>
              <a:rPr lang="en-US" sz="800" err="1">
                <a:solidFill>
                  <a:schemeClr val="accent5"/>
                </a:solidFill>
                <a:latin typeface="+mj-lt"/>
              </a:rPr>
              <a:t>inso</a:t>
            </a:r>
            <a:r>
              <a:rPr lang="en-US" sz="800">
                <a:solidFill>
                  <a:schemeClr val="accent5"/>
                </a:solidFill>
                <a:latin typeface="+mj-lt"/>
              </a:rPr>
              <a:t> </a:t>
            </a:r>
            <a:r>
              <a:rPr lang="en-US" sz="800" err="1">
                <a:solidFill>
                  <a:schemeClr val="accent5"/>
                </a:solidFill>
                <a:latin typeface="+mj-lt"/>
              </a:rPr>
              <a:t>erkilum</a:t>
            </a:r>
            <a:endParaRPr lang="en-US" sz="800">
              <a:solidFill>
                <a:schemeClr val="accent5"/>
              </a:solidFill>
              <a:latin typeface="+mj-lt"/>
            </a:endParaRPr>
          </a:p>
        </p:txBody>
      </p:sp>
      <p:sp>
        <p:nvSpPr>
          <p:cNvPr id="21" name="Text Placeholder 33"/>
          <p:cNvSpPr txBox="1">
            <a:spLocks/>
          </p:cNvSpPr>
          <p:nvPr/>
        </p:nvSpPr>
        <p:spPr>
          <a:xfrm>
            <a:off x="7224467" y="3034197"/>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a:solidFill>
                  <a:schemeClr val="accent5"/>
                </a:solidFill>
                <a:latin typeface="+mj-lt"/>
              </a:rPr>
              <a:t>Headline</a:t>
            </a:r>
          </a:p>
        </p:txBody>
      </p:sp>
      <p:sp>
        <p:nvSpPr>
          <p:cNvPr id="22" name="Oval 21"/>
          <p:cNvSpPr/>
          <p:nvPr/>
        </p:nvSpPr>
        <p:spPr>
          <a:xfrm flipH="1">
            <a:off x="6708305" y="2374654"/>
            <a:ext cx="408943" cy="40894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sp>
        <p:nvSpPr>
          <p:cNvPr id="23" name="Oval 22"/>
          <p:cNvSpPr/>
          <p:nvPr/>
        </p:nvSpPr>
        <p:spPr>
          <a:xfrm flipH="1">
            <a:off x="6708305" y="3034197"/>
            <a:ext cx="408943" cy="40894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spTree>
    <p:extLst>
      <p:ext uri="{BB962C8B-B14F-4D97-AF65-F5344CB8AC3E}">
        <p14:creationId xmlns:p14="http://schemas.microsoft.com/office/powerpoint/2010/main" val="846804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endParaRPr lang="en-US">
              <a:solidFill>
                <a:schemeClr val="tx1"/>
              </a:solidFill>
            </a:endParaRPr>
          </a:p>
        </p:txBody>
      </p:sp>
      <p:sp>
        <p:nvSpPr>
          <p:cNvPr id="3" name="Text Placeholder 2"/>
          <p:cNvSpPr>
            <a:spLocks noGrp="1"/>
          </p:cNvSpPr>
          <p:nvPr>
            <p:ph type="body" sz="quarter" idx="17"/>
          </p:nvPr>
        </p:nvSpPr>
        <p:spPr/>
        <p:txBody>
          <a:bodyPr/>
          <a:lstStyle/>
          <a:p>
            <a:r>
              <a:rPr lang="en-US">
                <a:solidFill>
                  <a:schemeClr val="accent1"/>
                </a:solidFill>
              </a:rPr>
              <a:t>Pie charts</a:t>
            </a:r>
          </a:p>
        </p:txBody>
      </p:sp>
      <p:graphicFrame>
        <p:nvGraphicFramePr>
          <p:cNvPr id="22" name="Content Placeholder 3"/>
          <p:cNvGraphicFramePr>
            <a:graphicFrameLocks/>
          </p:cNvGraphicFramePr>
          <p:nvPr>
            <p:extLst>
              <p:ext uri="{D42A27DB-BD31-4B8C-83A1-F6EECF244321}">
                <p14:modId xmlns:p14="http://schemas.microsoft.com/office/powerpoint/2010/main" val="134185994"/>
              </p:ext>
            </p:extLst>
          </p:nvPr>
        </p:nvGraphicFramePr>
        <p:xfrm>
          <a:off x="822568" y="1483829"/>
          <a:ext cx="3322823" cy="2665568"/>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 Placeholder 12"/>
          <p:cNvSpPr>
            <a:spLocks/>
          </p:cNvSpPr>
          <p:nvPr>
            <p:custDataLst>
              <p:tags r:id="rId1"/>
            </p:custDataLst>
          </p:nvPr>
        </p:nvSpPr>
        <p:spPr bwMode="auto">
          <a:xfrm>
            <a:off x="1285151"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373737">
                    <a:lumMod val="75000"/>
                  </a:srgbClr>
                </a:solidFill>
                <a:effectLst/>
                <a:uLnTx/>
                <a:uFillTx/>
                <a:latin typeface="Arial"/>
                <a:ea typeface="+mn-ea"/>
                <a:cs typeface="+mn-cs"/>
              </a:rPr>
              <a:t>Multi-colored</a:t>
            </a:r>
          </a:p>
        </p:txBody>
      </p:sp>
      <p:graphicFrame>
        <p:nvGraphicFramePr>
          <p:cNvPr id="25" name="Content Placeholder 3"/>
          <p:cNvGraphicFramePr>
            <a:graphicFrameLocks/>
          </p:cNvGraphicFramePr>
          <p:nvPr>
            <p:extLst>
              <p:ext uri="{D42A27DB-BD31-4B8C-83A1-F6EECF244321}">
                <p14:modId xmlns:p14="http://schemas.microsoft.com/office/powerpoint/2010/main" val="1760287649"/>
              </p:ext>
            </p:extLst>
          </p:nvPr>
        </p:nvGraphicFramePr>
        <p:xfrm>
          <a:off x="5515647" y="1483829"/>
          <a:ext cx="3093424" cy="2665568"/>
        </p:xfrm>
        <a:graphic>
          <a:graphicData uri="http://schemas.openxmlformats.org/drawingml/2006/chart">
            <c:chart xmlns:c="http://schemas.openxmlformats.org/drawingml/2006/chart" xmlns:r="http://schemas.openxmlformats.org/officeDocument/2006/relationships" r:id="rId8"/>
          </a:graphicData>
        </a:graphic>
      </p:graphicFrame>
      <p:sp>
        <p:nvSpPr>
          <p:cNvPr id="27" name="Text Placeholder 12"/>
          <p:cNvSpPr>
            <a:spLocks/>
          </p:cNvSpPr>
          <p:nvPr>
            <p:custDataLst>
              <p:tags r:id="rId2"/>
            </p:custDataLst>
          </p:nvPr>
        </p:nvSpPr>
        <p:spPr bwMode="auto">
          <a:xfrm>
            <a:off x="5841683"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600">
                <a:solidFill>
                  <a:srgbClr val="373737">
                    <a:lumMod val="75000"/>
                  </a:srgbClr>
                </a:solidFill>
                <a:latin typeface="Arial"/>
              </a:rPr>
              <a:t>Donut</a:t>
            </a:r>
          </a:p>
        </p:txBody>
      </p:sp>
      <p:sp>
        <p:nvSpPr>
          <p:cNvPr id="26" name="TextBox 33"/>
          <p:cNvSpPr txBox="1"/>
          <p:nvPr/>
        </p:nvSpPr>
        <p:spPr>
          <a:xfrm>
            <a:off x="6063559" y="2846395"/>
            <a:ext cx="1420618" cy="356251"/>
          </a:xfrm>
          <a:prstGeom prst="rect">
            <a:avLst/>
          </a:prstGeom>
          <a:noFill/>
        </p:spPr>
        <p:txBody>
          <a:bodyPr wrap="square" rtlCol="0" anchor="ctr" anchorCtr="0">
            <a:spAutoFit/>
          </a:bodyPr>
          <a:lstStyle/>
          <a:p>
            <a:pPr marL="0" marR="0" lvl="0" indent="0" algn="ctr" defTabSz="914400" rtl="0" eaLnBrk="1" fontAlgn="auto" latinLnBrk="0" hangingPunct="1">
              <a:lnSpc>
                <a:spcPct val="70000"/>
              </a:lnSpc>
              <a:spcBef>
                <a:spcPts val="0"/>
              </a:spcBef>
              <a:spcAft>
                <a:spcPts val="0"/>
              </a:spcAft>
              <a:buClr>
                <a:srgbClr val="CC0000"/>
              </a:buClr>
              <a:buSzPct val="110000"/>
              <a:buFontTx/>
              <a:buNone/>
              <a:tabLst/>
              <a:defRPr/>
            </a:pPr>
            <a:r>
              <a:rPr kumimoji="0" lang="en-US" sz="2400" b="1" i="0" u="none" strike="noStrike" kern="1200" cap="none" spc="-100" normalizeH="0" noProof="0">
                <a:ln>
                  <a:noFill/>
                </a:ln>
                <a:solidFill>
                  <a:srgbClr val="373737">
                    <a:lumMod val="75000"/>
                  </a:srgbClr>
                </a:solidFill>
                <a:effectLst/>
                <a:uLnTx/>
                <a:uFillTx/>
                <a:latin typeface="Arial"/>
                <a:ea typeface="+mn-ea"/>
                <a:cs typeface="Arial" panose="020B0604020202020204" pitchFamily="34" charset="0"/>
              </a:rPr>
              <a:t>70%</a:t>
            </a:r>
            <a:endParaRPr kumimoji="0" lang="en-US" sz="1000" b="0" i="0" u="none" strike="noStrike" kern="1200" cap="none" spc="0" normalizeH="0" baseline="0" noProof="0">
              <a:ln>
                <a:noFill/>
              </a:ln>
              <a:solidFill>
                <a:srgbClr val="373737">
                  <a:lumMod val="75000"/>
                </a:srgbClr>
              </a:solidFill>
              <a:effectLst/>
              <a:uLnTx/>
              <a:uFillTx/>
              <a:latin typeface="Arial"/>
              <a:ea typeface="+mn-ea"/>
              <a:cs typeface="Arial" panose="020B0604020202020204" pitchFamily="34" charset="0"/>
            </a:endParaRPr>
          </a:p>
        </p:txBody>
      </p:sp>
      <p:sp>
        <p:nvSpPr>
          <p:cNvPr id="24" name="Text Placeholder 12"/>
          <p:cNvSpPr>
            <a:spLocks/>
          </p:cNvSpPr>
          <p:nvPr>
            <p:custDataLst>
              <p:tags r:id="rId3"/>
            </p:custDataLst>
          </p:nvPr>
        </p:nvSpPr>
        <p:spPr bwMode="auto">
          <a:xfrm>
            <a:off x="5179388" y="2154301"/>
            <a:ext cx="672517"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a:solidFill>
                  <a:srgbClr val="C01D28"/>
                </a:solidFill>
                <a:latin typeface="Arial"/>
              </a:rPr>
              <a:t>Label A</a:t>
            </a:r>
          </a:p>
        </p:txBody>
      </p:sp>
      <p:sp>
        <p:nvSpPr>
          <p:cNvPr id="28" name="Text Placeholder 12"/>
          <p:cNvSpPr>
            <a:spLocks/>
          </p:cNvSpPr>
          <p:nvPr>
            <p:custDataLst>
              <p:tags r:id="rId4"/>
            </p:custDataLst>
          </p:nvPr>
        </p:nvSpPr>
        <p:spPr bwMode="auto">
          <a:xfrm>
            <a:off x="7794582" y="3217642"/>
            <a:ext cx="601622"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a:solidFill>
                  <a:schemeClr val="accent5"/>
                </a:solidFill>
                <a:latin typeface="Arial"/>
              </a:rPr>
              <a:t>Label B</a:t>
            </a:r>
          </a:p>
        </p:txBody>
      </p:sp>
      <p:cxnSp>
        <p:nvCxnSpPr>
          <p:cNvPr id="9" name="Straight Connector 8"/>
          <p:cNvCxnSpPr/>
          <p:nvPr/>
        </p:nvCxnSpPr>
        <p:spPr>
          <a:xfrm>
            <a:off x="4578138" y="1285539"/>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72897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62475" y="0"/>
            <a:ext cx="4581525"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chemeClr val="bg1"/>
              </a:soli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1"/>
          </p:nvPr>
        </p:nvSpPr>
        <p:spPr>
          <a:xfrm>
            <a:off x="464494" y="597174"/>
            <a:ext cx="2436362" cy="949858"/>
          </a:xfrm>
        </p:spPr>
        <p:txBody>
          <a:bodyPr/>
          <a:lstStyle/>
          <a:p>
            <a:r>
              <a:rPr lang="en-US"/>
              <a:t>Circular flow chart</a:t>
            </a:r>
          </a:p>
        </p:txBody>
      </p:sp>
      <p:sp>
        <p:nvSpPr>
          <p:cNvPr id="4" name="Text Placeholder 3"/>
          <p:cNvSpPr>
            <a:spLocks noGrp="1"/>
          </p:cNvSpPr>
          <p:nvPr>
            <p:ph type="body" sz="quarter" idx="4294967295"/>
          </p:nvPr>
        </p:nvSpPr>
        <p:spPr>
          <a:xfrm>
            <a:off x="464494" y="1647161"/>
            <a:ext cx="2274660" cy="3062171"/>
          </a:xfrm>
        </p:spPr>
        <p:txBody>
          <a:bodyPr/>
          <a:lstStyle/>
          <a:p>
            <a:pPr>
              <a:buClr>
                <a:srgbClr val="EDBD97"/>
              </a:buClr>
            </a:pPr>
            <a:r>
              <a:rPr lang="en-US">
                <a:solidFill>
                  <a:schemeClr val="tx1"/>
                </a:solidFill>
              </a:rPr>
              <a:t>Dolor sit </a:t>
            </a:r>
            <a:r>
              <a:rPr lang="en-US" err="1">
                <a:solidFill>
                  <a:schemeClr val="tx1"/>
                </a:solidFill>
              </a:rPr>
              <a:t>amet</a:t>
            </a:r>
            <a:r>
              <a:rPr lang="en-US">
                <a:solidFill>
                  <a:schemeClr val="tx1"/>
                </a:solidFill>
              </a:rPr>
              <a:t>, </a:t>
            </a:r>
            <a:r>
              <a:rPr lang="en-US" err="1">
                <a:solidFill>
                  <a:schemeClr val="tx1"/>
                </a:solidFill>
              </a:rPr>
              <a:t>consectetur</a:t>
            </a:r>
            <a:r>
              <a:rPr lang="en-US">
                <a:solidFill>
                  <a:schemeClr val="tx1"/>
                </a:solidFill>
              </a:rPr>
              <a:t> lorem ipsum dolor sit </a:t>
            </a:r>
            <a:r>
              <a:rPr lang="en-US" err="1">
                <a:solidFill>
                  <a:schemeClr val="tx1"/>
                </a:solidFill>
              </a:rPr>
              <a:t>amet</a:t>
            </a:r>
            <a:r>
              <a:rPr lang="en-US">
                <a:solidFill>
                  <a:schemeClr val="tx1"/>
                </a:solidFill>
              </a:rPr>
              <a:t>, </a:t>
            </a:r>
            <a:r>
              <a:rPr lang="en-US" err="1">
                <a:solidFill>
                  <a:schemeClr val="tx1"/>
                </a:solidFill>
              </a:rPr>
              <a:t>consectetur</a:t>
            </a:r>
            <a:r>
              <a:rPr lang="en-US">
                <a:solidFill>
                  <a:schemeClr val="tx1"/>
                </a:solidFill>
              </a:rPr>
              <a:t> </a:t>
            </a:r>
            <a:r>
              <a:rPr lang="en-US" err="1">
                <a:solidFill>
                  <a:schemeClr val="tx1"/>
                </a:solidFill>
              </a:rPr>
              <a:t>adipiscing</a:t>
            </a:r>
            <a:r>
              <a:rPr lang="en-US">
                <a:solidFill>
                  <a:schemeClr val="tx1"/>
                </a:solidFill>
              </a:rPr>
              <a:t> </a:t>
            </a:r>
            <a:r>
              <a:rPr lang="en-US" err="1">
                <a:solidFill>
                  <a:schemeClr val="tx1"/>
                </a:solidFill>
              </a:rPr>
              <a:t>elit</a:t>
            </a:r>
            <a:r>
              <a:rPr lang="en-US">
                <a:solidFill>
                  <a:schemeClr val="tx1"/>
                </a:solidFill>
              </a:rPr>
              <a:t>, </a:t>
            </a:r>
            <a:r>
              <a:rPr lang="en-US" err="1">
                <a:solidFill>
                  <a:schemeClr val="tx1"/>
                </a:solidFill>
              </a:rPr>
              <a:t>sed</a:t>
            </a:r>
            <a:r>
              <a:rPr lang="en-US">
                <a:solidFill>
                  <a:schemeClr val="tx1"/>
                </a:solidFill>
              </a:rPr>
              <a:t> do </a:t>
            </a:r>
            <a:r>
              <a:rPr lang="en-US" err="1">
                <a:solidFill>
                  <a:schemeClr val="tx1"/>
                </a:solidFill>
              </a:rPr>
              <a:t>eiusmod</a:t>
            </a:r>
            <a:r>
              <a:rPr lang="en-US">
                <a:solidFill>
                  <a:schemeClr val="tx1"/>
                </a:solidFill>
              </a:rPr>
              <a:t> </a:t>
            </a:r>
            <a:r>
              <a:rPr lang="en-US" err="1">
                <a:solidFill>
                  <a:schemeClr val="tx1"/>
                </a:solidFill>
              </a:rPr>
              <a:t>tempor</a:t>
            </a:r>
            <a:r>
              <a:rPr lang="en-US">
                <a:solidFill>
                  <a:schemeClr val="tx1"/>
                </a:solidFill>
              </a:rPr>
              <a:t> </a:t>
            </a:r>
            <a:r>
              <a:rPr lang="en-US" err="1">
                <a:solidFill>
                  <a:schemeClr val="tx1"/>
                </a:solidFill>
              </a:rPr>
              <a:t>incididunt</a:t>
            </a:r>
            <a:r>
              <a:rPr lang="en-US">
                <a:solidFill>
                  <a:schemeClr val="tx1"/>
                </a:solidFill>
              </a:rPr>
              <a:t> </a:t>
            </a:r>
            <a:r>
              <a:rPr lang="en-US" err="1">
                <a:solidFill>
                  <a:schemeClr val="tx1"/>
                </a:solidFill>
              </a:rPr>
              <a:t>ut</a:t>
            </a:r>
            <a:endParaRPr lang="en-US">
              <a:solidFill>
                <a:schemeClr val="tx1"/>
              </a:solidFill>
            </a:endParaRPr>
          </a:p>
        </p:txBody>
      </p:sp>
      <p:grpSp>
        <p:nvGrpSpPr>
          <p:cNvPr id="7" name="Group 6"/>
          <p:cNvGrpSpPr/>
          <p:nvPr/>
        </p:nvGrpSpPr>
        <p:grpSpPr>
          <a:xfrm>
            <a:off x="5617979" y="1363310"/>
            <a:ext cx="2402886" cy="2344400"/>
            <a:chOff x="2860261" y="1582629"/>
            <a:chExt cx="3413760" cy="3413760"/>
          </a:xfrm>
        </p:grpSpPr>
        <p:sp>
          <p:nvSpPr>
            <p:cNvPr id="8" name="Freeform 7"/>
            <p:cNvSpPr/>
            <p:nvPr/>
          </p:nvSpPr>
          <p:spPr>
            <a:xfrm>
              <a:off x="2860261" y="1582629"/>
              <a:ext cx="3413760" cy="3413760"/>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0C62F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0479" tIns="674370" rIns="443941" bIns="1690370" numCol="1" spcCol="1270" anchor="t" anchorCtr="0">
              <a:noAutofit/>
            </a:bodyPr>
            <a:lstStyle/>
            <a:p>
              <a:pPr algn="ctr" defTabSz="1555750">
                <a:lnSpc>
                  <a:spcPct val="90000"/>
                </a:lnSpc>
                <a:spcBef>
                  <a:spcPct val="0"/>
                </a:spcBef>
                <a:spcAft>
                  <a:spcPct val="35000"/>
                </a:spcAft>
              </a:pPr>
              <a:endParaRPr lang="en-US">
                <a:latin typeface="Segoe UI" panose="020B0502040204020203" pitchFamily="34" charset="0"/>
                <a:cs typeface="Segoe UI" panose="020B0502040204020203" pitchFamily="34" charset="0"/>
              </a:endParaRPr>
            </a:p>
          </p:txBody>
        </p:sp>
        <p:sp>
          <p:nvSpPr>
            <p:cNvPr id="9" name="Freeform 8"/>
            <p:cNvSpPr/>
            <p:nvPr/>
          </p:nvSpPr>
          <p:spPr>
            <a:xfrm>
              <a:off x="2860261" y="1582629"/>
              <a:ext cx="3413760" cy="3413760"/>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rgbClr val="85B0F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140" tIns="2212341" rIns="993140" bIns="261619" numCol="1" spcCol="1270" anchor="ctr" anchorCtr="0">
              <a:noAutofit/>
            </a:bodyPr>
            <a:lstStyle/>
            <a:p>
              <a:pPr algn="ctr" defTabSz="2044700">
                <a:lnSpc>
                  <a:spcPct val="90000"/>
                </a:lnSpc>
                <a:spcBef>
                  <a:spcPts val="600"/>
                </a:spcBef>
              </a:pPr>
              <a:endParaRPr lang="en-US">
                <a:latin typeface="Segoe UI" panose="020B0502040204020203" pitchFamily="34" charset="0"/>
                <a:cs typeface="Segoe UI" panose="020B0502040204020203" pitchFamily="34" charset="0"/>
              </a:endParaRPr>
            </a:p>
          </p:txBody>
        </p:sp>
        <p:sp>
          <p:nvSpPr>
            <p:cNvPr id="10" name="Freeform 9"/>
            <p:cNvSpPr/>
            <p:nvPr/>
          </p:nvSpPr>
          <p:spPr>
            <a:xfrm>
              <a:off x="2860261" y="1582629"/>
              <a:ext cx="3413760" cy="3413760"/>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C2D8F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1555750">
                <a:lnSpc>
                  <a:spcPct val="90000"/>
                </a:lnSpc>
                <a:spcBef>
                  <a:spcPct val="0"/>
                </a:spcBef>
                <a:spcAft>
                  <a:spcPct val="35000"/>
                </a:spcAft>
              </a:pPr>
              <a:endParaRPr lang="en-US" sz="1200">
                <a:latin typeface="Segoe UI" panose="020B0502040204020203" pitchFamily="34" charset="0"/>
                <a:cs typeface="Segoe UI" panose="020B0502040204020203" pitchFamily="34" charset="0"/>
              </a:endParaRPr>
            </a:p>
          </p:txBody>
        </p:sp>
      </p:grpSp>
      <p:grpSp>
        <p:nvGrpSpPr>
          <p:cNvPr id="11" name="Group 10"/>
          <p:cNvGrpSpPr>
            <a:grpSpLocks noChangeAspect="1"/>
          </p:cNvGrpSpPr>
          <p:nvPr/>
        </p:nvGrpSpPr>
        <p:grpSpPr bwMode="auto">
          <a:xfrm>
            <a:off x="5424003" y="1133288"/>
            <a:ext cx="2789918" cy="2790983"/>
            <a:chOff x="-2939" y="789"/>
            <a:chExt cx="2619" cy="2620"/>
          </a:xfrm>
          <a:solidFill>
            <a:schemeClr val="bg2">
              <a:lumMod val="60000"/>
              <a:lumOff val="40000"/>
            </a:schemeClr>
          </a:solidFill>
        </p:grpSpPr>
        <p:sp>
          <p:nvSpPr>
            <p:cNvPr id="12"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 name="Oval 20"/>
          <p:cNvSpPr/>
          <p:nvPr/>
        </p:nvSpPr>
        <p:spPr>
          <a:xfrm>
            <a:off x="6129518" y="1858387"/>
            <a:ext cx="1378888" cy="13788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 name="TextBox 21"/>
          <p:cNvSpPr txBox="1"/>
          <p:nvPr/>
        </p:nvSpPr>
        <p:spPr>
          <a:xfrm>
            <a:off x="5139394"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a:solidFill>
                  <a:schemeClr val="accent1"/>
                </a:solidFill>
                <a:latin typeface="Arial" panose="020B0604020202020204" pitchFamily="34" charset="0"/>
                <a:cs typeface="Arial" panose="020B0604020202020204" pitchFamily="34" charset="0"/>
              </a:rPr>
              <a:t>Lorem </a:t>
            </a:r>
            <a:r>
              <a:rPr lang="en-US" sz="1200" err="1">
                <a:solidFill>
                  <a:schemeClr val="accent1"/>
                </a:solidFill>
                <a:latin typeface="Arial" panose="020B0604020202020204" pitchFamily="34" charset="0"/>
                <a:cs typeface="Arial" panose="020B0604020202020204" pitchFamily="34" charset="0"/>
              </a:rPr>
              <a:t>ispum</a:t>
            </a:r>
            <a:endParaRPr lang="en-US" sz="1200">
              <a:solidFill>
                <a:schemeClr val="accent1"/>
              </a:solidFill>
              <a:latin typeface="Arial" panose="020B0604020202020204" pitchFamily="34" charset="0"/>
              <a:cs typeface="Arial" panose="020B0604020202020204" pitchFamily="34" charset="0"/>
            </a:endParaRPr>
          </a:p>
        </p:txBody>
      </p:sp>
      <p:sp>
        <p:nvSpPr>
          <p:cNvPr id="23" name="TextBox 22"/>
          <p:cNvSpPr txBox="1"/>
          <p:nvPr/>
        </p:nvSpPr>
        <p:spPr>
          <a:xfrm>
            <a:off x="7699566"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a:solidFill>
                  <a:schemeClr val="accent1"/>
                </a:solidFill>
                <a:latin typeface="Arial" panose="020B0604020202020204" pitchFamily="34" charset="0"/>
                <a:cs typeface="Arial" panose="020B0604020202020204" pitchFamily="34" charset="0"/>
              </a:rPr>
              <a:t>Lorem </a:t>
            </a:r>
            <a:r>
              <a:rPr lang="en-US" sz="1200" err="1">
                <a:solidFill>
                  <a:schemeClr val="accent1"/>
                </a:solidFill>
                <a:latin typeface="Arial" panose="020B0604020202020204" pitchFamily="34" charset="0"/>
                <a:cs typeface="Arial" panose="020B0604020202020204" pitchFamily="34" charset="0"/>
              </a:rPr>
              <a:t>Ispum</a:t>
            </a:r>
            <a:endParaRPr lang="en-US" sz="1200">
              <a:solidFill>
                <a:schemeClr val="accent1"/>
              </a:solidFill>
              <a:latin typeface="Arial" panose="020B0604020202020204" pitchFamily="34" charset="0"/>
              <a:cs typeface="Arial" panose="020B0604020202020204" pitchFamily="34" charset="0"/>
            </a:endParaRPr>
          </a:p>
        </p:txBody>
      </p:sp>
      <p:sp>
        <p:nvSpPr>
          <p:cNvPr id="24" name="TextBox 23"/>
          <p:cNvSpPr txBox="1"/>
          <p:nvPr/>
        </p:nvSpPr>
        <p:spPr>
          <a:xfrm>
            <a:off x="6131358" y="4138271"/>
            <a:ext cx="1376126" cy="258532"/>
          </a:xfrm>
          <a:prstGeom prst="rect">
            <a:avLst/>
          </a:prstGeom>
          <a:noFill/>
        </p:spPr>
        <p:txBody>
          <a:bodyPr wrap="square" rtlCol="0">
            <a:spAutoFit/>
          </a:bodyPr>
          <a:lstStyle/>
          <a:p>
            <a:pPr algn="ctr">
              <a:lnSpc>
                <a:spcPct val="90000"/>
              </a:lnSpc>
              <a:spcBef>
                <a:spcPts val="1200"/>
              </a:spcBef>
              <a:buClr>
                <a:srgbClr val="CC0000"/>
              </a:buClr>
              <a:buSzPct val="110000"/>
            </a:pPr>
            <a:r>
              <a:rPr lang="en-US" sz="1200">
                <a:solidFill>
                  <a:schemeClr val="accent1"/>
                </a:solidFill>
                <a:latin typeface="Arial" panose="020B0604020202020204" pitchFamily="34" charset="0"/>
                <a:cs typeface="Arial" panose="020B0604020202020204" pitchFamily="34" charset="0"/>
              </a:rPr>
              <a:t>Lorem </a:t>
            </a:r>
            <a:r>
              <a:rPr lang="en-US" sz="1200" err="1">
                <a:solidFill>
                  <a:schemeClr val="accent1"/>
                </a:solidFill>
                <a:latin typeface="Arial" panose="020B0604020202020204" pitchFamily="34" charset="0"/>
                <a:cs typeface="Arial" panose="020B0604020202020204" pitchFamily="34" charset="0"/>
              </a:rPr>
              <a:t>Ispum</a:t>
            </a:r>
            <a:endParaRPr lang="en-US" sz="1200">
              <a:solidFill>
                <a:schemeClr val="accent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0C624753-6479-5EA5-5032-B4D8BCC9E0D7}"/>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8</a:t>
            </a:fld>
            <a:endParaRPr lang="en-GB" sz="800" spc="0" baseline="0">
              <a:solidFill>
                <a:schemeClr val="accent3"/>
              </a:solidFill>
              <a:latin typeface="Arial" panose="020B0604020202020204" pitchFamily="34" charset="0"/>
              <a:cs typeface="Arial" panose="020B0604020202020204" pitchFamily="34" charset="0"/>
            </a:endParaRPr>
          </a:p>
        </p:txBody>
      </p:sp>
      <p:pic>
        <p:nvPicPr>
          <p:cNvPr id="20" name="Picture 19" descr="A screen shot of a cellphone&#10;&#10;Description automatically generated">
            <a:extLst>
              <a:ext uri="{FF2B5EF4-FFF2-40B4-BE49-F238E27FC236}">
                <a16:creationId xmlns:a16="http://schemas.microsoft.com/office/drawing/2014/main" id="{D5FB82E3-936D-4751-66CB-B3B395B5F8DD}"/>
              </a:ext>
            </a:extLst>
          </p:cNvPr>
          <p:cNvPicPr>
            <a:picLocks noChangeAspect="1"/>
          </p:cNvPicPr>
          <p:nvPr/>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797717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4562474" y="0"/>
            <a:ext cx="4581525"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chemeClr val="bg1"/>
              </a:solidFill>
              <a:ea typeface="Segoe UI Black" panose="020B0A02040204020203" pitchFamily="34" charset="0"/>
              <a:cs typeface="Segoe UI Black" panose="020B0A02040204020203" pitchFamily="34" charset="0"/>
            </a:endParaRPr>
          </a:p>
        </p:txBody>
      </p:sp>
      <p:graphicFrame>
        <p:nvGraphicFramePr>
          <p:cNvPr id="48" name="Chart 47"/>
          <p:cNvGraphicFramePr/>
          <p:nvPr>
            <p:extLst>
              <p:ext uri="{D42A27DB-BD31-4B8C-83A1-F6EECF244321}">
                <p14:modId xmlns:p14="http://schemas.microsoft.com/office/powerpoint/2010/main" val="3872242032"/>
              </p:ext>
            </p:extLst>
          </p:nvPr>
        </p:nvGraphicFramePr>
        <p:xfrm>
          <a:off x="4960689" y="1309688"/>
          <a:ext cx="3920387" cy="2484651"/>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p:cNvSpPr>
            <a:spLocks noGrp="1"/>
          </p:cNvSpPr>
          <p:nvPr>
            <p:ph type="body" sz="quarter" idx="17"/>
          </p:nvPr>
        </p:nvSpPr>
        <p:spPr>
          <a:xfrm>
            <a:off x="465138" y="597174"/>
            <a:ext cx="3093364" cy="368300"/>
          </a:xfrm>
        </p:spPr>
        <p:txBody>
          <a:bodyPr/>
          <a:lstStyle/>
          <a:p>
            <a:r>
              <a:rPr lang="en-US">
                <a:solidFill>
                  <a:schemeClr val="accent1"/>
                </a:solidFill>
              </a:rPr>
              <a:t>Circular flow chart with more content</a:t>
            </a:r>
          </a:p>
          <a:p>
            <a:endParaRPr lang="en-GB">
              <a:solidFill>
                <a:schemeClr val="accent1"/>
              </a:solidFill>
            </a:endParaRPr>
          </a:p>
        </p:txBody>
      </p:sp>
      <p:sp>
        <p:nvSpPr>
          <p:cNvPr id="29" name="TextBox 28"/>
          <p:cNvSpPr txBox="1"/>
          <p:nvPr/>
        </p:nvSpPr>
        <p:spPr>
          <a:xfrm>
            <a:off x="457200" y="160619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a:solidFill>
                  <a:schemeClr val="tx2"/>
                </a:solidFill>
                <a:latin typeface="Arial" panose="020B0604020202020204" pitchFamily="34" charset="0"/>
                <a:cs typeface="Arial" panose="020B0604020202020204" pitchFamily="34" charset="0"/>
              </a:rPr>
              <a:t>01 Headline</a:t>
            </a:r>
          </a:p>
        </p:txBody>
      </p:sp>
      <p:sp>
        <p:nvSpPr>
          <p:cNvPr id="30" name="TextBox 29"/>
          <p:cNvSpPr txBox="1"/>
          <p:nvPr/>
        </p:nvSpPr>
        <p:spPr>
          <a:xfrm>
            <a:off x="457200" y="1855643"/>
            <a:ext cx="2819010" cy="424732"/>
          </a:xfrm>
          <a:prstGeom prst="rect">
            <a:avLst/>
          </a:prstGeom>
          <a:noFill/>
        </p:spPr>
        <p:txBody>
          <a:bodyPr wrap="square" lIns="27000" rIns="27000" rtlCol="0">
            <a:spAutoFit/>
          </a:bodyPr>
          <a:lstStyle/>
          <a:p>
            <a:pPr>
              <a:lnSpc>
                <a:spcPct val="120000"/>
              </a:lnSpc>
            </a:pPr>
            <a:r>
              <a:rPr lang="en-US" sz="900">
                <a:solidFill>
                  <a:schemeClr val="accent5"/>
                </a:solidFill>
                <a:latin typeface="Arial" panose="020B0604020202020204" pitchFamily="34" charset="0"/>
                <a:cs typeface="Arial" panose="020B0604020202020204" pitchFamily="34" charset="0"/>
              </a:rPr>
              <a:t>Lorem ipsum dolor sit </a:t>
            </a:r>
            <a:r>
              <a:rPr lang="en-US" sz="900" err="1">
                <a:solidFill>
                  <a:schemeClr val="accent5"/>
                </a:solidFill>
                <a:latin typeface="Arial" panose="020B0604020202020204" pitchFamily="34" charset="0"/>
                <a:cs typeface="Arial" panose="020B0604020202020204" pitchFamily="34" charset="0"/>
              </a:rPr>
              <a:t>amet</a:t>
            </a:r>
            <a:r>
              <a:rPr lang="en-US" sz="900">
                <a:solidFill>
                  <a:schemeClr val="accent5"/>
                </a:solidFill>
                <a:latin typeface="Arial" panose="020B0604020202020204" pitchFamily="34" charset="0"/>
                <a:cs typeface="Arial" panose="020B0604020202020204" pitchFamily="34" charset="0"/>
              </a:rPr>
              <a:t>, </a:t>
            </a:r>
            <a:r>
              <a:rPr lang="en-US" sz="900" err="1">
                <a:solidFill>
                  <a:schemeClr val="accent5"/>
                </a:solidFill>
                <a:latin typeface="Arial" panose="020B0604020202020204" pitchFamily="34" charset="0"/>
                <a:cs typeface="Arial" panose="020B0604020202020204" pitchFamily="34" charset="0"/>
              </a:rPr>
              <a:t>consectetur</a:t>
            </a:r>
            <a:r>
              <a:rPr lang="en-US" sz="90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2" name="TextBox 31"/>
          <p:cNvSpPr txBox="1"/>
          <p:nvPr/>
        </p:nvSpPr>
        <p:spPr>
          <a:xfrm>
            <a:off x="457200" y="3206670"/>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a:solidFill>
                  <a:schemeClr val="accent5"/>
                </a:solidFill>
                <a:latin typeface="Arial" panose="020B0604020202020204" pitchFamily="34" charset="0"/>
                <a:cs typeface="Arial" panose="020B0604020202020204" pitchFamily="34" charset="0"/>
              </a:rPr>
              <a:t>03 Headline</a:t>
            </a:r>
          </a:p>
        </p:txBody>
      </p:sp>
      <p:sp>
        <p:nvSpPr>
          <p:cNvPr id="33" name="TextBox 32"/>
          <p:cNvSpPr txBox="1"/>
          <p:nvPr/>
        </p:nvSpPr>
        <p:spPr>
          <a:xfrm>
            <a:off x="457200" y="3456116"/>
            <a:ext cx="2839499" cy="424732"/>
          </a:xfrm>
          <a:prstGeom prst="rect">
            <a:avLst/>
          </a:prstGeom>
          <a:noFill/>
        </p:spPr>
        <p:txBody>
          <a:bodyPr wrap="square" lIns="27000" rIns="27000" rtlCol="0">
            <a:spAutoFit/>
          </a:bodyPr>
          <a:lstStyle/>
          <a:p>
            <a:pPr>
              <a:lnSpc>
                <a:spcPct val="120000"/>
              </a:lnSpc>
            </a:pPr>
            <a:r>
              <a:rPr lang="en-US" sz="900">
                <a:solidFill>
                  <a:schemeClr val="accent5"/>
                </a:solidFill>
                <a:latin typeface="Arial" panose="020B0604020202020204" pitchFamily="34" charset="0"/>
                <a:cs typeface="Arial" panose="020B0604020202020204" pitchFamily="34" charset="0"/>
              </a:rPr>
              <a:t>Lorem ipsum dolor sit </a:t>
            </a:r>
            <a:r>
              <a:rPr lang="en-US" sz="900" err="1">
                <a:solidFill>
                  <a:schemeClr val="accent5"/>
                </a:solidFill>
                <a:latin typeface="Arial" panose="020B0604020202020204" pitchFamily="34" charset="0"/>
                <a:cs typeface="Arial" panose="020B0604020202020204" pitchFamily="34" charset="0"/>
              </a:rPr>
              <a:t>amet</a:t>
            </a:r>
            <a:r>
              <a:rPr lang="en-US" sz="900">
                <a:solidFill>
                  <a:schemeClr val="accent5"/>
                </a:solidFill>
                <a:latin typeface="Arial" panose="020B0604020202020204" pitchFamily="34" charset="0"/>
                <a:cs typeface="Arial" panose="020B0604020202020204" pitchFamily="34" charset="0"/>
              </a:rPr>
              <a:t>, </a:t>
            </a:r>
            <a:r>
              <a:rPr lang="en-US" sz="900" err="1">
                <a:solidFill>
                  <a:schemeClr val="accent5"/>
                </a:solidFill>
                <a:latin typeface="Arial" panose="020B0604020202020204" pitchFamily="34" charset="0"/>
                <a:cs typeface="Arial" panose="020B0604020202020204" pitchFamily="34" charset="0"/>
              </a:rPr>
              <a:t>consectetur</a:t>
            </a:r>
            <a:r>
              <a:rPr lang="en-US" sz="90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5" name="TextBox 34"/>
          <p:cNvSpPr txBox="1"/>
          <p:nvPr/>
        </p:nvSpPr>
        <p:spPr>
          <a:xfrm>
            <a:off x="457200" y="2363461"/>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a:solidFill>
                  <a:schemeClr val="accent1"/>
                </a:solidFill>
                <a:latin typeface="Arial" panose="020B0604020202020204" pitchFamily="34" charset="0"/>
                <a:cs typeface="Arial" panose="020B0604020202020204" pitchFamily="34" charset="0"/>
              </a:rPr>
              <a:t>02 Headline</a:t>
            </a:r>
          </a:p>
        </p:txBody>
      </p:sp>
      <p:sp>
        <p:nvSpPr>
          <p:cNvPr id="36" name="TextBox 35"/>
          <p:cNvSpPr txBox="1"/>
          <p:nvPr/>
        </p:nvSpPr>
        <p:spPr>
          <a:xfrm>
            <a:off x="457200" y="2612906"/>
            <a:ext cx="2839499" cy="424732"/>
          </a:xfrm>
          <a:prstGeom prst="rect">
            <a:avLst/>
          </a:prstGeom>
          <a:noFill/>
        </p:spPr>
        <p:txBody>
          <a:bodyPr wrap="square" lIns="27000" rIns="27000" rtlCol="0">
            <a:spAutoFit/>
          </a:bodyPr>
          <a:lstStyle/>
          <a:p>
            <a:pPr>
              <a:lnSpc>
                <a:spcPct val="120000"/>
              </a:lnSpc>
            </a:pPr>
            <a:r>
              <a:rPr lang="en-US" sz="900">
                <a:solidFill>
                  <a:schemeClr val="accent5"/>
                </a:solidFill>
                <a:latin typeface="Arial" panose="020B0604020202020204" pitchFamily="34" charset="0"/>
                <a:cs typeface="Arial" panose="020B0604020202020204" pitchFamily="34" charset="0"/>
              </a:rPr>
              <a:t>Lorem ipsum dolor sit </a:t>
            </a:r>
            <a:r>
              <a:rPr lang="en-US" sz="900" err="1">
                <a:solidFill>
                  <a:schemeClr val="accent5"/>
                </a:solidFill>
                <a:latin typeface="Arial" panose="020B0604020202020204" pitchFamily="34" charset="0"/>
                <a:cs typeface="Arial" panose="020B0604020202020204" pitchFamily="34" charset="0"/>
              </a:rPr>
              <a:t>amet</a:t>
            </a:r>
            <a:r>
              <a:rPr lang="en-US" sz="900">
                <a:solidFill>
                  <a:schemeClr val="accent5"/>
                </a:solidFill>
                <a:latin typeface="Arial" panose="020B0604020202020204" pitchFamily="34" charset="0"/>
                <a:cs typeface="Arial" panose="020B0604020202020204" pitchFamily="34" charset="0"/>
              </a:rPr>
              <a:t>, </a:t>
            </a:r>
            <a:r>
              <a:rPr lang="en-US" sz="900" err="1">
                <a:solidFill>
                  <a:schemeClr val="accent5"/>
                </a:solidFill>
                <a:latin typeface="Arial" panose="020B0604020202020204" pitchFamily="34" charset="0"/>
                <a:cs typeface="Arial" panose="020B0604020202020204" pitchFamily="34" charset="0"/>
              </a:rPr>
              <a:t>consectetur</a:t>
            </a:r>
            <a:r>
              <a:rPr lang="en-US" sz="90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8" name="Oval 37"/>
          <p:cNvSpPr>
            <a:spLocks noChangeAspect="1"/>
          </p:cNvSpPr>
          <p:nvPr/>
        </p:nvSpPr>
        <p:spPr>
          <a:xfrm>
            <a:off x="6062579" y="1858203"/>
            <a:ext cx="541705"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a:solidFill>
                  <a:schemeClr val="bg1"/>
                </a:solidFill>
                <a:latin typeface="Arial" panose="020B0604020202020204" pitchFamily="34" charset="0"/>
                <a:cs typeface="Arial" panose="020B0604020202020204" pitchFamily="34" charset="0"/>
              </a:rPr>
              <a:t>01</a:t>
            </a:r>
            <a:endParaRPr lang="en-US" sz="1200">
              <a:solidFill>
                <a:schemeClr val="bg1"/>
              </a:solidFill>
              <a:latin typeface="Arial" panose="020B0604020202020204" pitchFamily="34" charset="0"/>
              <a:cs typeface="Arial" panose="020B0604020202020204" pitchFamily="34" charset="0"/>
            </a:endParaRPr>
          </a:p>
        </p:txBody>
      </p:sp>
      <p:sp>
        <p:nvSpPr>
          <p:cNvPr id="39" name="Oval 38"/>
          <p:cNvSpPr>
            <a:spLocks noChangeAspect="1"/>
          </p:cNvSpPr>
          <p:nvPr/>
        </p:nvSpPr>
        <p:spPr>
          <a:xfrm>
            <a:off x="6170565"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a:solidFill>
                  <a:schemeClr val="bg1"/>
                </a:solidFill>
                <a:latin typeface="Arial" panose="020B0604020202020204" pitchFamily="34" charset="0"/>
                <a:cs typeface="Arial" panose="020B0604020202020204" pitchFamily="34" charset="0"/>
              </a:rPr>
              <a:t>04</a:t>
            </a:r>
            <a:endParaRPr lang="en-US" sz="1200">
              <a:solidFill>
                <a:schemeClr val="bg1"/>
              </a:solidFill>
              <a:latin typeface="Arial" panose="020B0604020202020204" pitchFamily="34" charset="0"/>
              <a:cs typeface="Arial" panose="020B0604020202020204" pitchFamily="34" charset="0"/>
            </a:endParaRPr>
          </a:p>
        </p:txBody>
      </p:sp>
      <p:sp>
        <p:nvSpPr>
          <p:cNvPr id="40" name="Oval 39"/>
          <p:cNvSpPr>
            <a:spLocks noChangeAspect="1"/>
          </p:cNvSpPr>
          <p:nvPr/>
        </p:nvSpPr>
        <p:spPr>
          <a:xfrm>
            <a:off x="7286501" y="1870811"/>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a:solidFill>
                  <a:schemeClr val="bg1"/>
                </a:solidFill>
                <a:latin typeface="Arial" panose="020B0604020202020204" pitchFamily="34" charset="0"/>
                <a:cs typeface="Arial" panose="020B0604020202020204" pitchFamily="34" charset="0"/>
              </a:rPr>
              <a:t>02</a:t>
            </a:r>
            <a:endParaRPr lang="en-US" sz="1200">
              <a:solidFill>
                <a:schemeClr val="bg1"/>
              </a:solidFill>
              <a:latin typeface="Arial" panose="020B0604020202020204" pitchFamily="34" charset="0"/>
              <a:cs typeface="Arial" panose="020B0604020202020204" pitchFamily="34" charset="0"/>
            </a:endParaRPr>
          </a:p>
        </p:txBody>
      </p:sp>
      <p:grpSp>
        <p:nvGrpSpPr>
          <p:cNvPr id="28" name="Group 27"/>
          <p:cNvGrpSpPr>
            <a:grpSpLocks noChangeAspect="1"/>
          </p:cNvGrpSpPr>
          <p:nvPr/>
        </p:nvGrpSpPr>
        <p:grpSpPr bwMode="auto">
          <a:xfrm flipH="1">
            <a:off x="5523545" y="1155364"/>
            <a:ext cx="2764963" cy="2766019"/>
            <a:chOff x="-2939" y="789"/>
            <a:chExt cx="2619" cy="2620"/>
          </a:xfrm>
          <a:solidFill>
            <a:schemeClr val="bg1">
              <a:lumMod val="85000"/>
            </a:schemeClr>
          </a:solidFill>
        </p:grpSpPr>
        <p:sp>
          <p:nvSpPr>
            <p:cNvPr id="31"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7" name="Oval 46"/>
          <p:cNvSpPr/>
          <p:nvPr/>
        </p:nvSpPr>
        <p:spPr>
          <a:xfrm>
            <a:off x="6399435" y="2071697"/>
            <a:ext cx="1041762" cy="104176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9" name="Oval 48"/>
          <p:cNvSpPr>
            <a:spLocks noChangeAspect="1"/>
          </p:cNvSpPr>
          <p:nvPr/>
        </p:nvSpPr>
        <p:spPr>
          <a:xfrm>
            <a:off x="7234524"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a:solidFill>
                  <a:schemeClr val="bg1"/>
                </a:solidFill>
                <a:latin typeface="Arial" panose="020B0604020202020204" pitchFamily="34" charset="0"/>
                <a:cs typeface="Arial" panose="020B0604020202020204" pitchFamily="34" charset="0"/>
              </a:rPr>
              <a:t>03</a:t>
            </a:r>
            <a:endParaRPr lang="en-US" sz="1200">
              <a:solidFill>
                <a:schemeClr val="bg1"/>
              </a:solidFill>
              <a:latin typeface="Arial" panose="020B0604020202020204" pitchFamily="34" charset="0"/>
              <a:cs typeface="Arial" panose="020B0604020202020204" pitchFamily="34" charset="0"/>
            </a:endParaRPr>
          </a:p>
        </p:txBody>
      </p:sp>
      <p:sp>
        <p:nvSpPr>
          <p:cNvPr id="50" name="TextBox 49"/>
          <p:cNvSpPr txBox="1"/>
          <p:nvPr/>
        </p:nvSpPr>
        <p:spPr>
          <a:xfrm>
            <a:off x="457200" y="404434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a:solidFill>
                  <a:schemeClr val="accent1">
                    <a:lumMod val="75000"/>
                  </a:schemeClr>
                </a:solidFill>
                <a:latin typeface="Arial" panose="020B0604020202020204" pitchFamily="34" charset="0"/>
                <a:cs typeface="Arial" panose="020B0604020202020204" pitchFamily="34" charset="0"/>
              </a:rPr>
              <a:t>04 Headline</a:t>
            </a:r>
          </a:p>
        </p:txBody>
      </p:sp>
      <p:sp>
        <p:nvSpPr>
          <p:cNvPr id="51" name="TextBox 50"/>
          <p:cNvSpPr txBox="1"/>
          <p:nvPr/>
        </p:nvSpPr>
        <p:spPr>
          <a:xfrm>
            <a:off x="457200" y="4293794"/>
            <a:ext cx="2839499" cy="424732"/>
          </a:xfrm>
          <a:prstGeom prst="rect">
            <a:avLst/>
          </a:prstGeom>
          <a:noFill/>
        </p:spPr>
        <p:txBody>
          <a:bodyPr wrap="square" lIns="27000" rIns="27000" rtlCol="0">
            <a:spAutoFit/>
          </a:bodyPr>
          <a:lstStyle/>
          <a:p>
            <a:pPr>
              <a:lnSpc>
                <a:spcPct val="120000"/>
              </a:lnSpc>
            </a:pPr>
            <a:r>
              <a:rPr lang="en-US" sz="900">
                <a:solidFill>
                  <a:schemeClr val="accent5"/>
                </a:solidFill>
                <a:latin typeface="Arial" panose="020B0604020202020204" pitchFamily="34" charset="0"/>
                <a:cs typeface="Arial" panose="020B0604020202020204" pitchFamily="34" charset="0"/>
              </a:rPr>
              <a:t>Lorem ipsum dolor sit </a:t>
            </a:r>
            <a:r>
              <a:rPr lang="en-US" sz="900" err="1">
                <a:solidFill>
                  <a:schemeClr val="accent5"/>
                </a:solidFill>
                <a:latin typeface="Arial" panose="020B0604020202020204" pitchFamily="34" charset="0"/>
                <a:cs typeface="Arial" panose="020B0604020202020204" pitchFamily="34" charset="0"/>
              </a:rPr>
              <a:t>amet</a:t>
            </a:r>
            <a:r>
              <a:rPr lang="en-US" sz="900">
                <a:solidFill>
                  <a:schemeClr val="accent5"/>
                </a:solidFill>
                <a:latin typeface="Arial" panose="020B0604020202020204" pitchFamily="34" charset="0"/>
                <a:cs typeface="Arial" panose="020B0604020202020204" pitchFamily="34" charset="0"/>
              </a:rPr>
              <a:t>, </a:t>
            </a:r>
            <a:r>
              <a:rPr lang="en-US" sz="900" err="1">
                <a:solidFill>
                  <a:schemeClr val="accent5"/>
                </a:solidFill>
                <a:latin typeface="Arial" panose="020B0604020202020204" pitchFamily="34" charset="0"/>
                <a:cs typeface="Arial" panose="020B0604020202020204" pitchFamily="34" charset="0"/>
              </a:rPr>
              <a:t>consectetur</a:t>
            </a:r>
            <a:r>
              <a:rPr lang="en-US" sz="90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 name="TextBox 2">
            <a:extLst>
              <a:ext uri="{FF2B5EF4-FFF2-40B4-BE49-F238E27FC236}">
                <a16:creationId xmlns:a16="http://schemas.microsoft.com/office/drawing/2014/main" id="{9C6D1952-12F8-C738-A342-5ABAF2E7B1A2}"/>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accent3"/>
                </a:solidFill>
                <a:latin typeface="Arial" panose="020B0604020202020204" pitchFamily="34" charset="0"/>
                <a:cs typeface="Arial" panose="020B0604020202020204" pitchFamily="34" charset="0"/>
              </a:rPr>
              <a:t>incose.org</a:t>
            </a:r>
            <a:r>
              <a:rPr lang="en-GB" sz="800" spc="0" baseline="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9</a:t>
            </a:fld>
            <a:endParaRPr lang="en-GB" sz="800" spc="0" baseline="0">
              <a:solidFill>
                <a:schemeClr val="accent3"/>
              </a:solidFill>
              <a:latin typeface="Arial" panose="020B0604020202020204" pitchFamily="34" charset="0"/>
              <a:cs typeface="Arial" panose="020B0604020202020204" pitchFamily="34" charset="0"/>
            </a:endParaRPr>
          </a:p>
        </p:txBody>
      </p:sp>
      <p:pic>
        <p:nvPicPr>
          <p:cNvPr id="5" name="Picture 4" descr="A screen shot of a cellphone&#10;&#10;Description automatically generated">
            <a:extLst>
              <a:ext uri="{FF2B5EF4-FFF2-40B4-BE49-F238E27FC236}">
                <a16:creationId xmlns:a16="http://schemas.microsoft.com/office/drawing/2014/main" id="{437C363C-E13D-8568-AD8C-9F5BFD20DCF5}"/>
              </a:ext>
            </a:extLst>
          </p:cNvPr>
          <p:cNvPicPr>
            <a:picLocks noChangeAspect="1"/>
          </p:cNvPicPr>
          <p:nvPr/>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987196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FE10A6DC-D047-D51C-F87F-DB1764DA9040}"/>
              </a:ext>
            </a:extLst>
          </p:cNvPr>
          <p:cNvSpPr>
            <a:spLocks noGrp="1"/>
          </p:cNvSpPr>
          <p:nvPr>
            <p:ph type="body" sz="quarter" idx="17"/>
          </p:nvPr>
        </p:nvSpPr>
        <p:spPr>
          <a:xfrm>
            <a:off x="466725" y="4447235"/>
            <a:ext cx="1823085" cy="180634"/>
          </a:xfrm>
        </p:spPr>
        <p:txBody>
          <a:bodyPr/>
          <a:lstStyle/>
          <a:p>
            <a:endParaRPr lang="en-GB"/>
          </a:p>
        </p:txBody>
      </p:sp>
      <p:sp>
        <p:nvSpPr>
          <p:cNvPr id="2" name="TextBox 1">
            <a:extLst>
              <a:ext uri="{FF2B5EF4-FFF2-40B4-BE49-F238E27FC236}">
                <a16:creationId xmlns:a16="http://schemas.microsoft.com/office/drawing/2014/main" id="{4A38229E-DCE7-4BDF-1A73-EF8AABA1461B}"/>
              </a:ext>
            </a:extLst>
          </p:cNvPr>
          <p:cNvSpPr txBox="1"/>
          <p:nvPr/>
        </p:nvSpPr>
        <p:spPr>
          <a:xfrm>
            <a:off x="8739266" y="254833"/>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7" name="Title 6">
            <a:extLst>
              <a:ext uri="{FF2B5EF4-FFF2-40B4-BE49-F238E27FC236}">
                <a16:creationId xmlns:a16="http://schemas.microsoft.com/office/drawing/2014/main" id="{93E4BCB2-4462-70DA-563E-5CFC3596AE93}"/>
              </a:ext>
            </a:extLst>
          </p:cNvPr>
          <p:cNvSpPr>
            <a:spLocks noGrp="1"/>
          </p:cNvSpPr>
          <p:nvPr>
            <p:ph type="title"/>
          </p:nvPr>
        </p:nvSpPr>
        <p:spPr>
          <a:xfrm>
            <a:off x="457917" y="750680"/>
            <a:ext cx="3656884" cy="889000"/>
          </a:xfrm>
        </p:spPr>
        <p:txBody>
          <a:bodyPr/>
          <a:lstStyle/>
          <a:p>
            <a:r>
              <a:rPr lang="en-GB"/>
              <a:t>Here’s another </a:t>
            </a:r>
            <a:br>
              <a:rPr lang="en-GB"/>
            </a:br>
            <a:r>
              <a:rPr lang="en-GB"/>
              <a:t>section divider</a:t>
            </a:r>
            <a:endParaRPr lang="en-FR"/>
          </a:p>
        </p:txBody>
      </p:sp>
      <p:sp>
        <p:nvSpPr>
          <p:cNvPr id="16" name="Text Placeholder 2">
            <a:extLst>
              <a:ext uri="{FF2B5EF4-FFF2-40B4-BE49-F238E27FC236}">
                <a16:creationId xmlns:a16="http://schemas.microsoft.com/office/drawing/2014/main" id="{5F7A0548-058C-59ED-D953-22D8CEF3CAF4}"/>
              </a:ext>
            </a:extLst>
          </p:cNvPr>
          <p:cNvSpPr txBox="1">
            <a:spLocks/>
          </p:cNvSpPr>
          <p:nvPr/>
        </p:nvSpPr>
        <p:spPr>
          <a:xfrm>
            <a:off x="457917" y="1784664"/>
            <a:ext cx="2516233" cy="671512"/>
          </a:xfrm>
          <a:prstGeom prst="rect">
            <a:avLst/>
          </a:prstGeom>
        </p:spPr>
        <p:txBody>
          <a:bodyPr vert="horz" wrap="square" lIns="0" tIns="45720" rIns="0" bIns="45720" rtlCol="0" anchor="t">
            <a:noAutofit/>
          </a:bodyPr>
          <a:lstStyle>
            <a:lvl1pPr marL="0" indent="0" algn="l" defTabSz="914400" rtl="0" eaLnBrk="1" latinLnBrk="0" hangingPunct="1">
              <a:lnSpc>
                <a:spcPct val="100000"/>
              </a:lnSpc>
              <a:spcBef>
                <a:spcPts val="750"/>
              </a:spcBef>
              <a:buClr>
                <a:schemeClr val="accent2"/>
              </a:buClr>
              <a:buSzPct val="110000"/>
              <a:buFont typeface="Arial" panose="020B0604020202020204" pitchFamily="34" charset="0"/>
              <a:buNone/>
              <a:defRPr lang="en-US" sz="1100" kern="1200" spc="0" baseline="0">
                <a:solidFill>
                  <a:schemeClr val="tx1"/>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a:t>You can also use this for a title slide. </a:t>
            </a:r>
          </a:p>
        </p:txBody>
      </p:sp>
      <p:sp>
        <p:nvSpPr>
          <p:cNvPr id="3" name="TextBox 2">
            <a:extLst>
              <a:ext uri="{FF2B5EF4-FFF2-40B4-BE49-F238E27FC236}">
                <a16:creationId xmlns:a16="http://schemas.microsoft.com/office/drawing/2014/main" id="{B32E60AB-08DE-EED3-0E3E-6F6F535F40C7}"/>
              </a:ext>
            </a:extLst>
          </p:cNvPr>
          <p:cNvSpPr txBox="1"/>
          <p:nvPr/>
        </p:nvSpPr>
        <p:spPr>
          <a:xfrm>
            <a:off x="287383" y="209006"/>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18F6960-1955-BF13-2783-23695B2C5BE1}"/>
              </a:ext>
            </a:extLst>
          </p:cNvPr>
          <p:cNvSpPr txBox="1"/>
          <p:nvPr/>
        </p:nvSpPr>
        <p:spPr>
          <a:xfrm>
            <a:off x="666206" y="235131"/>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47166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p:txBody>
          <a:bodyPr/>
          <a:lstStyle/>
          <a:p>
            <a:r>
              <a:rPr lang="en-US">
                <a:solidFill>
                  <a:schemeClr val="accent1"/>
                </a:solidFill>
              </a:rPr>
              <a:t>Concentric circles</a:t>
            </a:r>
          </a:p>
        </p:txBody>
      </p:sp>
      <p:cxnSp>
        <p:nvCxnSpPr>
          <p:cNvPr id="31" name="Straight Connector 30"/>
          <p:cNvCxnSpPr/>
          <p:nvPr/>
        </p:nvCxnSpPr>
        <p:spPr>
          <a:xfrm>
            <a:off x="4578138" y="1395506"/>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230395" y="1716165"/>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a:solidFill>
                  <a:schemeClr val="accent1"/>
                </a:solidFill>
                <a:latin typeface="Arial" panose="020B0604020202020204" pitchFamily="34" charset="0"/>
                <a:cs typeface="Arial" panose="020B0604020202020204" pitchFamily="34" charset="0"/>
              </a:rPr>
              <a:t>01 Headline</a:t>
            </a:r>
          </a:p>
        </p:txBody>
      </p:sp>
      <p:sp>
        <p:nvSpPr>
          <p:cNvPr id="33" name="TextBox 32"/>
          <p:cNvSpPr txBox="1"/>
          <p:nvPr/>
        </p:nvSpPr>
        <p:spPr>
          <a:xfrm>
            <a:off x="5230395" y="1965610"/>
            <a:ext cx="2819010" cy="424732"/>
          </a:xfrm>
          <a:prstGeom prst="rect">
            <a:avLst/>
          </a:prstGeom>
          <a:noFill/>
        </p:spPr>
        <p:txBody>
          <a:bodyPr wrap="square" lIns="27000" rIns="27000" rtlCol="0">
            <a:spAutoFit/>
          </a:bodyPr>
          <a:lstStyle/>
          <a:p>
            <a:pPr>
              <a:lnSpc>
                <a:spcPct val="120000"/>
              </a:lnSpc>
            </a:pPr>
            <a:r>
              <a:rPr lang="en-US" sz="900">
                <a:solidFill>
                  <a:schemeClr val="tx2"/>
                </a:solidFill>
                <a:latin typeface="Arial" panose="020B0604020202020204" pitchFamily="34" charset="0"/>
                <a:cs typeface="Arial" panose="020B0604020202020204" pitchFamily="34" charset="0"/>
              </a:rPr>
              <a:t>Lorem ipsum dolor sit </a:t>
            </a:r>
            <a:r>
              <a:rPr lang="en-US" sz="900" err="1">
                <a:solidFill>
                  <a:schemeClr val="tx2"/>
                </a:solidFill>
                <a:latin typeface="Arial" panose="020B0604020202020204" pitchFamily="34" charset="0"/>
                <a:cs typeface="Arial" panose="020B0604020202020204" pitchFamily="34" charset="0"/>
              </a:rPr>
              <a:t>amet</a:t>
            </a:r>
            <a:r>
              <a:rPr lang="en-US" sz="900">
                <a:solidFill>
                  <a:schemeClr val="tx2"/>
                </a:solidFill>
                <a:latin typeface="Arial" panose="020B0604020202020204" pitchFamily="34" charset="0"/>
                <a:cs typeface="Arial" panose="020B0604020202020204" pitchFamily="34" charset="0"/>
              </a:rPr>
              <a:t>, </a:t>
            </a:r>
            <a:r>
              <a:rPr lang="en-US" sz="900" err="1">
                <a:solidFill>
                  <a:schemeClr val="tx2"/>
                </a:solidFill>
                <a:latin typeface="Arial" panose="020B0604020202020204" pitchFamily="34" charset="0"/>
                <a:cs typeface="Arial" panose="020B0604020202020204" pitchFamily="34" charset="0"/>
              </a:rPr>
              <a:t>consectetur</a:t>
            </a:r>
            <a:r>
              <a:rPr lang="en-US" sz="90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4" name="TextBox 33"/>
          <p:cNvSpPr txBox="1"/>
          <p:nvPr/>
        </p:nvSpPr>
        <p:spPr>
          <a:xfrm>
            <a:off x="5230395" y="3316637"/>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a:solidFill>
                  <a:schemeClr val="accent1"/>
                </a:solidFill>
                <a:latin typeface="Arial" panose="020B0604020202020204" pitchFamily="34" charset="0"/>
                <a:cs typeface="Arial" panose="020B0604020202020204" pitchFamily="34" charset="0"/>
              </a:rPr>
              <a:t>03 Headline</a:t>
            </a:r>
          </a:p>
        </p:txBody>
      </p:sp>
      <p:sp>
        <p:nvSpPr>
          <p:cNvPr id="35" name="TextBox 34"/>
          <p:cNvSpPr txBox="1"/>
          <p:nvPr/>
        </p:nvSpPr>
        <p:spPr>
          <a:xfrm>
            <a:off x="5230395" y="3566083"/>
            <a:ext cx="2684881" cy="424732"/>
          </a:xfrm>
          <a:prstGeom prst="rect">
            <a:avLst/>
          </a:prstGeom>
          <a:noFill/>
        </p:spPr>
        <p:txBody>
          <a:bodyPr wrap="square" lIns="27000" rIns="27000" rtlCol="0">
            <a:spAutoFit/>
          </a:bodyPr>
          <a:lstStyle/>
          <a:p>
            <a:pPr>
              <a:lnSpc>
                <a:spcPct val="120000"/>
              </a:lnSpc>
            </a:pPr>
            <a:r>
              <a:rPr lang="en-US" sz="900">
                <a:solidFill>
                  <a:schemeClr val="tx2"/>
                </a:solidFill>
                <a:latin typeface="Arial" panose="020B0604020202020204" pitchFamily="34" charset="0"/>
                <a:cs typeface="Arial" panose="020B0604020202020204" pitchFamily="34" charset="0"/>
              </a:rPr>
              <a:t>Lorem ipsum dolor sit </a:t>
            </a:r>
            <a:r>
              <a:rPr lang="en-US" sz="900" err="1">
                <a:solidFill>
                  <a:schemeClr val="tx2"/>
                </a:solidFill>
                <a:latin typeface="Arial" panose="020B0604020202020204" pitchFamily="34" charset="0"/>
                <a:cs typeface="Arial" panose="020B0604020202020204" pitchFamily="34" charset="0"/>
              </a:rPr>
              <a:t>amet</a:t>
            </a:r>
            <a:r>
              <a:rPr lang="en-US" sz="900">
                <a:solidFill>
                  <a:schemeClr val="tx2"/>
                </a:solidFill>
                <a:latin typeface="Arial" panose="020B0604020202020204" pitchFamily="34" charset="0"/>
                <a:cs typeface="Arial" panose="020B0604020202020204" pitchFamily="34" charset="0"/>
              </a:rPr>
              <a:t>, </a:t>
            </a:r>
            <a:r>
              <a:rPr lang="en-US" sz="900" err="1">
                <a:solidFill>
                  <a:schemeClr val="tx2"/>
                </a:solidFill>
                <a:latin typeface="Arial" panose="020B0604020202020204" pitchFamily="34" charset="0"/>
                <a:cs typeface="Arial" panose="020B0604020202020204" pitchFamily="34" charset="0"/>
              </a:rPr>
              <a:t>consectetur</a:t>
            </a:r>
            <a:r>
              <a:rPr lang="en-US" sz="90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6" name="TextBox 35"/>
          <p:cNvSpPr txBox="1"/>
          <p:nvPr/>
        </p:nvSpPr>
        <p:spPr>
          <a:xfrm>
            <a:off x="5230395" y="247342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a:solidFill>
                  <a:schemeClr val="accent1"/>
                </a:solidFill>
                <a:latin typeface="Arial" panose="020B0604020202020204" pitchFamily="34" charset="0"/>
                <a:cs typeface="Arial" panose="020B0604020202020204" pitchFamily="34" charset="0"/>
              </a:rPr>
              <a:t>02 Headline</a:t>
            </a:r>
          </a:p>
        </p:txBody>
      </p:sp>
      <p:sp>
        <p:nvSpPr>
          <p:cNvPr id="37" name="TextBox 36"/>
          <p:cNvSpPr txBox="1"/>
          <p:nvPr/>
        </p:nvSpPr>
        <p:spPr>
          <a:xfrm>
            <a:off x="5230396" y="2722873"/>
            <a:ext cx="2684880" cy="424732"/>
          </a:xfrm>
          <a:prstGeom prst="rect">
            <a:avLst/>
          </a:prstGeom>
          <a:noFill/>
        </p:spPr>
        <p:txBody>
          <a:bodyPr wrap="square" lIns="27000" rIns="27000" rtlCol="0">
            <a:spAutoFit/>
          </a:bodyPr>
          <a:lstStyle/>
          <a:p>
            <a:pPr>
              <a:lnSpc>
                <a:spcPct val="120000"/>
              </a:lnSpc>
            </a:pPr>
            <a:r>
              <a:rPr lang="en-US" sz="900">
                <a:solidFill>
                  <a:schemeClr val="tx2"/>
                </a:solidFill>
                <a:latin typeface="Arial" panose="020B0604020202020204" pitchFamily="34" charset="0"/>
                <a:cs typeface="Arial" panose="020B0604020202020204" pitchFamily="34" charset="0"/>
              </a:rPr>
              <a:t>Lorem ipsum dolor sit </a:t>
            </a:r>
            <a:r>
              <a:rPr lang="en-US" sz="900" err="1">
                <a:solidFill>
                  <a:schemeClr val="tx2"/>
                </a:solidFill>
                <a:latin typeface="Arial" panose="020B0604020202020204" pitchFamily="34" charset="0"/>
                <a:cs typeface="Arial" panose="020B0604020202020204" pitchFamily="34" charset="0"/>
              </a:rPr>
              <a:t>amet</a:t>
            </a:r>
            <a:r>
              <a:rPr lang="en-US" sz="900">
                <a:solidFill>
                  <a:schemeClr val="tx2"/>
                </a:solidFill>
                <a:latin typeface="Arial" panose="020B0604020202020204" pitchFamily="34" charset="0"/>
                <a:cs typeface="Arial" panose="020B0604020202020204" pitchFamily="34" charset="0"/>
              </a:rPr>
              <a:t>, </a:t>
            </a:r>
            <a:r>
              <a:rPr lang="en-US" sz="900" err="1">
                <a:solidFill>
                  <a:schemeClr val="tx2"/>
                </a:solidFill>
                <a:latin typeface="Arial" panose="020B0604020202020204" pitchFamily="34" charset="0"/>
                <a:cs typeface="Arial" panose="020B0604020202020204" pitchFamily="34" charset="0"/>
              </a:rPr>
              <a:t>consectetur</a:t>
            </a:r>
            <a:r>
              <a:rPr lang="en-US" sz="900">
                <a:solidFill>
                  <a:schemeClr val="tx2"/>
                </a:solidFill>
                <a:latin typeface="Arial" panose="020B0604020202020204" pitchFamily="34" charset="0"/>
                <a:cs typeface="Arial" panose="020B0604020202020204" pitchFamily="34" charset="0"/>
              </a:rPr>
              <a:t> adipiscing elit, sed do eiusmod tempor incididunt ut</a:t>
            </a:r>
          </a:p>
        </p:txBody>
      </p:sp>
      <p:grpSp>
        <p:nvGrpSpPr>
          <p:cNvPr id="42" name="Group 41"/>
          <p:cNvGrpSpPr/>
          <p:nvPr/>
        </p:nvGrpSpPr>
        <p:grpSpPr>
          <a:xfrm>
            <a:off x="1157662" y="1569154"/>
            <a:ext cx="2561476" cy="2561477"/>
            <a:chOff x="624195" y="1618093"/>
            <a:chExt cx="2089666" cy="2089667"/>
          </a:xfrm>
        </p:grpSpPr>
        <p:sp>
          <p:nvSpPr>
            <p:cNvPr id="43" name="Oval 42"/>
            <p:cNvSpPr/>
            <p:nvPr/>
          </p:nvSpPr>
          <p:spPr>
            <a:xfrm>
              <a:off x="624195" y="1618093"/>
              <a:ext cx="2089666" cy="2089667"/>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44" name="Oval 43"/>
            <p:cNvSpPr/>
            <p:nvPr/>
          </p:nvSpPr>
          <p:spPr>
            <a:xfrm>
              <a:off x="970939" y="1964836"/>
              <a:ext cx="1396179" cy="1396180"/>
            </a:xfrm>
            <a:prstGeom prst="ellipse">
              <a:avLst/>
            </a:prstGeom>
            <a:solidFill>
              <a:srgbClr val="85B0FD"/>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45" name="Oval 44"/>
            <p:cNvSpPr/>
            <p:nvPr/>
          </p:nvSpPr>
          <p:spPr>
            <a:xfrm>
              <a:off x="1274155" y="2268053"/>
              <a:ext cx="789747" cy="789747"/>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grpSp>
      <p:sp>
        <p:nvSpPr>
          <p:cNvPr id="46" name="Rectangle 45"/>
          <p:cNvSpPr/>
          <p:nvPr/>
        </p:nvSpPr>
        <p:spPr>
          <a:xfrm>
            <a:off x="2189421" y="2036521"/>
            <a:ext cx="537994" cy="246221"/>
          </a:xfrm>
          <a:prstGeom prst="rect">
            <a:avLst/>
          </a:prstGeom>
        </p:spPr>
        <p:txBody>
          <a:bodyPr wrap="square" lIns="91440" tIns="0" rIns="91440" bIns="0">
            <a:spAutoFit/>
          </a:bodyPr>
          <a:lstStyle/>
          <a:p>
            <a:pPr algn="ctr" defTabSz="685722"/>
            <a:r>
              <a:rPr lang="en-US" sz="1600" b="1">
                <a:solidFill>
                  <a:schemeClr val="bg1"/>
                </a:solidFill>
                <a:latin typeface="Arial" panose="020B0604020202020204" pitchFamily="34" charset="0"/>
                <a:cs typeface="Arial" panose="020B0604020202020204" pitchFamily="34" charset="0"/>
              </a:rPr>
              <a:t>02</a:t>
            </a:r>
          </a:p>
        </p:txBody>
      </p:sp>
      <p:sp>
        <p:nvSpPr>
          <p:cNvPr id="47" name="Rectangle 46"/>
          <p:cNvSpPr/>
          <p:nvPr/>
        </p:nvSpPr>
        <p:spPr>
          <a:xfrm>
            <a:off x="2189421" y="2456256"/>
            <a:ext cx="537994" cy="246221"/>
          </a:xfrm>
          <a:prstGeom prst="rect">
            <a:avLst/>
          </a:prstGeom>
        </p:spPr>
        <p:txBody>
          <a:bodyPr wrap="square" lIns="91440" tIns="0" rIns="91440" bIns="0">
            <a:spAutoFit/>
          </a:bodyPr>
          <a:lstStyle/>
          <a:p>
            <a:pPr algn="ctr" defTabSz="685722"/>
            <a:r>
              <a:rPr lang="en-US" sz="1600" b="1">
                <a:solidFill>
                  <a:schemeClr val="bg1"/>
                </a:solidFill>
                <a:latin typeface="Arial" panose="020B0604020202020204" pitchFamily="34" charset="0"/>
                <a:cs typeface="Arial" panose="020B0604020202020204" pitchFamily="34" charset="0"/>
              </a:rPr>
              <a:t>03</a:t>
            </a:r>
          </a:p>
        </p:txBody>
      </p:sp>
      <p:sp>
        <p:nvSpPr>
          <p:cNvPr id="48" name="Rectangle 47"/>
          <p:cNvSpPr/>
          <p:nvPr/>
        </p:nvSpPr>
        <p:spPr>
          <a:xfrm>
            <a:off x="2189421" y="1651738"/>
            <a:ext cx="537994" cy="246221"/>
          </a:xfrm>
          <a:prstGeom prst="rect">
            <a:avLst/>
          </a:prstGeom>
        </p:spPr>
        <p:txBody>
          <a:bodyPr wrap="square" lIns="91440" tIns="0" rIns="91440" bIns="0">
            <a:spAutoFit/>
          </a:bodyPr>
          <a:lstStyle/>
          <a:p>
            <a:pPr algn="ctr" defTabSz="685722"/>
            <a:r>
              <a:rPr lang="en-US" sz="1600" b="1">
                <a:solidFill>
                  <a:schemeClr val="bg1"/>
                </a:solidFill>
                <a:latin typeface="Arial" panose="020B0604020202020204" pitchFamily="34" charset="0"/>
                <a:cs typeface="Arial" panose="020B0604020202020204" pitchFamily="34" charset="0"/>
              </a:rPr>
              <a:t>01</a:t>
            </a:r>
          </a:p>
        </p:txBody>
      </p:sp>
    </p:spTree>
    <p:extLst>
      <p:ext uri="{BB962C8B-B14F-4D97-AF65-F5344CB8AC3E}">
        <p14:creationId xmlns:p14="http://schemas.microsoft.com/office/powerpoint/2010/main" val="2355495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solidFill>
                <a:schemeClr val="tx1"/>
              </a:solidFill>
            </a:endParaRPr>
          </a:p>
        </p:txBody>
      </p:sp>
      <p:sp>
        <p:nvSpPr>
          <p:cNvPr id="8" name="Text Placeholder 7"/>
          <p:cNvSpPr>
            <a:spLocks noGrp="1"/>
          </p:cNvSpPr>
          <p:nvPr>
            <p:ph type="body" sz="quarter" idx="17"/>
          </p:nvPr>
        </p:nvSpPr>
        <p:spPr/>
        <p:txBody>
          <a:bodyPr/>
          <a:lstStyle/>
          <a:p>
            <a:r>
              <a:rPr lang="en-US">
                <a:solidFill>
                  <a:schemeClr val="accent1"/>
                </a:solidFill>
              </a:rPr>
              <a:t>Venn diagram</a:t>
            </a:r>
          </a:p>
        </p:txBody>
      </p:sp>
      <p:grpSp>
        <p:nvGrpSpPr>
          <p:cNvPr id="4" name="Group 3"/>
          <p:cNvGrpSpPr/>
          <p:nvPr/>
        </p:nvGrpSpPr>
        <p:grpSpPr>
          <a:xfrm>
            <a:off x="2823180" y="1814456"/>
            <a:ext cx="3134502" cy="2089667"/>
            <a:chOff x="3202770" y="2038829"/>
            <a:chExt cx="2797943" cy="1865294"/>
          </a:xfrm>
        </p:grpSpPr>
        <p:sp>
          <p:nvSpPr>
            <p:cNvPr id="6" name="Oval 5"/>
            <p:cNvSpPr/>
            <p:nvPr/>
          </p:nvSpPr>
          <p:spPr>
            <a:xfrm>
              <a:off x="4135418" y="2038829"/>
              <a:ext cx="1865295" cy="1865294"/>
            </a:xfrm>
            <a:prstGeom prst="ellipse">
              <a:avLst/>
            </a:prstGeom>
            <a:solidFill>
              <a:srgbClr val="FB7264">
                <a:alpha val="39000"/>
              </a:srgbClr>
            </a:solidFill>
            <a:ln w="28575">
              <a:solidFill>
                <a:srgbClr val="C01D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1D28"/>
                </a:solidFill>
                <a:latin typeface="+mj-lt"/>
              </a:endParaRPr>
            </a:p>
          </p:txBody>
        </p:sp>
        <p:sp>
          <p:nvSpPr>
            <p:cNvPr id="87" name="Oval 86"/>
            <p:cNvSpPr/>
            <p:nvPr/>
          </p:nvSpPr>
          <p:spPr>
            <a:xfrm>
              <a:off x="3202770" y="2038829"/>
              <a:ext cx="1865293" cy="1865294"/>
            </a:xfrm>
            <a:prstGeom prst="ellipse">
              <a:avLst/>
            </a:prstGeom>
            <a:solidFill>
              <a:schemeClr val="accent5">
                <a:lumMod val="75000"/>
                <a:alpha val="26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1D28"/>
                </a:solidFill>
                <a:latin typeface="+mj-lt"/>
              </a:endParaRPr>
            </a:p>
          </p:txBody>
        </p:sp>
        <p:sp>
          <p:nvSpPr>
            <p:cNvPr id="7" name="Oval 6"/>
            <p:cNvSpPr/>
            <p:nvPr/>
          </p:nvSpPr>
          <p:spPr>
            <a:xfrm>
              <a:off x="3202771" y="2038829"/>
              <a:ext cx="1865294" cy="1865294"/>
            </a:xfrm>
            <a:prstGeom prst="ellipse">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1D28"/>
                </a:solidFill>
                <a:latin typeface="+mj-lt"/>
              </a:endParaRPr>
            </a:p>
          </p:txBody>
        </p:sp>
      </p:grpSp>
      <p:sp>
        <p:nvSpPr>
          <p:cNvPr id="10" name="Rectangle 9"/>
          <p:cNvSpPr/>
          <p:nvPr/>
        </p:nvSpPr>
        <p:spPr>
          <a:xfrm>
            <a:off x="1816523" y="2662927"/>
            <a:ext cx="946773" cy="246221"/>
          </a:xfrm>
          <a:prstGeom prst="rect">
            <a:avLst/>
          </a:prstGeom>
        </p:spPr>
        <p:txBody>
          <a:bodyPr wrap="square" lIns="91440" tIns="0" rIns="91440" bIns="0">
            <a:spAutoFit/>
          </a:bodyPr>
          <a:lstStyle/>
          <a:p>
            <a:pPr defTabSz="685722"/>
            <a:r>
              <a:rPr lang="en-US" sz="1600" b="1" spc="-50">
                <a:solidFill>
                  <a:schemeClr val="accent5"/>
                </a:solidFill>
                <a:latin typeface="+mj-lt"/>
              </a:rPr>
              <a:t>Team A</a:t>
            </a:r>
          </a:p>
        </p:txBody>
      </p:sp>
      <p:sp>
        <p:nvSpPr>
          <p:cNvPr id="11" name="Rectangle 10"/>
          <p:cNvSpPr/>
          <p:nvPr/>
        </p:nvSpPr>
        <p:spPr>
          <a:xfrm>
            <a:off x="3879586" y="1311894"/>
            <a:ext cx="2296734" cy="369330"/>
          </a:xfrm>
          <a:prstGeom prst="rect">
            <a:avLst/>
          </a:prstGeom>
        </p:spPr>
        <p:txBody>
          <a:bodyPr wrap="square" lIns="121917" tIns="60959" rIns="121917" bIns="60959">
            <a:spAutoFit/>
          </a:bodyPr>
          <a:lstStyle/>
          <a:p>
            <a:pPr defTabSz="685722"/>
            <a:r>
              <a:rPr lang="en-US" sz="1600" b="1" spc="-50">
                <a:solidFill>
                  <a:schemeClr val="accent3"/>
                </a:solidFill>
                <a:latin typeface="+mj-lt"/>
              </a:rPr>
              <a:t>Team C</a:t>
            </a:r>
          </a:p>
        </p:txBody>
      </p:sp>
      <p:sp>
        <p:nvSpPr>
          <p:cNvPr id="12" name="Rectangle 11"/>
          <p:cNvSpPr/>
          <p:nvPr/>
        </p:nvSpPr>
        <p:spPr>
          <a:xfrm>
            <a:off x="6176320" y="2662927"/>
            <a:ext cx="1208514" cy="246221"/>
          </a:xfrm>
          <a:prstGeom prst="rect">
            <a:avLst/>
          </a:prstGeom>
        </p:spPr>
        <p:txBody>
          <a:bodyPr wrap="square" lIns="91440" tIns="0" rIns="91440" bIns="0">
            <a:spAutoFit/>
          </a:bodyPr>
          <a:lstStyle/>
          <a:p>
            <a:pPr defTabSz="685722"/>
            <a:r>
              <a:rPr lang="en-US" sz="1600" b="1" spc="-50">
                <a:solidFill>
                  <a:srgbClr val="C01D28"/>
                </a:solidFill>
                <a:latin typeface="+mj-lt"/>
              </a:rPr>
              <a:t>Team B</a:t>
            </a:r>
          </a:p>
        </p:txBody>
      </p:sp>
    </p:spTree>
    <p:extLst>
      <p:ext uri="{BB962C8B-B14F-4D97-AF65-F5344CB8AC3E}">
        <p14:creationId xmlns:p14="http://schemas.microsoft.com/office/powerpoint/2010/main" val="34098081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74131" y="1419926"/>
            <a:ext cx="6281022" cy="698792"/>
            <a:chOff x="1638892" y="1077138"/>
            <a:chExt cx="6121553" cy="1739268"/>
          </a:xfrm>
        </p:grpSpPr>
        <p:cxnSp>
          <p:nvCxnSpPr>
            <p:cNvPr id="50" name="Straight Connector 49"/>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42" name="Rectangle 41"/>
          <p:cNvSpPr/>
          <p:nvPr/>
        </p:nvSpPr>
        <p:spPr>
          <a:xfrm>
            <a:off x="465187" y="2118262"/>
            <a:ext cx="8678813" cy="103669"/>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err="1">
              <a:solidFill>
                <a:srgbClr val="C01D28"/>
              </a:solidFill>
              <a:ea typeface="Segoe UI Black" panose="020B0A02040204020203" pitchFamily="34" charset="0"/>
              <a:cs typeface="Segoe UI Black" panose="020B0A02040204020203" pitchFamily="34" charset="0"/>
            </a:endParaRPr>
          </a:p>
        </p:txBody>
      </p:sp>
      <p:sp>
        <p:nvSpPr>
          <p:cNvPr id="3" name="Text Placeholder 2"/>
          <p:cNvSpPr>
            <a:spLocks noGrp="1"/>
          </p:cNvSpPr>
          <p:nvPr>
            <p:ph type="body" sz="quarter" idx="16"/>
          </p:nvPr>
        </p:nvSpPr>
        <p:spPr/>
        <p:txBody>
          <a:bodyPr/>
          <a:lstStyle/>
          <a:p>
            <a:endParaRPr lang="en-US">
              <a:solidFill>
                <a:schemeClr val="tx1"/>
              </a:solidFill>
            </a:endParaRPr>
          </a:p>
        </p:txBody>
      </p:sp>
      <p:sp>
        <p:nvSpPr>
          <p:cNvPr id="9" name="Text Placeholder 8"/>
          <p:cNvSpPr>
            <a:spLocks noGrp="1"/>
          </p:cNvSpPr>
          <p:nvPr>
            <p:ph type="body" sz="quarter" idx="17"/>
          </p:nvPr>
        </p:nvSpPr>
        <p:spPr/>
        <p:txBody>
          <a:bodyPr/>
          <a:lstStyle/>
          <a:p>
            <a:r>
              <a:rPr lang="en-US">
                <a:solidFill>
                  <a:schemeClr val="accent1"/>
                </a:solidFill>
              </a:rPr>
              <a:t>Linear flow layout</a:t>
            </a:r>
          </a:p>
        </p:txBody>
      </p:sp>
      <p:grpSp>
        <p:nvGrpSpPr>
          <p:cNvPr id="2" name="Group 1"/>
          <p:cNvGrpSpPr/>
          <p:nvPr/>
        </p:nvGrpSpPr>
        <p:grpSpPr>
          <a:xfrm>
            <a:off x="652582" y="1703051"/>
            <a:ext cx="352535" cy="301040"/>
            <a:chOff x="695428" y="1491009"/>
            <a:chExt cx="433949" cy="370562"/>
          </a:xfrm>
          <a:solidFill>
            <a:srgbClr val="C01D28"/>
          </a:solidFill>
        </p:grpSpPr>
        <p:sp>
          <p:nvSpPr>
            <p:cNvPr id="66" name="Freeform 20"/>
            <p:cNvSpPr>
              <a:spLocks/>
            </p:cNvSpPr>
            <p:nvPr/>
          </p:nvSpPr>
          <p:spPr bwMode="auto">
            <a:xfrm>
              <a:off x="695428" y="1669789"/>
              <a:ext cx="433949" cy="191782"/>
            </a:xfrm>
            <a:custGeom>
              <a:avLst/>
              <a:gdLst>
                <a:gd name="T0" fmla="*/ 921 w 1066"/>
                <a:gd name="T1" fmla="*/ 91 h 472"/>
                <a:gd name="T2" fmla="*/ 919 w 1066"/>
                <a:gd name="T3" fmla="*/ 88 h 472"/>
                <a:gd name="T4" fmla="*/ 912 w 1066"/>
                <a:gd name="T5" fmla="*/ 81 h 472"/>
                <a:gd name="T6" fmla="*/ 732 w 1066"/>
                <a:gd name="T7" fmla="*/ 0 h 472"/>
                <a:gd name="T8" fmla="*/ 710 w 1066"/>
                <a:gd name="T9" fmla="*/ 48 h 472"/>
                <a:gd name="T10" fmla="*/ 988 w 1066"/>
                <a:gd name="T11" fmla="*/ 364 h 472"/>
                <a:gd name="T12" fmla="*/ 744 w 1066"/>
                <a:gd name="T13" fmla="*/ 123 h 472"/>
                <a:gd name="T14" fmla="*/ 741 w 1066"/>
                <a:gd name="T15" fmla="*/ 118 h 472"/>
                <a:gd name="T16" fmla="*/ 733 w 1066"/>
                <a:gd name="T17" fmla="*/ 110 h 472"/>
                <a:gd name="T18" fmla="*/ 725 w 1066"/>
                <a:gd name="T19" fmla="*/ 106 h 472"/>
                <a:gd name="T20" fmla="*/ 715 w 1066"/>
                <a:gd name="T21" fmla="*/ 106 h 472"/>
                <a:gd name="T22" fmla="*/ 710 w 1066"/>
                <a:gd name="T23" fmla="*/ 108 h 472"/>
                <a:gd name="T24" fmla="*/ 701 w 1066"/>
                <a:gd name="T25" fmla="*/ 113 h 472"/>
                <a:gd name="T26" fmla="*/ 695 w 1066"/>
                <a:gd name="T27" fmla="*/ 121 h 472"/>
                <a:gd name="T28" fmla="*/ 692 w 1066"/>
                <a:gd name="T29" fmla="*/ 131 h 472"/>
                <a:gd name="T30" fmla="*/ 695 w 1066"/>
                <a:gd name="T31" fmla="*/ 141 h 472"/>
                <a:gd name="T32" fmla="*/ 560 w 1066"/>
                <a:gd name="T33" fmla="*/ 400 h 472"/>
                <a:gd name="T34" fmla="*/ 547 w 1066"/>
                <a:gd name="T35" fmla="*/ 294 h 472"/>
                <a:gd name="T36" fmla="*/ 541 w 1066"/>
                <a:gd name="T37" fmla="*/ 297 h 472"/>
                <a:gd name="T38" fmla="*/ 533 w 1066"/>
                <a:gd name="T39" fmla="*/ 298 h 472"/>
                <a:gd name="T40" fmla="*/ 518 w 1066"/>
                <a:gd name="T41" fmla="*/ 294 h 472"/>
                <a:gd name="T42" fmla="*/ 507 w 1066"/>
                <a:gd name="T43" fmla="*/ 400 h 472"/>
                <a:gd name="T44" fmla="*/ 372 w 1066"/>
                <a:gd name="T45" fmla="*/ 141 h 472"/>
                <a:gd name="T46" fmla="*/ 373 w 1066"/>
                <a:gd name="T47" fmla="*/ 136 h 472"/>
                <a:gd name="T48" fmla="*/ 373 w 1066"/>
                <a:gd name="T49" fmla="*/ 126 h 472"/>
                <a:gd name="T50" fmla="*/ 368 w 1066"/>
                <a:gd name="T51" fmla="*/ 116 h 472"/>
                <a:gd name="T52" fmla="*/ 361 w 1066"/>
                <a:gd name="T53" fmla="*/ 110 h 472"/>
                <a:gd name="T54" fmla="*/ 357 w 1066"/>
                <a:gd name="T55" fmla="*/ 108 h 472"/>
                <a:gd name="T56" fmla="*/ 346 w 1066"/>
                <a:gd name="T57" fmla="*/ 105 h 472"/>
                <a:gd name="T58" fmla="*/ 337 w 1066"/>
                <a:gd name="T59" fmla="*/ 108 h 472"/>
                <a:gd name="T60" fmla="*/ 328 w 1066"/>
                <a:gd name="T61" fmla="*/ 114 h 472"/>
                <a:gd name="T62" fmla="*/ 322 w 1066"/>
                <a:gd name="T63" fmla="*/ 123 h 472"/>
                <a:gd name="T64" fmla="*/ 79 w 1066"/>
                <a:gd name="T65" fmla="*/ 364 h 472"/>
                <a:gd name="T66" fmla="*/ 357 w 1066"/>
                <a:gd name="T67" fmla="*/ 48 h 472"/>
                <a:gd name="T68" fmla="*/ 333 w 1066"/>
                <a:gd name="T69" fmla="*/ 0 h 472"/>
                <a:gd name="T70" fmla="*/ 158 w 1066"/>
                <a:gd name="T71" fmla="*/ 79 h 472"/>
                <a:gd name="T72" fmla="*/ 150 w 1066"/>
                <a:gd name="T73" fmla="*/ 84 h 472"/>
                <a:gd name="T74" fmla="*/ 144 w 1066"/>
                <a:gd name="T75" fmla="*/ 91 h 472"/>
                <a:gd name="T76" fmla="*/ 3 w 1066"/>
                <a:gd name="T77" fmla="*/ 405 h 472"/>
                <a:gd name="T78" fmla="*/ 0 w 1066"/>
                <a:gd name="T79" fmla="*/ 420 h 472"/>
                <a:gd name="T80" fmla="*/ 8 w 1066"/>
                <a:gd name="T81" fmla="*/ 434 h 472"/>
                <a:gd name="T82" fmla="*/ 14 w 1066"/>
                <a:gd name="T83" fmla="*/ 439 h 472"/>
                <a:gd name="T84" fmla="*/ 29 w 1066"/>
                <a:gd name="T85" fmla="*/ 443 h 472"/>
                <a:gd name="T86" fmla="*/ 279 w 1066"/>
                <a:gd name="T87" fmla="*/ 333 h 472"/>
                <a:gd name="T88" fmla="*/ 519 w 1066"/>
                <a:gd name="T89" fmla="*/ 468 h 472"/>
                <a:gd name="T90" fmla="*/ 524 w 1066"/>
                <a:gd name="T91" fmla="*/ 471 h 472"/>
                <a:gd name="T92" fmla="*/ 526 w 1066"/>
                <a:gd name="T93" fmla="*/ 471 h 472"/>
                <a:gd name="T94" fmla="*/ 533 w 1066"/>
                <a:gd name="T95" fmla="*/ 472 h 472"/>
                <a:gd name="T96" fmla="*/ 540 w 1066"/>
                <a:gd name="T97" fmla="*/ 471 h 472"/>
                <a:gd name="T98" fmla="*/ 542 w 1066"/>
                <a:gd name="T99" fmla="*/ 471 h 472"/>
                <a:gd name="T100" fmla="*/ 786 w 1066"/>
                <a:gd name="T101" fmla="*/ 333 h 472"/>
                <a:gd name="T102" fmla="*/ 1029 w 1066"/>
                <a:gd name="T103" fmla="*/ 440 h 472"/>
                <a:gd name="T104" fmla="*/ 1045 w 1066"/>
                <a:gd name="T105" fmla="*/ 442 h 472"/>
                <a:gd name="T106" fmla="*/ 1059 w 1066"/>
                <a:gd name="T107" fmla="*/ 434 h 472"/>
                <a:gd name="T108" fmla="*/ 1063 w 1066"/>
                <a:gd name="T109" fmla="*/ 428 h 472"/>
                <a:gd name="T110" fmla="*/ 1066 w 1066"/>
                <a:gd name="T111" fmla="*/ 413 h 472"/>
                <a:gd name="T112" fmla="*/ 1064 w 1066"/>
                <a:gd name="T113" fmla="*/ 40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6" h="472">
                  <a:moveTo>
                    <a:pt x="1064" y="405"/>
                  </a:moveTo>
                  <a:lnTo>
                    <a:pt x="921" y="91"/>
                  </a:lnTo>
                  <a:lnTo>
                    <a:pt x="921" y="91"/>
                  </a:lnTo>
                  <a:lnTo>
                    <a:pt x="919" y="88"/>
                  </a:lnTo>
                  <a:lnTo>
                    <a:pt x="916" y="84"/>
                  </a:lnTo>
                  <a:lnTo>
                    <a:pt x="912" y="81"/>
                  </a:lnTo>
                  <a:lnTo>
                    <a:pt x="909" y="79"/>
                  </a:lnTo>
                  <a:lnTo>
                    <a:pt x="732" y="0"/>
                  </a:lnTo>
                  <a:lnTo>
                    <a:pt x="732" y="0"/>
                  </a:lnTo>
                  <a:lnTo>
                    <a:pt x="710" y="48"/>
                  </a:lnTo>
                  <a:lnTo>
                    <a:pt x="877" y="123"/>
                  </a:lnTo>
                  <a:lnTo>
                    <a:pt x="988" y="364"/>
                  </a:lnTo>
                  <a:lnTo>
                    <a:pt x="805" y="284"/>
                  </a:lnTo>
                  <a:lnTo>
                    <a:pt x="744" y="123"/>
                  </a:lnTo>
                  <a:lnTo>
                    <a:pt x="744" y="123"/>
                  </a:lnTo>
                  <a:lnTo>
                    <a:pt x="741" y="118"/>
                  </a:lnTo>
                  <a:lnTo>
                    <a:pt x="737" y="114"/>
                  </a:lnTo>
                  <a:lnTo>
                    <a:pt x="733" y="110"/>
                  </a:lnTo>
                  <a:lnTo>
                    <a:pt x="730" y="108"/>
                  </a:lnTo>
                  <a:lnTo>
                    <a:pt x="725" y="106"/>
                  </a:lnTo>
                  <a:lnTo>
                    <a:pt x="720" y="105"/>
                  </a:lnTo>
                  <a:lnTo>
                    <a:pt x="715" y="106"/>
                  </a:lnTo>
                  <a:lnTo>
                    <a:pt x="710" y="108"/>
                  </a:lnTo>
                  <a:lnTo>
                    <a:pt x="710" y="108"/>
                  </a:lnTo>
                  <a:lnTo>
                    <a:pt x="705" y="110"/>
                  </a:lnTo>
                  <a:lnTo>
                    <a:pt x="701" y="113"/>
                  </a:lnTo>
                  <a:lnTo>
                    <a:pt x="697" y="116"/>
                  </a:lnTo>
                  <a:lnTo>
                    <a:pt x="695" y="121"/>
                  </a:lnTo>
                  <a:lnTo>
                    <a:pt x="693" y="126"/>
                  </a:lnTo>
                  <a:lnTo>
                    <a:pt x="692" y="131"/>
                  </a:lnTo>
                  <a:lnTo>
                    <a:pt x="693" y="136"/>
                  </a:lnTo>
                  <a:lnTo>
                    <a:pt x="695" y="141"/>
                  </a:lnTo>
                  <a:lnTo>
                    <a:pt x="752" y="292"/>
                  </a:lnTo>
                  <a:lnTo>
                    <a:pt x="560" y="400"/>
                  </a:lnTo>
                  <a:lnTo>
                    <a:pt x="560" y="285"/>
                  </a:lnTo>
                  <a:lnTo>
                    <a:pt x="547" y="294"/>
                  </a:lnTo>
                  <a:lnTo>
                    <a:pt x="547" y="294"/>
                  </a:lnTo>
                  <a:lnTo>
                    <a:pt x="541" y="297"/>
                  </a:lnTo>
                  <a:lnTo>
                    <a:pt x="533" y="298"/>
                  </a:lnTo>
                  <a:lnTo>
                    <a:pt x="533" y="298"/>
                  </a:lnTo>
                  <a:lnTo>
                    <a:pt x="524" y="297"/>
                  </a:lnTo>
                  <a:lnTo>
                    <a:pt x="518" y="294"/>
                  </a:lnTo>
                  <a:lnTo>
                    <a:pt x="507" y="285"/>
                  </a:lnTo>
                  <a:lnTo>
                    <a:pt x="507" y="400"/>
                  </a:lnTo>
                  <a:lnTo>
                    <a:pt x="314" y="292"/>
                  </a:lnTo>
                  <a:lnTo>
                    <a:pt x="372" y="141"/>
                  </a:lnTo>
                  <a:lnTo>
                    <a:pt x="372" y="141"/>
                  </a:lnTo>
                  <a:lnTo>
                    <a:pt x="373" y="136"/>
                  </a:lnTo>
                  <a:lnTo>
                    <a:pt x="373" y="131"/>
                  </a:lnTo>
                  <a:lnTo>
                    <a:pt x="373" y="126"/>
                  </a:lnTo>
                  <a:lnTo>
                    <a:pt x="371" y="121"/>
                  </a:lnTo>
                  <a:lnTo>
                    <a:pt x="368" y="116"/>
                  </a:lnTo>
                  <a:lnTo>
                    <a:pt x="366" y="113"/>
                  </a:lnTo>
                  <a:lnTo>
                    <a:pt x="361" y="110"/>
                  </a:lnTo>
                  <a:lnTo>
                    <a:pt x="357" y="108"/>
                  </a:lnTo>
                  <a:lnTo>
                    <a:pt x="357" y="108"/>
                  </a:lnTo>
                  <a:lnTo>
                    <a:pt x="351" y="106"/>
                  </a:lnTo>
                  <a:lnTo>
                    <a:pt x="346" y="105"/>
                  </a:lnTo>
                  <a:lnTo>
                    <a:pt x="341" y="106"/>
                  </a:lnTo>
                  <a:lnTo>
                    <a:pt x="337" y="108"/>
                  </a:lnTo>
                  <a:lnTo>
                    <a:pt x="332" y="110"/>
                  </a:lnTo>
                  <a:lnTo>
                    <a:pt x="328" y="114"/>
                  </a:lnTo>
                  <a:lnTo>
                    <a:pt x="324" y="118"/>
                  </a:lnTo>
                  <a:lnTo>
                    <a:pt x="322" y="123"/>
                  </a:lnTo>
                  <a:lnTo>
                    <a:pt x="260" y="284"/>
                  </a:lnTo>
                  <a:lnTo>
                    <a:pt x="79" y="364"/>
                  </a:lnTo>
                  <a:lnTo>
                    <a:pt x="188" y="123"/>
                  </a:lnTo>
                  <a:lnTo>
                    <a:pt x="357" y="48"/>
                  </a:lnTo>
                  <a:lnTo>
                    <a:pt x="357" y="48"/>
                  </a:lnTo>
                  <a:lnTo>
                    <a:pt x="333" y="0"/>
                  </a:lnTo>
                  <a:lnTo>
                    <a:pt x="158" y="79"/>
                  </a:lnTo>
                  <a:lnTo>
                    <a:pt x="158" y="79"/>
                  </a:lnTo>
                  <a:lnTo>
                    <a:pt x="154" y="81"/>
                  </a:lnTo>
                  <a:lnTo>
                    <a:pt x="150" y="84"/>
                  </a:lnTo>
                  <a:lnTo>
                    <a:pt x="147" y="88"/>
                  </a:lnTo>
                  <a:lnTo>
                    <a:pt x="144" y="91"/>
                  </a:lnTo>
                  <a:lnTo>
                    <a:pt x="3" y="405"/>
                  </a:lnTo>
                  <a:lnTo>
                    <a:pt x="3" y="405"/>
                  </a:lnTo>
                  <a:lnTo>
                    <a:pt x="0" y="413"/>
                  </a:lnTo>
                  <a:lnTo>
                    <a:pt x="0" y="420"/>
                  </a:lnTo>
                  <a:lnTo>
                    <a:pt x="3" y="428"/>
                  </a:lnTo>
                  <a:lnTo>
                    <a:pt x="8" y="434"/>
                  </a:lnTo>
                  <a:lnTo>
                    <a:pt x="8" y="434"/>
                  </a:lnTo>
                  <a:lnTo>
                    <a:pt x="14" y="439"/>
                  </a:lnTo>
                  <a:lnTo>
                    <a:pt x="21" y="442"/>
                  </a:lnTo>
                  <a:lnTo>
                    <a:pt x="29" y="443"/>
                  </a:lnTo>
                  <a:lnTo>
                    <a:pt x="36" y="440"/>
                  </a:lnTo>
                  <a:lnTo>
                    <a:pt x="279" y="333"/>
                  </a:lnTo>
                  <a:lnTo>
                    <a:pt x="519" y="468"/>
                  </a:lnTo>
                  <a:lnTo>
                    <a:pt x="519" y="468"/>
                  </a:lnTo>
                  <a:lnTo>
                    <a:pt x="524" y="471"/>
                  </a:lnTo>
                  <a:lnTo>
                    <a:pt x="524" y="471"/>
                  </a:lnTo>
                  <a:lnTo>
                    <a:pt x="526" y="471"/>
                  </a:lnTo>
                  <a:lnTo>
                    <a:pt x="526" y="471"/>
                  </a:lnTo>
                  <a:lnTo>
                    <a:pt x="533" y="472"/>
                  </a:lnTo>
                  <a:lnTo>
                    <a:pt x="533" y="472"/>
                  </a:lnTo>
                  <a:lnTo>
                    <a:pt x="540" y="471"/>
                  </a:lnTo>
                  <a:lnTo>
                    <a:pt x="540" y="471"/>
                  </a:lnTo>
                  <a:lnTo>
                    <a:pt x="542" y="471"/>
                  </a:lnTo>
                  <a:lnTo>
                    <a:pt x="542" y="471"/>
                  </a:lnTo>
                  <a:lnTo>
                    <a:pt x="546" y="468"/>
                  </a:lnTo>
                  <a:lnTo>
                    <a:pt x="786" y="333"/>
                  </a:lnTo>
                  <a:lnTo>
                    <a:pt x="1029" y="440"/>
                  </a:lnTo>
                  <a:lnTo>
                    <a:pt x="1029" y="440"/>
                  </a:lnTo>
                  <a:lnTo>
                    <a:pt x="1036" y="443"/>
                  </a:lnTo>
                  <a:lnTo>
                    <a:pt x="1045" y="442"/>
                  </a:lnTo>
                  <a:lnTo>
                    <a:pt x="1051" y="439"/>
                  </a:lnTo>
                  <a:lnTo>
                    <a:pt x="1059" y="434"/>
                  </a:lnTo>
                  <a:lnTo>
                    <a:pt x="1059" y="434"/>
                  </a:lnTo>
                  <a:lnTo>
                    <a:pt x="1063" y="428"/>
                  </a:lnTo>
                  <a:lnTo>
                    <a:pt x="1065" y="420"/>
                  </a:lnTo>
                  <a:lnTo>
                    <a:pt x="1066" y="413"/>
                  </a:lnTo>
                  <a:lnTo>
                    <a:pt x="1064" y="405"/>
                  </a:lnTo>
                  <a:lnTo>
                    <a:pt x="1064"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1"/>
            <p:cNvSpPr>
              <a:spLocks noEditPoints="1"/>
            </p:cNvSpPr>
            <p:nvPr/>
          </p:nvSpPr>
          <p:spPr bwMode="auto">
            <a:xfrm>
              <a:off x="822199" y="1491009"/>
              <a:ext cx="180406" cy="279547"/>
            </a:xfrm>
            <a:custGeom>
              <a:avLst/>
              <a:gdLst>
                <a:gd name="T0" fmla="*/ 230 w 445"/>
                <a:gd name="T1" fmla="*/ 686 h 686"/>
                <a:gd name="T2" fmla="*/ 246 w 445"/>
                <a:gd name="T3" fmla="*/ 673 h 686"/>
                <a:gd name="T4" fmla="*/ 317 w 445"/>
                <a:gd name="T5" fmla="*/ 546 h 686"/>
                <a:gd name="T6" fmla="*/ 387 w 445"/>
                <a:gd name="T7" fmla="*/ 405 h 686"/>
                <a:gd name="T8" fmla="*/ 429 w 445"/>
                <a:gd name="T9" fmla="*/ 303 h 686"/>
                <a:gd name="T10" fmla="*/ 445 w 445"/>
                <a:gd name="T11" fmla="*/ 234 h 686"/>
                <a:gd name="T12" fmla="*/ 444 w 445"/>
                <a:gd name="T13" fmla="*/ 200 h 686"/>
                <a:gd name="T14" fmla="*/ 427 w 445"/>
                <a:gd name="T15" fmla="*/ 136 h 686"/>
                <a:gd name="T16" fmla="*/ 393 w 445"/>
                <a:gd name="T17" fmla="*/ 81 h 686"/>
                <a:gd name="T18" fmla="*/ 347 w 445"/>
                <a:gd name="T19" fmla="*/ 39 h 686"/>
                <a:gd name="T20" fmla="*/ 288 w 445"/>
                <a:gd name="T21" fmla="*/ 10 h 686"/>
                <a:gd name="T22" fmla="*/ 223 w 445"/>
                <a:gd name="T23" fmla="*/ 0 h 686"/>
                <a:gd name="T24" fmla="*/ 178 w 445"/>
                <a:gd name="T25" fmla="*/ 5 h 686"/>
                <a:gd name="T26" fmla="*/ 117 w 445"/>
                <a:gd name="T27" fmla="*/ 27 h 686"/>
                <a:gd name="T28" fmla="*/ 66 w 445"/>
                <a:gd name="T29" fmla="*/ 65 h 686"/>
                <a:gd name="T30" fmla="*/ 28 w 445"/>
                <a:gd name="T31" fmla="*/ 116 h 686"/>
                <a:gd name="T32" fmla="*/ 5 w 445"/>
                <a:gd name="T33" fmla="*/ 178 h 686"/>
                <a:gd name="T34" fmla="*/ 0 w 445"/>
                <a:gd name="T35" fmla="*/ 223 h 686"/>
                <a:gd name="T36" fmla="*/ 8 w 445"/>
                <a:gd name="T37" fmla="*/ 273 h 686"/>
                <a:gd name="T38" fmla="*/ 43 w 445"/>
                <a:gd name="T39" fmla="*/ 370 h 686"/>
                <a:gd name="T40" fmla="*/ 93 w 445"/>
                <a:gd name="T41" fmla="*/ 477 h 686"/>
                <a:gd name="T42" fmla="*/ 199 w 445"/>
                <a:gd name="T43" fmla="*/ 673 h 686"/>
                <a:gd name="T44" fmla="*/ 209 w 445"/>
                <a:gd name="T45" fmla="*/ 683 h 686"/>
                <a:gd name="T46" fmla="*/ 223 w 445"/>
                <a:gd name="T47" fmla="*/ 686 h 686"/>
                <a:gd name="T48" fmla="*/ 240 w 445"/>
                <a:gd name="T49" fmla="*/ 54 h 686"/>
                <a:gd name="T50" fmla="*/ 288 w 445"/>
                <a:gd name="T51" fmla="*/ 66 h 686"/>
                <a:gd name="T52" fmla="*/ 331 w 445"/>
                <a:gd name="T53" fmla="*/ 91 h 686"/>
                <a:gd name="T54" fmla="*/ 363 w 445"/>
                <a:gd name="T55" fmla="*/ 128 h 686"/>
                <a:gd name="T56" fmla="*/ 385 w 445"/>
                <a:gd name="T57" fmla="*/ 173 h 686"/>
                <a:gd name="T58" fmla="*/ 392 w 445"/>
                <a:gd name="T59" fmla="*/ 223 h 686"/>
                <a:gd name="T60" fmla="*/ 387 w 445"/>
                <a:gd name="T61" fmla="*/ 255 h 686"/>
                <a:gd name="T62" fmla="*/ 366 w 445"/>
                <a:gd name="T63" fmla="*/ 322 h 686"/>
                <a:gd name="T64" fmla="*/ 303 w 445"/>
                <a:gd name="T65" fmla="*/ 457 h 686"/>
                <a:gd name="T66" fmla="*/ 223 w 445"/>
                <a:gd name="T67" fmla="*/ 608 h 686"/>
                <a:gd name="T68" fmla="*/ 169 w 445"/>
                <a:gd name="T69" fmla="*/ 512 h 686"/>
                <a:gd name="T70" fmla="*/ 91 w 445"/>
                <a:gd name="T71" fmla="*/ 348 h 686"/>
                <a:gd name="T72" fmla="*/ 63 w 445"/>
                <a:gd name="T73" fmla="*/ 275 h 686"/>
                <a:gd name="T74" fmla="*/ 53 w 445"/>
                <a:gd name="T75" fmla="*/ 223 h 686"/>
                <a:gd name="T76" fmla="*/ 57 w 445"/>
                <a:gd name="T77" fmla="*/ 189 h 686"/>
                <a:gd name="T78" fmla="*/ 74 w 445"/>
                <a:gd name="T79" fmla="*/ 141 h 686"/>
                <a:gd name="T80" fmla="*/ 103 w 445"/>
                <a:gd name="T81" fmla="*/ 103 h 686"/>
                <a:gd name="T82" fmla="*/ 142 w 445"/>
                <a:gd name="T83" fmla="*/ 74 h 686"/>
                <a:gd name="T84" fmla="*/ 188 w 445"/>
                <a:gd name="T85" fmla="*/ 56 h 686"/>
                <a:gd name="T86" fmla="*/ 223 w 445"/>
                <a:gd name="T87" fmla="*/ 5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686">
                  <a:moveTo>
                    <a:pt x="223" y="686"/>
                  </a:moveTo>
                  <a:lnTo>
                    <a:pt x="223" y="686"/>
                  </a:lnTo>
                  <a:lnTo>
                    <a:pt x="230" y="686"/>
                  </a:lnTo>
                  <a:lnTo>
                    <a:pt x="236" y="683"/>
                  </a:lnTo>
                  <a:lnTo>
                    <a:pt x="241" y="679"/>
                  </a:lnTo>
                  <a:lnTo>
                    <a:pt x="246" y="673"/>
                  </a:lnTo>
                  <a:lnTo>
                    <a:pt x="246" y="673"/>
                  </a:lnTo>
                  <a:lnTo>
                    <a:pt x="285" y="604"/>
                  </a:lnTo>
                  <a:lnTo>
                    <a:pt x="317" y="546"/>
                  </a:lnTo>
                  <a:lnTo>
                    <a:pt x="352" y="477"/>
                  </a:lnTo>
                  <a:lnTo>
                    <a:pt x="370" y="442"/>
                  </a:lnTo>
                  <a:lnTo>
                    <a:pt x="387" y="405"/>
                  </a:lnTo>
                  <a:lnTo>
                    <a:pt x="402" y="370"/>
                  </a:lnTo>
                  <a:lnTo>
                    <a:pt x="416" y="335"/>
                  </a:lnTo>
                  <a:lnTo>
                    <a:pt x="429" y="303"/>
                  </a:lnTo>
                  <a:lnTo>
                    <a:pt x="437" y="273"/>
                  </a:lnTo>
                  <a:lnTo>
                    <a:pt x="442" y="245"/>
                  </a:lnTo>
                  <a:lnTo>
                    <a:pt x="445" y="234"/>
                  </a:lnTo>
                  <a:lnTo>
                    <a:pt x="445" y="223"/>
                  </a:lnTo>
                  <a:lnTo>
                    <a:pt x="445" y="223"/>
                  </a:lnTo>
                  <a:lnTo>
                    <a:pt x="444" y="200"/>
                  </a:lnTo>
                  <a:lnTo>
                    <a:pt x="440" y="178"/>
                  </a:lnTo>
                  <a:lnTo>
                    <a:pt x="435" y="156"/>
                  </a:lnTo>
                  <a:lnTo>
                    <a:pt x="427" y="136"/>
                  </a:lnTo>
                  <a:lnTo>
                    <a:pt x="418" y="116"/>
                  </a:lnTo>
                  <a:lnTo>
                    <a:pt x="407" y="99"/>
                  </a:lnTo>
                  <a:lnTo>
                    <a:pt x="393" y="81"/>
                  </a:lnTo>
                  <a:lnTo>
                    <a:pt x="380" y="65"/>
                  </a:lnTo>
                  <a:lnTo>
                    <a:pt x="363" y="51"/>
                  </a:lnTo>
                  <a:lnTo>
                    <a:pt x="347" y="39"/>
                  </a:lnTo>
                  <a:lnTo>
                    <a:pt x="328" y="27"/>
                  </a:lnTo>
                  <a:lnTo>
                    <a:pt x="310" y="17"/>
                  </a:lnTo>
                  <a:lnTo>
                    <a:pt x="288" y="10"/>
                  </a:lnTo>
                  <a:lnTo>
                    <a:pt x="267" y="5"/>
                  </a:lnTo>
                  <a:lnTo>
                    <a:pt x="246" y="1"/>
                  </a:lnTo>
                  <a:lnTo>
                    <a:pt x="223" y="0"/>
                  </a:lnTo>
                  <a:lnTo>
                    <a:pt x="223" y="0"/>
                  </a:lnTo>
                  <a:lnTo>
                    <a:pt x="199" y="1"/>
                  </a:lnTo>
                  <a:lnTo>
                    <a:pt x="178" y="5"/>
                  </a:lnTo>
                  <a:lnTo>
                    <a:pt x="157" y="10"/>
                  </a:lnTo>
                  <a:lnTo>
                    <a:pt x="137" y="17"/>
                  </a:lnTo>
                  <a:lnTo>
                    <a:pt x="117" y="27"/>
                  </a:lnTo>
                  <a:lnTo>
                    <a:pt x="98" y="39"/>
                  </a:lnTo>
                  <a:lnTo>
                    <a:pt x="82" y="51"/>
                  </a:lnTo>
                  <a:lnTo>
                    <a:pt x="66" y="65"/>
                  </a:lnTo>
                  <a:lnTo>
                    <a:pt x="52" y="81"/>
                  </a:lnTo>
                  <a:lnTo>
                    <a:pt x="39" y="99"/>
                  </a:lnTo>
                  <a:lnTo>
                    <a:pt x="28" y="116"/>
                  </a:lnTo>
                  <a:lnTo>
                    <a:pt x="18" y="136"/>
                  </a:lnTo>
                  <a:lnTo>
                    <a:pt x="10" y="156"/>
                  </a:lnTo>
                  <a:lnTo>
                    <a:pt x="5" y="178"/>
                  </a:lnTo>
                  <a:lnTo>
                    <a:pt x="2" y="200"/>
                  </a:lnTo>
                  <a:lnTo>
                    <a:pt x="0" y="223"/>
                  </a:lnTo>
                  <a:lnTo>
                    <a:pt x="0" y="223"/>
                  </a:lnTo>
                  <a:lnTo>
                    <a:pt x="2" y="234"/>
                  </a:lnTo>
                  <a:lnTo>
                    <a:pt x="3" y="245"/>
                  </a:lnTo>
                  <a:lnTo>
                    <a:pt x="8" y="273"/>
                  </a:lnTo>
                  <a:lnTo>
                    <a:pt x="17" y="303"/>
                  </a:lnTo>
                  <a:lnTo>
                    <a:pt x="29" y="335"/>
                  </a:lnTo>
                  <a:lnTo>
                    <a:pt x="43" y="370"/>
                  </a:lnTo>
                  <a:lnTo>
                    <a:pt x="58" y="405"/>
                  </a:lnTo>
                  <a:lnTo>
                    <a:pt x="76" y="442"/>
                  </a:lnTo>
                  <a:lnTo>
                    <a:pt x="93" y="477"/>
                  </a:lnTo>
                  <a:lnTo>
                    <a:pt x="128" y="546"/>
                  </a:lnTo>
                  <a:lnTo>
                    <a:pt x="161" y="604"/>
                  </a:lnTo>
                  <a:lnTo>
                    <a:pt x="199" y="673"/>
                  </a:lnTo>
                  <a:lnTo>
                    <a:pt x="199" y="673"/>
                  </a:lnTo>
                  <a:lnTo>
                    <a:pt x="204" y="679"/>
                  </a:lnTo>
                  <a:lnTo>
                    <a:pt x="209" y="683"/>
                  </a:lnTo>
                  <a:lnTo>
                    <a:pt x="216" y="686"/>
                  </a:lnTo>
                  <a:lnTo>
                    <a:pt x="223" y="686"/>
                  </a:lnTo>
                  <a:lnTo>
                    <a:pt x="223" y="686"/>
                  </a:lnTo>
                  <a:close/>
                  <a:moveTo>
                    <a:pt x="223" y="53"/>
                  </a:moveTo>
                  <a:lnTo>
                    <a:pt x="223" y="53"/>
                  </a:lnTo>
                  <a:lnTo>
                    <a:pt x="240" y="54"/>
                  </a:lnTo>
                  <a:lnTo>
                    <a:pt x="257" y="56"/>
                  </a:lnTo>
                  <a:lnTo>
                    <a:pt x="273" y="61"/>
                  </a:lnTo>
                  <a:lnTo>
                    <a:pt x="288" y="66"/>
                  </a:lnTo>
                  <a:lnTo>
                    <a:pt x="303" y="74"/>
                  </a:lnTo>
                  <a:lnTo>
                    <a:pt x="317" y="83"/>
                  </a:lnTo>
                  <a:lnTo>
                    <a:pt x="331" y="91"/>
                  </a:lnTo>
                  <a:lnTo>
                    <a:pt x="342" y="103"/>
                  </a:lnTo>
                  <a:lnTo>
                    <a:pt x="353" y="115"/>
                  </a:lnTo>
                  <a:lnTo>
                    <a:pt x="363" y="128"/>
                  </a:lnTo>
                  <a:lnTo>
                    <a:pt x="372" y="141"/>
                  </a:lnTo>
                  <a:lnTo>
                    <a:pt x="378" y="156"/>
                  </a:lnTo>
                  <a:lnTo>
                    <a:pt x="385" y="173"/>
                  </a:lnTo>
                  <a:lnTo>
                    <a:pt x="388" y="189"/>
                  </a:lnTo>
                  <a:lnTo>
                    <a:pt x="391" y="205"/>
                  </a:lnTo>
                  <a:lnTo>
                    <a:pt x="392" y="223"/>
                  </a:lnTo>
                  <a:lnTo>
                    <a:pt x="392" y="223"/>
                  </a:lnTo>
                  <a:lnTo>
                    <a:pt x="391" y="238"/>
                  </a:lnTo>
                  <a:lnTo>
                    <a:pt x="387" y="255"/>
                  </a:lnTo>
                  <a:lnTo>
                    <a:pt x="382" y="275"/>
                  </a:lnTo>
                  <a:lnTo>
                    <a:pt x="375" y="298"/>
                  </a:lnTo>
                  <a:lnTo>
                    <a:pt x="366" y="322"/>
                  </a:lnTo>
                  <a:lnTo>
                    <a:pt x="355" y="348"/>
                  </a:lnTo>
                  <a:lnTo>
                    <a:pt x="331" y="402"/>
                  </a:lnTo>
                  <a:lnTo>
                    <a:pt x="303" y="457"/>
                  </a:lnTo>
                  <a:lnTo>
                    <a:pt x="276" y="512"/>
                  </a:lnTo>
                  <a:lnTo>
                    <a:pt x="248" y="563"/>
                  </a:lnTo>
                  <a:lnTo>
                    <a:pt x="223" y="608"/>
                  </a:lnTo>
                  <a:lnTo>
                    <a:pt x="223" y="608"/>
                  </a:lnTo>
                  <a:lnTo>
                    <a:pt x="197" y="563"/>
                  </a:lnTo>
                  <a:lnTo>
                    <a:pt x="169" y="512"/>
                  </a:lnTo>
                  <a:lnTo>
                    <a:pt x="142" y="457"/>
                  </a:lnTo>
                  <a:lnTo>
                    <a:pt x="114" y="402"/>
                  </a:lnTo>
                  <a:lnTo>
                    <a:pt x="91" y="348"/>
                  </a:lnTo>
                  <a:lnTo>
                    <a:pt x="81" y="322"/>
                  </a:lnTo>
                  <a:lnTo>
                    <a:pt x="71" y="298"/>
                  </a:lnTo>
                  <a:lnTo>
                    <a:pt x="63" y="275"/>
                  </a:lnTo>
                  <a:lnTo>
                    <a:pt x="58" y="255"/>
                  </a:lnTo>
                  <a:lnTo>
                    <a:pt x="54" y="238"/>
                  </a:lnTo>
                  <a:lnTo>
                    <a:pt x="53" y="223"/>
                  </a:lnTo>
                  <a:lnTo>
                    <a:pt x="53" y="223"/>
                  </a:lnTo>
                  <a:lnTo>
                    <a:pt x="54" y="205"/>
                  </a:lnTo>
                  <a:lnTo>
                    <a:pt x="57" y="189"/>
                  </a:lnTo>
                  <a:lnTo>
                    <a:pt x="61" y="173"/>
                  </a:lnTo>
                  <a:lnTo>
                    <a:pt x="67" y="156"/>
                  </a:lnTo>
                  <a:lnTo>
                    <a:pt x="74" y="141"/>
                  </a:lnTo>
                  <a:lnTo>
                    <a:pt x="82" y="128"/>
                  </a:lnTo>
                  <a:lnTo>
                    <a:pt x="92" y="115"/>
                  </a:lnTo>
                  <a:lnTo>
                    <a:pt x="103" y="103"/>
                  </a:lnTo>
                  <a:lnTo>
                    <a:pt x="114" y="91"/>
                  </a:lnTo>
                  <a:lnTo>
                    <a:pt x="128" y="83"/>
                  </a:lnTo>
                  <a:lnTo>
                    <a:pt x="142" y="74"/>
                  </a:lnTo>
                  <a:lnTo>
                    <a:pt x="157" y="66"/>
                  </a:lnTo>
                  <a:lnTo>
                    <a:pt x="172" y="61"/>
                  </a:lnTo>
                  <a:lnTo>
                    <a:pt x="188" y="56"/>
                  </a:lnTo>
                  <a:lnTo>
                    <a:pt x="206" y="54"/>
                  </a:lnTo>
                  <a:lnTo>
                    <a:pt x="223" y="53"/>
                  </a:lnTo>
                  <a:lnTo>
                    <a:pt x="2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2"/>
            <p:cNvSpPr>
              <a:spLocks noEditPoints="1"/>
            </p:cNvSpPr>
            <p:nvPr/>
          </p:nvSpPr>
          <p:spPr bwMode="auto">
            <a:xfrm>
              <a:off x="861206" y="1530016"/>
              <a:ext cx="102393" cy="104017"/>
            </a:xfrm>
            <a:custGeom>
              <a:avLst/>
              <a:gdLst>
                <a:gd name="T0" fmla="*/ 254 w 254"/>
                <a:gd name="T1" fmla="*/ 128 h 255"/>
                <a:gd name="T2" fmla="*/ 251 w 254"/>
                <a:gd name="T3" fmla="*/ 101 h 255"/>
                <a:gd name="T4" fmla="*/ 244 w 254"/>
                <a:gd name="T5" fmla="*/ 78 h 255"/>
                <a:gd name="T6" fmla="*/ 232 w 254"/>
                <a:gd name="T7" fmla="*/ 56 h 255"/>
                <a:gd name="T8" fmla="*/ 217 w 254"/>
                <a:gd name="T9" fmla="*/ 38 h 255"/>
                <a:gd name="T10" fmla="*/ 197 w 254"/>
                <a:gd name="T11" fmla="*/ 21 h 255"/>
                <a:gd name="T12" fmla="*/ 176 w 254"/>
                <a:gd name="T13" fmla="*/ 10 h 255"/>
                <a:gd name="T14" fmla="*/ 152 w 254"/>
                <a:gd name="T15" fmla="*/ 3 h 255"/>
                <a:gd name="T16" fmla="*/ 127 w 254"/>
                <a:gd name="T17" fmla="*/ 0 h 255"/>
                <a:gd name="T18" fmla="*/ 113 w 254"/>
                <a:gd name="T19" fmla="*/ 0 h 255"/>
                <a:gd name="T20" fmla="*/ 88 w 254"/>
                <a:gd name="T21" fmla="*/ 5 h 255"/>
                <a:gd name="T22" fmla="*/ 66 w 254"/>
                <a:gd name="T23" fmla="*/ 15 h 255"/>
                <a:gd name="T24" fmla="*/ 46 w 254"/>
                <a:gd name="T25" fmla="*/ 29 h 255"/>
                <a:gd name="T26" fmla="*/ 28 w 254"/>
                <a:gd name="T27" fmla="*/ 46 h 255"/>
                <a:gd name="T28" fmla="*/ 15 w 254"/>
                <a:gd name="T29" fmla="*/ 66 h 255"/>
                <a:gd name="T30" fmla="*/ 5 w 254"/>
                <a:gd name="T31" fmla="*/ 90 h 255"/>
                <a:gd name="T32" fmla="*/ 0 w 254"/>
                <a:gd name="T33" fmla="*/ 114 h 255"/>
                <a:gd name="T34" fmla="*/ 0 w 254"/>
                <a:gd name="T35" fmla="*/ 128 h 255"/>
                <a:gd name="T36" fmla="*/ 2 w 254"/>
                <a:gd name="T37" fmla="*/ 153 h 255"/>
                <a:gd name="T38" fmla="*/ 10 w 254"/>
                <a:gd name="T39" fmla="*/ 177 h 255"/>
                <a:gd name="T40" fmla="*/ 21 w 254"/>
                <a:gd name="T41" fmla="*/ 199 h 255"/>
                <a:gd name="T42" fmla="*/ 37 w 254"/>
                <a:gd name="T43" fmla="*/ 218 h 255"/>
                <a:gd name="T44" fmla="*/ 56 w 254"/>
                <a:gd name="T45" fmla="*/ 233 h 255"/>
                <a:gd name="T46" fmla="*/ 77 w 254"/>
                <a:gd name="T47" fmla="*/ 245 h 255"/>
                <a:gd name="T48" fmla="*/ 101 w 254"/>
                <a:gd name="T49" fmla="*/ 253 h 255"/>
                <a:gd name="T50" fmla="*/ 127 w 254"/>
                <a:gd name="T51" fmla="*/ 255 h 255"/>
                <a:gd name="T52" fmla="*/ 140 w 254"/>
                <a:gd name="T53" fmla="*/ 254 h 255"/>
                <a:gd name="T54" fmla="*/ 165 w 254"/>
                <a:gd name="T55" fmla="*/ 249 h 255"/>
                <a:gd name="T56" fmla="*/ 187 w 254"/>
                <a:gd name="T57" fmla="*/ 239 h 255"/>
                <a:gd name="T58" fmla="*/ 207 w 254"/>
                <a:gd name="T59" fmla="*/ 225 h 255"/>
                <a:gd name="T60" fmla="*/ 225 w 254"/>
                <a:gd name="T61" fmla="*/ 209 h 255"/>
                <a:gd name="T62" fmla="*/ 239 w 254"/>
                <a:gd name="T63" fmla="*/ 188 h 255"/>
                <a:gd name="T64" fmla="*/ 249 w 254"/>
                <a:gd name="T65" fmla="*/ 165 h 255"/>
                <a:gd name="T66" fmla="*/ 254 w 254"/>
                <a:gd name="T67" fmla="*/ 140 h 255"/>
                <a:gd name="T68" fmla="*/ 254 w 254"/>
                <a:gd name="T69" fmla="*/ 128 h 255"/>
                <a:gd name="T70" fmla="*/ 52 w 254"/>
                <a:gd name="T71" fmla="*/ 128 h 255"/>
                <a:gd name="T72" fmla="*/ 53 w 254"/>
                <a:gd name="T73" fmla="*/ 113 h 255"/>
                <a:gd name="T74" fmla="*/ 65 w 254"/>
                <a:gd name="T75" fmla="*/ 85 h 255"/>
                <a:gd name="T76" fmla="*/ 85 w 254"/>
                <a:gd name="T77" fmla="*/ 65 h 255"/>
                <a:gd name="T78" fmla="*/ 111 w 254"/>
                <a:gd name="T79" fmla="*/ 54 h 255"/>
                <a:gd name="T80" fmla="*/ 127 w 254"/>
                <a:gd name="T81" fmla="*/ 53 h 255"/>
                <a:gd name="T82" fmla="*/ 135 w 254"/>
                <a:gd name="T83" fmla="*/ 53 h 255"/>
                <a:gd name="T84" fmla="*/ 156 w 254"/>
                <a:gd name="T85" fmla="*/ 59 h 255"/>
                <a:gd name="T86" fmla="*/ 180 w 254"/>
                <a:gd name="T87" fmla="*/ 74 h 255"/>
                <a:gd name="T88" fmla="*/ 196 w 254"/>
                <a:gd name="T89" fmla="*/ 99 h 255"/>
                <a:gd name="T90" fmla="*/ 201 w 254"/>
                <a:gd name="T91" fmla="*/ 120 h 255"/>
                <a:gd name="T92" fmla="*/ 201 w 254"/>
                <a:gd name="T93" fmla="*/ 128 h 255"/>
                <a:gd name="T94" fmla="*/ 200 w 254"/>
                <a:gd name="T95" fmla="*/ 143 h 255"/>
                <a:gd name="T96" fmla="*/ 189 w 254"/>
                <a:gd name="T97" fmla="*/ 169 h 255"/>
                <a:gd name="T98" fmla="*/ 169 w 254"/>
                <a:gd name="T99" fmla="*/ 189 h 255"/>
                <a:gd name="T100" fmla="*/ 142 w 254"/>
                <a:gd name="T101" fmla="*/ 200 h 255"/>
                <a:gd name="T102" fmla="*/ 127 w 254"/>
                <a:gd name="T103" fmla="*/ 203 h 255"/>
                <a:gd name="T104" fmla="*/ 118 w 254"/>
                <a:gd name="T105" fmla="*/ 202 h 255"/>
                <a:gd name="T106" fmla="*/ 97 w 254"/>
                <a:gd name="T107" fmla="*/ 197 h 255"/>
                <a:gd name="T108" fmla="*/ 73 w 254"/>
                <a:gd name="T109" fmla="*/ 180 h 255"/>
                <a:gd name="T110" fmla="*/ 57 w 254"/>
                <a:gd name="T111" fmla="*/ 156 h 255"/>
                <a:gd name="T112" fmla="*/ 52 w 254"/>
                <a:gd name="T113" fmla="*/ 135 h 255"/>
                <a:gd name="T114" fmla="*/ 52 w 254"/>
                <a:gd name="T115"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4" h="255">
                  <a:moveTo>
                    <a:pt x="254" y="128"/>
                  </a:moveTo>
                  <a:lnTo>
                    <a:pt x="254" y="128"/>
                  </a:lnTo>
                  <a:lnTo>
                    <a:pt x="254" y="114"/>
                  </a:lnTo>
                  <a:lnTo>
                    <a:pt x="251" y="101"/>
                  </a:lnTo>
                  <a:lnTo>
                    <a:pt x="249" y="90"/>
                  </a:lnTo>
                  <a:lnTo>
                    <a:pt x="244" y="78"/>
                  </a:lnTo>
                  <a:lnTo>
                    <a:pt x="239" y="66"/>
                  </a:lnTo>
                  <a:lnTo>
                    <a:pt x="232" y="56"/>
                  </a:lnTo>
                  <a:lnTo>
                    <a:pt x="225" y="46"/>
                  </a:lnTo>
                  <a:lnTo>
                    <a:pt x="217" y="38"/>
                  </a:lnTo>
                  <a:lnTo>
                    <a:pt x="207" y="29"/>
                  </a:lnTo>
                  <a:lnTo>
                    <a:pt x="197" y="21"/>
                  </a:lnTo>
                  <a:lnTo>
                    <a:pt x="187" y="15"/>
                  </a:lnTo>
                  <a:lnTo>
                    <a:pt x="176" y="10"/>
                  </a:lnTo>
                  <a:lnTo>
                    <a:pt x="165" y="5"/>
                  </a:lnTo>
                  <a:lnTo>
                    <a:pt x="152" y="3"/>
                  </a:lnTo>
                  <a:lnTo>
                    <a:pt x="140" y="0"/>
                  </a:lnTo>
                  <a:lnTo>
                    <a:pt x="127" y="0"/>
                  </a:lnTo>
                  <a:lnTo>
                    <a:pt x="127" y="0"/>
                  </a:lnTo>
                  <a:lnTo>
                    <a:pt x="113" y="0"/>
                  </a:lnTo>
                  <a:lnTo>
                    <a:pt x="101" y="3"/>
                  </a:lnTo>
                  <a:lnTo>
                    <a:pt x="88" y="5"/>
                  </a:lnTo>
                  <a:lnTo>
                    <a:pt x="77" y="10"/>
                  </a:lnTo>
                  <a:lnTo>
                    <a:pt x="66" y="15"/>
                  </a:lnTo>
                  <a:lnTo>
                    <a:pt x="56" y="21"/>
                  </a:lnTo>
                  <a:lnTo>
                    <a:pt x="46" y="29"/>
                  </a:lnTo>
                  <a:lnTo>
                    <a:pt x="37" y="38"/>
                  </a:lnTo>
                  <a:lnTo>
                    <a:pt x="28" y="46"/>
                  </a:lnTo>
                  <a:lnTo>
                    <a:pt x="21" y="56"/>
                  </a:lnTo>
                  <a:lnTo>
                    <a:pt x="15" y="66"/>
                  </a:lnTo>
                  <a:lnTo>
                    <a:pt x="10" y="78"/>
                  </a:lnTo>
                  <a:lnTo>
                    <a:pt x="5" y="90"/>
                  </a:lnTo>
                  <a:lnTo>
                    <a:pt x="2" y="101"/>
                  </a:lnTo>
                  <a:lnTo>
                    <a:pt x="0" y="114"/>
                  </a:lnTo>
                  <a:lnTo>
                    <a:pt x="0" y="128"/>
                  </a:lnTo>
                  <a:lnTo>
                    <a:pt x="0" y="128"/>
                  </a:lnTo>
                  <a:lnTo>
                    <a:pt x="0" y="140"/>
                  </a:lnTo>
                  <a:lnTo>
                    <a:pt x="2" y="153"/>
                  </a:lnTo>
                  <a:lnTo>
                    <a:pt x="5" y="165"/>
                  </a:lnTo>
                  <a:lnTo>
                    <a:pt x="10" y="177"/>
                  </a:lnTo>
                  <a:lnTo>
                    <a:pt x="15" y="188"/>
                  </a:lnTo>
                  <a:lnTo>
                    <a:pt x="21" y="199"/>
                  </a:lnTo>
                  <a:lnTo>
                    <a:pt x="28" y="209"/>
                  </a:lnTo>
                  <a:lnTo>
                    <a:pt x="37" y="218"/>
                  </a:lnTo>
                  <a:lnTo>
                    <a:pt x="46" y="225"/>
                  </a:lnTo>
                  <a:lnTo>
                    <a:pt x="56" y="233"/>
                  </a:lnTo>
                  <a:lnTo>
                    <a:pt x="66" y="239"/>
                  </a:lnTo>
                  <a:lnTo>
                    <a:pt x="77" y="245"/>
                  </a:lnTo>
                  <a:lnTo>
                    <a:pt x="88" y="249"/>
                  </a:lnTo>
                  <a:lnTo>
                    <a:pt x="101" y="253"/>
                  </a:lnTo>
                  <a:lnTo>
                    <a:pt x="113" y="254"/>
                  </a:lnTo>
                  <a:lnTo>
                    <a:pt x="127" y="255"/>
                  </a:lnTo>
                  <a:lnTo>
                    <a:pt x="127" y="255"/>
                  </a:lnTo>
                  <a:lnTo>
                    <a:pt x="140" y="254"/>
                  </a:lnTo>
                  <a:lnTo>
                    <a:pt x="152" y="253"/>
                  </a:lnTo>
                  <a:lnTo>
                    <a:pt x="165" y="249"/>
                  </a:lnTo>
                  <a:lnTo>
                    <a:pt x="176" y="245"/>
                  </a:lnTo>
                  <a:lnTo>
                    <a:pt x="187" y="239"/>
                  </a:lnTo>
                  <a:lnTo>
                    <a:pt x="197" y="233"/>
                  </a:lnTo>
                  <a:lnTo>
                    <a:pt x="207" y="225"/>
                  </a:lnTo>
                  <a:lnTo>
                    <a:pt x="217" y="218"/>
                  </a:lnTo>
                  <a:lnTo>
                    <a:pt x="225" y="209"/>
                  </a:lnTo>
                  <a:lnTo>
                    <a:pt x="232" y="199"/>
                  </a:lnTo>
                  <a:lnTo>
                    <a:pt x="239" y="188"/>
                  </a:lnTo>
                  <a:lnTo>
                    <a:pt x="244" y="177"/>
                  </a:lnTo>
                  <a:lnTo>
                    <a:pt x="249" y="165"/>
                  </a:lnTo>
                  <a:lnTo>
                    <a:pt x="251" y="153"/>
                  </a:lnTo>
                  <a:lnTo>
                    <a:pt x="254" y="140"/>
                  </a:lnTo>
                  <a:lnTo>
                    <a:pt x="254" y="128"/>
                  </a:lnTo>
                  <a:lnTo>
                    <a:pt x="254" y="128"/>
                  </a:lnTo>
                  <a:close/>
                  <a:moveTo>
                    <a:pt x="52" y="128"/>
                  </a:moveTo>
                  <a:lnTo>
                    <a:pt x="52" y="128"/>
                  </a:lnTo>
                  <a:lnTo>
                    <a:pt x="52" y="120"/>
                  </a:lnTo>
                  <a:lnTo>
                    <a:pt x="53" y="113"/>
                  </a:lnTo>
                  <a:lnTo>
                    <a:pt x="57" y="99"/>
                  </a:lnTo>
                  <a:lnTo>
                    <a:pt x="65" y="85"/>
                  </a:lnTo>
                  <a:lnTo>
                    <a:pt x="73" y="74"/>
                  </a:lnTo>
                  <a:lnTo>
                    <a:pt x="85" y="65"/>
                  </a:lnTo>
                  <a:lnTo>
                    <a:pt x="97" y="59"/>
                  </a:lnTo>
                  <a:lnTo>
                    <a:pt x="111" y="54"/>
                  </a:lnTo>
                  <a:lnTo>
                    <a:pt x="118" y="53"/>
                  </a:lnTo>
                  <a:lnTo>
                    <a:pt x="127" y="53"/>
                  </a:lnTo>
                  <a:lnTo>
                    <a:pt x="127" y="53"/>
                  </a:lnTo>
                  <a:lnTo>
                    <a:pt x="135" y="53"/>
                  </a:lnTo>
                  <a:lnTo>
                    <a:pt x="142" y="54"/>
                  </a:lnTo>
                  <a:lnTo>
                    <a:pt x="156" y="59"/>
                  </a:lnTo>
                  <a:lnTo>
                    <a:pt x="169" y="65"/>
                  </a:lnTo>
                  <a:lnTo>
                    <a:pt x="180" y="74"/>
                  </a:lnTo>
                  <a:lnTo>
                    <a:pt x="189" y="85"/>
                  </a:lnTo>
                  <a:lnTo>
                    <a:pt x="196" y="99"/>
                  </a:lnTo>
                  <a:lnTo>
                    <a:pt x="200" y="113"/>
                  </a:lnTo>
                  <a:lnTo>
                    <a:pt x="201" y="120"/>
                  </a:lnTo>
                  <a:lnTo>
                    <a:pt x="201" y="128"/>
                  </a:lnTo>
                  <a:lnTo>
                    <a:pt x="201" y="128"/>
                  </a:lnTo>
                  <a:lnTo>
                    <a:pt x="201" y="135"/>
                  </a:lnTo>
                  <a:lnTo>
                    <a:pt x="200" y="143"/>
                  </a:lnTo>
                  <a:lnTo>
                    <a:pt x="196" y="156"/>
                  </a:lnTo>
                  <a:lnTo>
                    <a:pt x="189" y="169"/>
                  </a:lnTo>
                  <a:lnTo>
                    <a:pt x="180" y="180"/>
                  </a:lnTo>
                  <a:lnTo>
                    <a:pt x="169" y="189"/>
                  </a:lnTo>
                  <a:lnTo>
                    <a:pt x="156" y="197"/>
                  </a:lnTo>
                  <a:lnTo>
                    <a:pt x="142" y="200"/>
                  </a:lnTo>
                  <a:lnTo>
                    <a:pt x="135" y="202"/>
                  </a:lnTo>
                  <a:lnTo>
                    <a:pt x="127" y="203"/>
                  </a:lnTo>
                  <a:lnTo>
                    <a:pt x="127" y="203"/>
                  </a:lnTo>
                  <a:lnTo>
                    <a:pt x="118" y="202"/>
                  </a:lnTo>
                  <a:lnTo>
                    <a:pt x="111" y="200"/>
                  </a:lnTo>
                  <a:lnTo>
                    <a:pt x="97" y="197"/>
                  </a:lnTo>
                  <a:lnTo>
                    <a:pt x="85" y="189"/>
                  </a:lnTo>
                  <a:lnTo>
                    <a:pt x="73" y="180"/>
                  </a:lnTo>
                  <a:lnTo>
                    <a:pt x="65" y="169"/>
                  </a:lnTo>
                  <a:lnTo>
                    <a:pt x="57" y="156"/>
                  </a:lnTo>
                  <a:lnTo>
                    <a:pt x="53" y="143"/>
                  </a:lnTo>
                  <a:lnTo>
                    <a:pt x="52" y="135"/>
                  </a:lnTo>
                  <a:lnTo>
                    <a:pt x="52" y="128"/>
                  </a:lnTo>
                  <a:lnTo>
                    <a:pt x="5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3844521" y="1645611"/>
            <a:ext cx="146308" cy="372769"/>
            <a:chOff x="4358371" y="1476136"/>
            <a:chExt cx="163867" cy="417508"/>
          </a:xfrm>
          <a:solidFill>
            <a:srgbClr val="C01D28"/>
          </a:solidFill>
        </p:grpSpPr>
        <p:sp>
          <p:nvSpPr>
            <p:cNvPr id="30" name="Freeform 62"/>
            <p:cNvSpPr>
              <a:spLocks noChangeArrowheads="1"/>
            </p:cNvSpPr>
            <p:nvPr/>
          </p:nvSpPr>
          <p:spPr bwMode="auto">
            <a:xfrm>
              <a:off x="4358371" y="1610080"/>
              <a:ext cx="163867" cy="283564"/>
            </a:xfrm>
            <a:custGeom>
              <a:avLst/>
              <a:gdLst>
                <a:gd name="T0" fmla="*/ 381 w 508"/>
                <a:gd name="T1" fmla="*/ 0 h 879"/>
                <a:gd name="T2" fmla="*/ 126 w 508"/>
                <a:gd name="T3" fmla="*/ 0 h 879"/>
                <a:gd name="T4" fmla="*/ 0 w 508"/>
                <a:gd name="T5" fmla="*/ 124 h 879"/>
                <a:gd name="T6" fmla="*/ 0 w 508"/>
                <a:gd name="T7" fmla="*/ 444 h 879"/>
                <a:gd name="T8" fmla="*/ 111 w 508"/>
                <a:gd name="T9" fmla="*/ 570 h 879"/>
                <a:gd name="T10" fmla="*/ 111 w 508"/>
                <a:gd name="T11" fmla="*/ 878 h 879"/>
                <a:gd name="T12" fmla="*/ 173 w 508"/>
                <a:gd name="T13" fmla="*/ 878 h 879"/>
                <a:gd name="T14" fmla="*/ 173 w 508"/>
                <a:gd name="T15" fmla="*/ 508 h 879"/>
                <a:gd name="T16" fmla="*/ 126 w 508"/>
                <a:gd name="T17" fmla="*/ 508 h 879"/>
                <a:gd name="T18" fmla="*/ 62 w 508"/>
                <a:gd name="T19" fmla="*/ 444 h 879"/>
                <a:gd name="T20" fmla="*/ 62 w 508"/>
                <a:gd name="T21" fmla="*/ 124 h 879"/>
                <a:gd name="T22" fmla="*/ 126 w 508"/>
                <a:gd name="T23" fmla="*/ 62 h 879"/>
                <a:gd name="T24" fmla="*/ 381 w 508"/>
                <a:gd name="T25" fmla="*/ 62 h 879"/>
                <a:gd name="T26" fmla="*/ 445 w 508"/>
                <a:gd name="T27" fmla="*/ 124 h 879"/>
                <a:gd name="T28" fmla="*/ 445 w 508"/>
                <a:gd name="T29" fmla="*/ 444 h 879"/>
                <a:gd name="T30" fmla="*/ 381 w 508"/>
                <a:gd name="T31" fmla="*/ 508 h 879"/>
                <a:gd name="T32" fmla="*/ 333 w 508"/>
                <a:gd name="T33" fmla="*/ 508 h 879"/>
                <a:gd name="T34" fmla="*/ 333 w 508"/>
                <a:gd name="T35" fmla="*/ 878 h 879"/>
                <a:gd name="T36" fmla="*/ 395 w 508"/>
                <a:gd name="T37" fmla="*/ 878 h 879"/>
                <a:gd name="T38" fmla="*/ 395 w 508"/>
                <a:gd name="T39" fmla="*/ 570 h 879"/>
                <a:gd name="T40" fmla="*/ 507 w 508"/>
                <a:gd name="T41" fmla="*/ 444 h 879"/>
                <a:gd name="T42" fmla="*/ 507 w 508"/>
                <a:gd name="T43" fmla="*/ 124 h 879"/>
                <a:gd name="T44" fmla="*/ 381 w 508"/>
                <a:gd name="T45"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8" h="879">
                  <a:moveTo>
                    <a:pt x="381" y="0"/>
                  </a:moveTo>
                  <a:lnTo>
                    <a:pt x="126" y="0"/>
                  </a:lnTo>
                  <a:cubicBezTo>
                    <a:pt x="55" y="0"/>
                    <a:pt x="0" y="55"/>
                    <a:pt x="0" y="124"/>
                  </a:cubicBezTo>
                  <a:lnTo>
                    <a:pt x="0" y="444"/>
                  </a:lnTo>
                  <a:cubicBezTo>
                    <a:pt x="0" y="510"/>
                    <a:pt x="49" y="563"/>
                    <a:pt x="111" y="570"/>
                  </a:cubicBezTo>
                  <a:lnTo>
                    <a:pt x="111" y="878"/>
                  </a:lnTo>
                  <a:lnTo>
                    <a:pt x="173" y="878"/>
                  </a:lnTo>
                  <a:lnTo>
                    <a:pt x="173" y="508"/>
                  </a:lnTo>
                  <a:lnTo>
                    <a:pt x="126" y="508"/>
                  </a:lnTo>
                  <a:cubicBezTo>
                    <a:pt x="90" y="508"/>
                    <a:pt x="62" y="480"/>
                    <a:pt x="62" y="444"/>
                  </a:cubicBezTo>
                  <a:lnTo>
                    <a:pt x="62" y="124"/>
                  </a:lnTo>
                  <a:cubicBezTo>
                    <a:pt x="62" y="89"/>
                    <a:pt x="90" y="62"/>
                    <a:pt x="126" y="62"/>
                  </a:cubicBezTo>
                  <a:lnTo>
                    <a:pt x="381" y="62"/>
                  </a:lnTo>
                  <a:cubicBezTo>
                    <a:pt x="416" y="62"/>
                    <a:pt x="445" y="89"/>
                    <a:pt x="445" y="124"/>
                  </a:cubicBezTo>
                  <a:lnTo>
                    <a:pt x="445" y="444"/>
                  </a:lnTo>
                  <a:cubicBezTo>
                    <a:pt x="445" y="480"/>
                    <a:pt x="416" y="508"/>
                    <a:pt x="381" y="508"/>
                  </a:cubicBezTo>
                  <a:lnTo>
                    <a:pt x="333" y="508"/>
                  </a:lnTo>
                  <a:lnTo>
                    <a:pt x="333" y="878"/>
                  </a:lnTo>
                  <a:lnTo>
                    <a:pt x="395" y="878"/>
                  </a:lnTo>
                  <a:lnTo>
                    <a:pt x="395" y="570"/>
                  </a:lnTo>
                  <a:cubicBezTo>
                    <a:pt x="457" y="563"/>
                    <a:pt x="507" y="510"/>
                    <a:pt x="507" y="444"/>
                  </a:cubicBezTo>
                  <a:lnTo>
                    <a:pt x="507" y="124"/>
                  </a:lnTo>
                  <a:cubicBezTo>
                    <a:pt x="507" y="55"/>
                    <a:pt x="449" y="0"/>
                    <a:pt x="381" y="0"/>
                  </a:cubicBezTo>
                </a:path>
              </a:pathLst>
            </a:custGeom>
            <a:grpFill/>
            <a:ln>
              <a:noFill/>
            </a:ln>
            <a:effectLst/>
          </p:spPr>
          <p:txBody>
            <a:bodyPr wrap="none" anchor="ctr"/>
            <a:lstStyle/>
            <a:p>
              <a:endParaRPr lang="en-US" sz="1350"/>
            </a:p>
          </p:txBody>
        </p:sp>
        <p:sp>
          <p:nvSpPr>
            <p:cNvPr id="31" name="Freeform 63"/>
            <p:cNvSpPr>
              <a:spLocks noChangeArrowheads="1"/>
            </p:cNvSpPr>
            <p:nvPr/>
          </p:nvSpPr>
          <p:spPr bwMode="auto">
            <a:xfrm>
              <a:off x="4385444" y="1476136"/>
              <a:ext cx="111145" cy="109721"/>
            </a:xfrm>
            <a:custGeom>
              <a:avLst/>
              <a:gdLst>
                <a:gd name="T0" fmla="*/ 171 w 343"/>
                <a:gd name="T1" fmla="*/ 0 h 341"/>
                <a:gd name="T2" fmla="*/ 0 w 343"/>
                <a:gd name="T3" fmla="*/ 171 h 341"/>
                <a:gd name="T4" fmla="*/ 171 w 343"/>
                <a:gd name="T5" fmla="*/ 340 h 341"/>
                <a:gd name="T6" fmla="*/ 342 w 343"/>
                <a:gd name="T7" fmla="*/ 171 h 341"/>
                <a:gd name="T8" fmla="*/ 171 w 343"/>
                <a:gd name="T9" fmla="*/ 0 h 341"/>
                <a:gd name="T10" fmla="*/ 171 w 343"/>
                <a:gd name="T11" fmla="*/ 278 h 341"/>
                <a:gd name="T12" fmla="*/ 63 w 343"/>
                <a:gd name="T13" fmla="*/ 171 h 341"/>
                <a:gd name="T14" fmla="*/ 171 w 343"/>
                <a:gd name="T15" fmla="*/ 62 h 341"/>
                <a:gd name="T16" fmla="*/ 280 w 343"/>
                <a:gd name="T17" fmla="*/ 171 h 341"/>
                <a:gd name="T18" fmla="*/ 171 w 343"/>
                <a:gd name="T19" fmla="*/ 27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3" h="341">
                  <a:moveTo>
                    <a:pt x="171" y="0"/>
                  </a:moveTo>
                  <a:cubicBezTo>
                    <a:pt x="77" y="0"/>
                    <a:pt x="0" y="77"/>
                    <a:pt x="0" y="171"/>
                  </a:cubicBezTo>
                  <a:cubicBezTo>
                    <a:pt x="0" y="265"/>
                    <a:pt x="77" y="340"/>
                    <a:pt x="171" y="340"/>
                  </a:cubicBezTo>
                  <a:cubicBezTo>
                    <a:pt x="265" y="340"/>
                    <a:pt x="342" y="265"/>
                    <a:pt x="342" y="171"/>
                  </a:cubicBezTo>
                  <a:cubicBezTo>
                    <a:pt x="342" y="77"/>
                    <a:pt x="265" y="0"/>
                    <a:pt x="171" y="0"/>
                  </a:cubicBezTo>
                  <a:close/>
                  <a:moveTo>
                    <a:pt x="171" y="278"/>
                  </a:moveTo>
                  <a:cubicBezTo>
                    <a:pt x="112" y="278"/>
                    <a:pt x="63" y="230"/>
                    <a:pt x="63" y="171"/>
                  </a:cubicBezTo>
                  <a:cubicBezTo>
                    <a:pt x="63" y="110"/>
                    <a:pt x="112" y="62"/>
                    <a:pt x="171" y="62"/>
                  </a:cubicBezTo>
                  <a:cubicBezTo>
                    <a:pt x="230" y="62"/>
                    <a:pt x="280" y="110"/>
                    <a:pt x="280" y="171"/>
                  </a:cubicBezTo>
                  <a:cubicBezTo>
                    <a:pt x="280" y="230"/>
                    <a:pt x="230" y="278"/>
                    <a:pt x="171" y="27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a:p>
          </p:txBody>
        </p:sp>
      </p:grpSp>
      <p:grpSp>
        <p:nvGrpSpPr>
          <p:cNvPr id="4" name="Group 3"/>
          <p:cNvGrpSpPr/>
          <p:nvPr/>
        </p:nvGrpSpPr>
        <p:grpSpPr>
          <a:xfrm>
            <a:off x="2237671" y="1759198"/>
            <a:ext cx="295613" cy="244893"/>
            <a:chOff x="2498172" y="1530970"/>
            <a:chExt cx="390449" cy="323456"/>
          </a:xfrm>
          <a:solidFill>
            <a:srgbClr val="C01D28"/>
          </a:solidFill>
        </p:grpSpPr>
        <p:sp>
          <p:nvSpPr>
            <p:cNvPr id="63" name="Rectangle 116"/>
            <p:cNvSpPr>
              <a:spLocks noChangeArrowheads="1"/>
            </p:cNvSpPr>
            <p:nvPr/>
          </p:nvSpPr>
          <p:spPr bwMode="auto">
            <a:xfrm>
              <a:off x="2498172" y="1832443"/>
              <a:ext cx="390449" cy="219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7"/>
            <p:cNvSpPr>
              <a:spLocks noEditPoints="1"/>
            </p:cNvSpPr>
            <p:nvPr/>
          </p:nvSpPr>
          <p:spPr bwMode="auto">
            <a:xfrm>
              <a:off x="2498172" y="1530970"/>
              <a:ext cx="390449" cy="276351"/>
            </a:xfrm>
            <a:custGeom>
              <a:avLst/>
              <a:gdLst>
                <a:gd name="T0" fmla="*/ 125 w 1121"/>
                <a:gd name="T1" fmla="*/ 0 h 793"/>
                <a:gd name="T2" fmla="*/ 112 w 1121"/>
                <a:gd name="T3" fmla="*/ 2 h 793"/>
                <a:gd name="T4" fmla="*/ 88 w 1121"/>
                <a:gd name="T5" fmla="*/ 6 h 793"/>
                <a:gd name="T6" fmla="*/ 66 w 1121"/>
                <a:gd name="T7" fmla="*/ 15 h 793"/>
                <a:gd name="T8" fmla="*/ 47 w 1121"/>
                <a:gd name="T9" fmla="*/ 29 h 793"/>
                <a:gd name="T10" fmla="*/ 29 w 1121"/>
                <a:gd name="T11" fmla="*/ 46 h 793"/>
                <a:gd name="T12" fmla="*/ 15 w 1121"/>
                <a:gd name="T13" fmla="*/ 66 h 793"/>
                <a:gd name="T14" fmla="*/ 6 w 1121"/>
                <a:gd name="T15" fmla="*/ 88 h 793"/>
                <a:gd name="T16" fmla="*/ 0 w 1121"/>
                <a:gd name="T17" fmla="*/ 113 h 793"/>
                <a:gd name="T18" fmla="*/ 0 w 1121"/>
                <a:gd name="T19" fmla="*/ 668 h 793"/>
                <a:gd name="T20" fmla="*/ 0 w 1121"/>
                <a:gd name="T21" fmla="*/ 680 h 793"/>
                <a:gd name="T22" fmla="*/ 6 w 1121"/>
                <a:gd name="T23" fmla="*/ 705 h 793"/>
                <a:gd name="T24" fmla="*/ 15 w 1121"/>
                <a:gd name="T25" fmla="*/ 727 h 793"/>
                <a:gd name="T26" fmla="*/ 29 w 1121"/>
                <a:gd name="T27" fmla="*/ 746 h 793"/>
                <a:gd name="T28" fmla="*/ 47 w 1121"/>
                <a:gd name="T29" fmla="*/ 763 h 793"/>
                <a:gd name="T30" fmla="*/ 66 w 1121"/>
                <a:gd name="T31" fmla="*/ 776 h 793"/>
                <a:gd name="T32" fmla="*/ 88 w 1121"/>
                <a:gd name="T33" fmla="*/ 787 h 793"/>
                <a:gd name="T34" fmla="*/ 112 w 1121"/>
                <a:gd name="T35" fmla="*/ 791 h 793"/>
                <a:gd name="T36" fmla="*/ 997 w 1121"/>
                <a:gd name="T37" fmla="*/ 793 h 793"/>
                <a:gd name="T38" fmla="*/ 1010 w 1121"/>
                <a:gd name="T39" fmla="*/ 791 h 793"/>
                <a:gd name="T40" fmla="*/ 1034 w 1121"/>
                <a:gd name="T41" fmla="*/ 787 h 793"/>
                <a:gd name="T42" fmla="*/ 1056 w 1121"/>
                <a:gd name="T43" fmla="*/ 776 h 793"/>
                <a:gd name="T44" fmla="*/ 1075 w 1121"/>
                <a:gd name="T45" fmla="*/ 763 h 793"/>
                <a:gd name="T46" fmla="*/ 1093 w 1121"/>
                <a:gd name="T47" fmla="*/ 746 h 793"/>
                <a:gd name="T48" fmla="*/ 1107 w 1121"/>
                <a:gd name="T49" fmla="*/ 727 h 793"/>
                <a:gd name="T50" fmla="*/ 1115 w 1121"/>
                <a:gd name="T51" fmla="*/ 705 h 793"/>
                <a:gd name="T52" fmla="*/ 1121 w 1121"/>
                <a:gd name="T53" fmla="*/ 680 h 793"/>
                <a:gd name="T54" fmla="*/ 1121 w 1121"/>
                <a:gd name="T55" fmla="*/ 125 h 793"/>
                <a:gd name="T56" fmla="*/ 1121 w 1121"/>
                <a:gd name="T57" fmla="*/ 113 h 793"/>
                <a:gd name="T58" fmla="*/ 1115 w 1121"/>
                <a:gd name="T59" fmla="*/ 88 h 793"/>
                <a:gd name="T60" fmla="*/ 1107 w 1121"/>
                <a:gd name="T61" fmla="*/ 66 h 793"/>
                <a:gd name="T62" fmla="*/ 1093 w 1121"/>
                <a:gd name="T63" fmla="*/ 46 h 793"/>
                <a:gd name="T64" fmla="*/ 1075 w 1121"/>
                <a:gd name="T65" fmla="*/ 29 h 793"/>
                <a:gd name="T66" fmla="*/ 1056 w 1121"/>
                <a:gd name="T67" fmla="*/ 15 h 793"/>
                <a:gd name="T68" fmla="*/ 1034 w 1121"/>
                <a:gd name="T69" fmla="*/ 6 h 793"/>
                <a:gd name="T70" fmla="*/ 1010 w 1121"/>
                <a:gd name="T71" fmla="*/ 2 h 793"/>
                <a:gd name="T72" fmla="*/ 997 w 1121"/>
                <a:gd name="T73" fmla="*/ 0 h 793"/>
                <a:gd name="T74" fmla="*/ 1059 w 1121"/>
                <a:gd name="T75" fmla="*/ 668 h 793"/>
                <a:gd name="T76" fmla="*/ 1054 w 1121"/>
                <a:gd name="T77" fmla="*/ 691 h 793"/>
                <a:gd name="T78" fmla="*/ 1041 w 1121"/>
                <a:gd name="T79" fmla="*/ 711 h 793"/>
                <a:gd name="T80" fmla="*/ 1020 w 1121"/>
                <a:gd name="T81" fmla="*/ 724 h 793"/>
                <a:gd name="T82" fmla="*/ 997 w 1121"/>
                <a:gd name="T83" fmla="*/ 730 h 793"/>
                <a:gd name="T84" fmla="*/ 125 w 1121"/>
                <a:gd name="T85" fmla="*/ 730 h 793"/>
                <a:gd name="T86" fmla="*/ 102 w 1121"/>
                <a:gd name="T87" fmla="*/ 724 h 793"/>
                <a:gd name="T88" fmla="*/ 81 w 1121"/>
                <a:gd name="T89" fmla="*/ 711 h 793"/>
                <a:gd name="T90" fmla="*/ 67 w 1121"/>
                <a:gd name="T91" fmla="*/ 691 h 793"/>
                <a:gd name="T92" fmla="*/ 63 w 1121"/>
                <a:gd name="T93" fmla="*/ 668 h 793"/>
                <a:gd name="T94" fmla="*/ 63 w 1121"/>
                <a:gd name="T95" fmla="*/ 125 h 793"/>
                <a:gd name="T96" fmla="*/ 67 w 1121"/>
                <a:gd name="T97" fmla="*/ 101 h 793"/>
                <a:gd name="T98" fmla="*/ 81 w 1121"/>
                <a:gd name="T99" fmla="*/ 82 h 793"/>
                <a:gd name="T100" fmla="*/ 102 w 1121"/>
                <a:gd name="T101" fmla="*/ 69 h 793"/>
                <a:gd name="T102" fmla="*/ 125 w 1121"/>
                <a:gd name="T103" fmla="*/ 63 h 793"/>
                <a:gd name="T104" fmla="*/ 997 w 1121"/>
                <a:gd name="T105" fmla="*/ 63 h 793"/>
                <a:gd name="T106" fmla="*/ 1020 w 1121"/>
                <a:gd name="T107" fmla="*/ 69 h 793"/>
                <a:gd name="T108" fmla="*/ 1041 w 1121"/>
                <a:gd name="T109" fmla="*/ 82 h 793"/>
                <a:gd name="T110" fmla="*/ 1054 w 1121"/>
                <a:gd name="T111" fmla="*/ 101 h 793"/>
                <a:gd name="T112" fmla="*/ 1059 w 1121"/>
                <a:gd name="T113" fmla="*/ 12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1" h="793">
                  <a:moveTo>
                    <a:pt x="997" y="0"/>
                  </a:moveTo>
                  <a:lnTo>
                    <a:pt x="125" y="0"/>
                  </a:lnTo>
                  <a:lnTo>
                    <a:pt x="125" y="0"/>
                  </a:lnTo>
                  <a:lnTo>
                    <a:pt x="112" y="2"/>
                  </a:lnTo>
                  <a:lnTo>
                    <a:pt x="100" y="3"/>
                  </a:lnTo>
                  <a:lnTo>
                    <a:pt x="88" y="6"/>
                  </a:lnTo>
                  <a:lnTo>
                    <a:pt x="76" y="11"/>
                  </a:lnTo>
                  <a:lnTo>
                    <a:pt x="66" y="15"/>
                  </a:lnTo>
                  <a:lnTo>
                    <a:pt x="56" y="23"/>
                  </a:lnTo>
                  <a:lnTo>
                    <a:pt x="47" y="29"/>
                  </a:lnTo>
                  <a:lnTo>
                    <a:pt x="38" y="37"/>
                  </a:lnTo>
                  <a:lnTo>
                    <a:pt x="29" y="46"/>
                  </a:lnTo>
                  <a:lnTo>
                    <a:pt x="21" y="55"/>
                  </a:lnTo>
                  <a:lnTo>
                    <a:pt x="15" y="66"/>
                  </a:lnTo>
                  <a:lnTo>
                    <a:pt x="11" y="78"/>
                  </a:lnTo>
                  <a:lnTo>
                    <a:pt x="6" y="88"/>
                  </a:lnTo>
                  <a:lnTo>
                    <a:pt x="3" y="100"/>
                  </a:lnTo>
                  <a:lnTo>
                    <a:pt x="0" y="113"/>
                  </a:lnTo>
                  <a:lnTo>
                    <a:pt x="0" y="125"/>
                  </a:lnTo>
                  <a:lnTo>
                    <a:pt x="0" y="668"/>
                  </a:lnTo>
                  <a:lnTo>
                    <a:pt x="0" y="668"/>
                  </a:lnTo>
                  <a:lnTo>
                    <a:pt x="0" y="680"/>
                  </a:lnTo>
                  <a:lnTo>
                    <a:pt x="3" y="691"/>
                  </a:lnTo>
                  <a:lnTo>
                    <a:pt x="6" y="705"/>
                  </a:lnTo>
                  <a:lnTo>
                    <a:pt x="11" y="715"/>
                  </a:lnTo>
                  <a:lnTo>
                    <a:pt x="15" y="727"/>
                  </a:lnTo>
                  <a:lnTo>
                    <a:pt x="21" y="736"/>
                  </a:lnTo>
                  <a:lnTo>
                    <a:pt x="29" y="746"/>
                  </a:lnTo>
                  <a:lnTo>
                    <a:pt x="38" y="755"/>
                  </a:lnTo>
                  <a:lnTo>
                    <a:pt x="47" y="763"/>
                  </a:lnTo>
                  <a:lnTo>
                    <a:pt x="56" y="770"/>
                  </a:lnTo>
                  <a:lnTo>
                    <a:pt x="66" y="776"/>
                  </a:lnTo>
                  <a:lnTo>
                    <a:pt x="76" y="782"/>
                  </a:lnTo>
                  <a:lnTo>
                    <a:pt x="88" y="787"/>
                  </a:lnTo>
                  <a:lnTo>
                    <a:pt x="100" y="790"/>
                  </a:lnTo>
                  <a:lnTo>
                    <a:pt x="112" y="791"/>
                  </a:lnTo>
                  <a:lnTo>
                    <a:pt x="125" y="793"/>
                  </a:lnTo>
                  <a:lnTo>
                    <a:pt x="997" y="793"/>
                  </a:lnTo>
                  <a:lnTo>
                    <a:pt x="997" y="793"/>
                  </a:lnTo>
                  <a:lnTo>
                    <a:pt x="1010" y="791"/>
                  </a:lnTo>
                  <a:lnTo>
                    <a:pt x="1022" y="790"/>
                  </a:lnTo>
                  <a:lnTo>
                    <a:pt x="1034" y="787"/>
                  </a:lnTo>
                  <a:lnTo>
                    <a:pt x="1046" y="782"/>
                  </a:lnTo>
                  <a:lnTo>
                    <a:pt x="1056" y="776"/>
                  </a:lnTo>
                  <a:lnTo>
                    <a:pt x="1066" y="770"/>
                  </a:lnTo>
                  <a:lnTo>
                    <a:pt x="1075" y="763"/>
                  </a:lnTo>
                  <a:lnTo>
                    <a:pt x="1084" y="755"/>
                  </a:lnTo>
                  <a:lnTo>
                    <a:pt x="1093" y="746"/>
                  </a:lnTo>
                  <a:lnTo>
                    <a:pt x="1101" y="736"/>
                  </a:lnTo>
                  <a:lnTo>
                    <a:pt x="1107" y="727"/>
                  </a:lnTo>
                  <a:lnTo>
                    <a:pt x="1111" y="715"/>
                  </a:lnTo>
                  <a:lnTo>
                    <a:pt x="1115" y="705"/>
                  </a:lnTo>
                  <a:lnTo>
                    <a:pt x="1118" y="691"/>
                  </a:lnTo>
                  <a:lnTo>
                    <a:pt x="1121" y="680"/>
                  </a:lnTo>
                  <a:lnTo>
                    <a:pt x="1121" y="668"/>
                  </a:lnTo>
                  <a:lnTo>
                    <a:pt x="1121" y="125"/>
                  </a:lnTo>
                  <a:lnTo>
                    <a:pt x="1121" y="125"/>
                  </a:lnTo>
                  <a:lnTo>
                    <a:pt x="1121" y="113"/>
                  </a:lnTo>
                  <a:lnTo>
                    <a:pt x="1118" y="100"/>
                  </a:lnTo>
                  <a:lnTo>
                    <a:pt x="1115" y="88"/>
                  </a:lnTo>
                  <a:lnTo>
                    <a:pt x="1111" y="78"/>
                  </a:lnTo>
                  <a:lnTo>
                    <a:pt x="1107" y="66"/>
                  </a:lnTo>
                  <a:lnTo>
                    <a:pt x="1101" y="55"/>
                  </a:lnTo>
                  <a:lnTo>
                    <a:pt x="1093" y="46"/>
                  </a:lnTo>
                  <a:lnTo>
                    <a:pt x="1084" y="37"/>
                  </a:lnTo>
                  <a:lnTo>
                    <a:pt x="1075" y="29"/>
                  </a:lnTo>
                  <a:lnTo>
                    <a:pt x="1066" y="23"/>
                  </a:lnTo>
                  <a:lnTo>
                    <a:pt x="1056" y="15"/>
                  </a:lnTo>
                  <a:lnTo>
                    <a:pt x="1046" y="11"/>
                  </a:lnTo>
                  <a:lnTo>
                    <a:pt x="1034" y="6"/>
                  </a:lnTo>
                  <a:lnTo>
                    <a:pt x="1022" y="3"/>
                  </a:lnTo>
                  <a:lnTo>
                    <a:pt x="1010" y="2"/>
                  </a:lnTo>
                  <a:lnTo>
                    <a:pt x="997" y="0"/>
                  </a:lnTo>
                  <a:lnTo>
                    <a:pt x="997" y="0"/>
                  </a:lnTo>
                  <a:close/>
                  <a:moveTo>
                    <a:pt x="1059" y="668"/>
                  </a:moveTo>
                  <a:lnTo>
                    <a:pt x="1059" y="668"/>
                  </a:lnTo>
                  <a:lnTo>
                    <a:pt x="1057" y="680"/>
                  </a:lnTo>
                  <a:lnTo>
                    <a:pt x="1054" y="691"/>
                  </a:lnTo>
                  <a:lnTo>
                    <a:pt x="1049" y="702"/>
                  </a:lnTo>
                  <a:lnTo>
                    <a:pt x="1041" y="711"/>
                  </a:lnTo>
                  <a:lnTo>
                    <a:pt x="1031" y="718"/>
                  </a:lnTo>
                  <a:lnTo>
                    <a:pt x="1020" y="724"/>
                  </a:lnTo>
                  <a:lnTo>
                    <a:pt x="1008" y="729"/>
                  </a:lnTo>
                  <a:lnTo>
                    <a:pt x="997" y="730"/>
                  </a:lnTo>
                  <a:lnTo>
                    <a:pt x="125" y="730"/>
                  </a:lnTo>
                  <a:lnTo>
                    <a:pt x="125" y="730"/>
                  </a:lnTo>
                  <a:lnTo>
                    <a:pt x="112" y="729"/>
                  </a:lnTo>
                  <a:lnTo>
                    <a:pt x="102" y="724"/>
                  </a:lnTo>
                  <a:lnTo>
                    <a:pt x="90" y="718"/>
                  </a:lnTo>
                  <a:lnTo>
                    <a:pt x="81" y="711"/>
                  </a:lnTo>
                  <a:lnTo>
                    <a:pt x="73" y="702"/>
                  </a:lnTo>
                  <a:lnTo>
                    <a:pt x="67" y="691"/>
                  </a:lnTo>
                  <a:lnTo>
                    <a:pt x="64" y="680"/>
                  </a:lnTo>
                  <a:lnTo>
                    <a:pt x="63" y="668"/>
                  </a:lnTo>
                  <a:lnTo>
                    <a:pt x="63" y="125"/>
                  </a:lnTo>
                  <a:lnTo>
                    <a:pt x="63" y="125"/>
                  </a:lnTo>
                  <a:lnTo>
                    <a:pt x="64" y="113"/>
                  </a:lnTo>
                  <a:lnTo>
                    <a:pt x="67" y="101"/>
                  </a:lnTo>
                  <a:lnTo>
                    <a:pt x="73" y="91"/>
                  </a:lnTo>
                  <a:lnTo>
                    <a:pt x="81" y="82"/>
                  </a:lnTo>
                  <a:lnTo>
                    <a:pt x="90" y="73"/>
                  </a:lnTo>
                  <a:lnTo>
                    <a:pt x="102" y="69"/>
                  </a:lnTo>
                  <a:lnTo>
                    <a:pt x="112" y="64"/>
                  </a:lnTo>
                  <a:lnTo>
                    <a:pt x="125" y="63"/>
                  </a:lnTo>
                  <a:lnTo>
                    <a:pt x="997" y="63"/>
                  </a:lnTo>
                  <a:lnTo>
                    <a:pt x="997" y="63"/>
                  </a:lnTo>
                  <a:lnTo>
                    <a:pt x="1008" y="64"/>
                  </a:lnTo>
                  <a:lnTo>
                    <a:pt x="1020" y="69"/>
                  </a:lnTo>
                  <a:lnTo>
                    <a:pt x="1031" y="73"/>
                  </a:lnTo>
                  <a:lnTo>
                    <a:pt x="1041" y="82"/>
                  </a:lnTo>
                  <a:lnTo>
                    <a:pt x="1049" y="91"/>
                  </a:lnTo>
                  <a:lnTo>
                    <a:pt x="1054" y="101"/>
                  </a:lnTo>
                  <a:lnTo>
                    <a:pt x="1057" y="113"/>
                  </a:lnTo>
                  <a:lnTo>
                    <a:pt x="1059" y="125"/>
                  </a:lnTo>
                  <a:lnTo>
                    <a:pt x="1059" y="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p:cNvGrpSpPr/>
          <p:nvPr/>
        </p:nvGrpSpPr>
        <p:grpSpPr>
          <a:xfrm>
            <a:off x="5344945" y="1754927"/>
            <a:ext cx="352522" cy="249164"/>
            <a:chOff x="5908690" y="1568095"/>
            <a:chExt cx="388021" cy="274256"/>
          </a:xfrm>
          <a:solidFill>
            <a:srgbClr val="C01D28"/>
          </a:solidFill>
        </p:grpSpPr>
        <p:sp>
          <p:nvSpPr>
            <p:cNvPr id="70" name="Freeform 40"/>
            <p:cNvSpPr>
              <a:spLocks/>
            </p:cNvSpPr>
            <p:nvPr/>
          </p:nvSpPr>
          <p:spPr bwMode="auto">
            <a:xfrm>
              <a:off x="5908690" y="1568095"/>
              <a:ext cx="388021" cy="274256"/>
            </a:xfrm>
            <a:custGeom>
              <a:avLst/>
              <a:gdLst>
                <a:gd name="T0" fmla="*/ 1120 w 1528"/>
                <a:gd name="T1" fmla="*/ 276 h 1080"/>
                <a:gd name="T2" fmla="*/ 1040 w 1528"/>
                <a:gd name="T3" fmla="*/ 126 h 1080"/>
                <a:gd name="T4" fmla="*/ 902 w 1528"/>
                <a:gd name="T5" fmla="*/ 26 h 1080"/>
                <a:gd name="T6" fmla="*/ 764 w 1528"/>
                <a:gd name="T7" fmla="*/ 0 h 1080"/>
                <a:gd name="T8" fmla="*/ 614 w 1528"/>
                <a:gd name="T9" fmla="*/ 32 h 1080"/>
                <a:gd name="T10" fmla="*/ 494 w 1528"/>
                <a:gd name="T11" fmla="*/ 118 h 1080"/>
                <a:gd name="T12" fmla="*/ 418 w 1528"/>
                <a:gd name="T13" fmla="*/ 246 h 1080"/>
                <a:gd name="T14" fmla="*/ 448 w 1528"/>
                <a:gd name="T15" fmla="*/ 282 h 1080"/>
                <a:gd name="T16" fmla="*/ 510 w 1528"/>
                <a:gd name="T17" fmla="*/ 250 h 1080"/>
                <a:gd name="T18" fmla="*/ 576 w 1528"/>
                <a:gd name="T19" fmla="*/ 160 h 1080"/>
                <a:gd name="T20" fmla="*/ 672 w 1528"/>
                <a:gd name="T21" fmla="*/ 102 h 1080"/>
                <a:gd name="T22" fmla="*/ 764 w 1528"/>
                <a:gd name="T23" fmla="*/ 86 h 1080"/>
                <a:gd name="T24" fmla="*/ 898 w 1528"/>
                <a:gd name="T25" fmla="*/ 120 h 1080"/>
                <a:gd name="T26" fmla="*/ 996 w 1528"/>
                <a:gd name="T27" fmla="*/ 210 h 1080"/>
                <a:gd name="T28" fmla="*/ 1042 w 1528"/>
                <a:gd name="T29" fmla="*/ 336 h 1080"/>
                <a:gd name="T30" fmla="*/ 1048 w 1528"/>
                <a:gd name="T31" fmla="*/ 408 h 1080"/>
                <a:gd name="T32" fmla="*/ 1078 w 1528"/>
                <a:gd name="T33" fmla="*/ 432 h 1080"/>
                <a:gd name="T34" fmla="*/ 1224 w 1528"/>
                <a:gd name="T35" fmla="*/ 438 h 1080"/>
                <a:gd name="T36" fmla="*/ 1342 w 1528"/>
                <a:gd name="T37" fmla="*/ 496 h 1080"/>
                <a:gd name="T38" fmla="*/ 1420 w 1528"/>
                <a:gd name="T39" fmla="*/ 600 h 1080"/>
                <a:gd name="T40" fmla="*/ 1442 w 1528"/>
                <a:gd name="T41" fmla="*/ 720 h 1080"/>
                <a:gd name="T42" fmla="*/ 1420 w 1528"/>
                <a:gd name="T43" fmla="*/ 826 h 1080"/>
                <a:gd name="T44" fmla="*/ 1342 w 1528"/>
                <a:gd name="T45" fmla="*/ 932 h 1080"/>
                <a:gd name="T46" fmla="*/ 1224 w 1528"/>
                <a:gd name="T47" fmla="*/ 988 h 1080"/>
                <a:gd name="T48" fmla="*/ 360 w 1528"/>
                <a:gd name="T49" fmla="*/ 994 h 1080"/>
                <a:gd name="T50" fmla="*/ 230 w 1528"/>
                <a:gd name="T51" fmla="*/ 960 h 1080"/>
                <a:gd name="T52" fmla="*/ 134 w 1528"/>
                <a:gd name="T53" fmla="*/ 872 h 1080"/>
                <a:gd name="T54" fmla="*/ 88 w 1528"/>
                <a:gd name="T55" fmla="*/ 748 h 1080"/>
                <a:gd name="T56" fmla="*/ 90 w 1528"/>
                <a:gd name="T57" fmla="*/ 658 h 1080"/>
                <a:gd name="T58" fmla="*/ 138 w 1528"/>
                <a:gd name="T59" fmla="*/ 548 h 1080"/>
                <a:gd name="T60" fmla="*/ 224 w 1528"/>
                <a:gd name="T61" fmla="*/ 470 h 1080"/>
                <a:gd name="T62" fmla="*/ 314 w 1528"/>
                <a:gd name="T63" fmla="*/ 438 h 1080"/>
                <a:gd name="T64" fmla="*/ 360 w 1528"/>
                <a:gd name="T65" fmla="*/ 434 h 1080"/>
                <a:gd name="T66" fmla="*/ 448 w 1528"/>
                <a:gd name="T67" fmla="*/ 446 h 1080"/>
                <a:gd name="T68" fmla="*/ 558 w 1528"/>
                <a:gd name="T69" fmla="*/ 510 h 1080"/>
                <a:gd name="T70" fmla="*/ 588 w 1528"/>
                <a:gd name="T71" fmla="*/ 522 h 1080"/>
                <a:gd name="T72" fmla="*/ 620 w 1528"/>
                <a:gd name="T73" fmla="*/ 510 h 1080"/>
                <a:gd name="T74" fmla="*/ 632 w 1528"/>
                <a:gd name="T75" fmla="*/ 478 h 1080"/>
                <a:gd name="T76" fmla="*/ 618 w 1528"/>
                <a:gd name="T77" fmla="*/ 448 h 1080"/>
                <a:gd name="T78" fmla="*/ 468 w 1528"/>
                <a:gd name="T79" fmla="*/ 362 h 1080"/>
                <a:gd name="T80" fmla="*/ 338 w 1528"/>
                <a:gd name="T81" fmla="*/ 348 h 1080"/>
                <a:gd name="T82" fmla="*/ 238 w 1528"/>
                <a:gd name="T83" fmla="*/ 370 h 1080"/>
                <a:gd name="T84" fmla="*/ 108 w 1528"/>
                <a:gd name="T85" fmla="*/ 452 h 1080"/>
                <a:gd name="T86" fmla="*/ 24 w 1528"/>
                <a:gd name="T87" fmla="*/ 582 h 1080"/>
                <a:gd name="T88" fmla="*/ 0 w 1528"/>
                <a:gd name="T89" fmla="*/ 720 h 1080"/>
                <a:gd name="T90" fmla="*/ 28 w 1528"/>
                <a:gd name="T91" fmla="*/ 858 h 1080"/>
                <a:gd name="T92" fmla="*/ 126 w 1528"/>
                <a:gd name="T93" fmla="*/ 994 h 1080"/>
                <a:gd name="T94" fmla="*/ 278 w 1528"/>
                <a:gd name="T95" fmla="*/ 1070 h 1080"/>
                <a:gd name="T96" fmla="*/ 1168 w 1528"/>
                <a:gd name="T97" fmla="*/ 1080 h 1080"/>
                <a:gd name="T98" fmla="*/ 1308 w 1528"/>
                <a:gd name="T99" fmla="*/ 1052 h 1080"/>
                <a:gd name="T100" fmla="*/ 1446 w 1528"/>
                <a:gd name="T101" fmla="*/ 948 h 1080"/>
                <a:gd name="T102" fmla="*/ 1520 w 1528"/>
                <a:gd name="T103" fmla="*/ 792 h 1080"/>
                <a:gd name="T104" fmla="*/ 1526 w 1528"/>
                <a:gd name="T105" fmla="*/ 670 h 1080"/>
                <a:gd name="T106" fmla="*/ 1466 w 1528"/>
                <a:gd name="T107" fmla="*/ 506 h 1080"/>
                <a:gd name="T108" fmla="*/ 1340 w 1528"/>
                <a:gd name="T109" fmla="*/ 390 h 1080"/>
                <a:gd name="T110" fmla="*/ 1168 w 1528"/>
                <a:gd name="T111" fmla="*/ 34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8" h="1080">
                  <a:moveTo>
                    <a:pt x="1168" y="348"/>
                  </a:moveTo>
                  <a:lnTo>
                    <a:pt x="1130" y="348"/>
                  </a:lnTo>
                  <a:lnTo>
                    <a:pt x="1130" y="348"/>
                  </a:lnTo>
                  <a:lnTo>
                    <a:pt x="1126" y="312"/>
                  </a:lnTo>
                  <a:lnTo>
                    <a:pt x="1120" y="276"/>
                  </a:lnTo>
                  <a:lnTo>
                    <a:pt x="1110" y="244"/>
                  </a:lnTo>
                  <a:lnTo>
                    <a:pt x="1096" y="212"/>
                  </a:lnTo>
                  <a:lnTo>
                    <a:pt x="1080" y="180"/>
                  </a:lnTo>
                  <a:lnTo>
                    <a:pt x="1062" y="152"/>
                  </a:lnTo>
                  <a:lnTo>
                    <a:pt x="1040" y="126"/>
                  </a:lnTo>
                  <a:lnTo>
                    <a:pt x="1016" y="100"/>
                  </a:lnTo>
                  <a:lnTo>
                    <a:pt x="992" y="78"/>
                  </a:lnTo>
                  <a:lnTo>
                    <a:pt x="964" y="58"/>
                  </a:lnTo>
                  <a:lnTo>
                    <a:pt x="934" y="42"/>
                  </a:lnTo>
                  <a:lnTo>
                    <a:pt x="902" y="26"/>
                  </a:lnTo>
                  <a:lnTo>
                    <a:pt x="870" y="14"/>
                  </a:lnTo>
                  <a:lnTo>
                    <a:pt x="836" y="6"/>
                  </a:lnTo>
                  <a:lnTo>
                    <a:pt x="800" y="2"/>
                  </a:lnTo>
                  <a:lnTo>
                    <a:pt x="764" y="0"/>
                  </a:lnTo>
                  <a:lnTo>
                    <a:pt x="764" y="0"/>
                  </a:lnTo>
                  <a:lnTo>
                    <a:pt x="732" y="0"/>
                  </a:lnTo>
                  <a:lnTo>
                    <a:pt x="702" y="4"/>
                  </a:lnTo>
                  <a:lnTo>
                    <a:pt x="672" y="12"/>
                  </a:lnTo>
                  <a:lnTo>
                    <a:pt x="642" y="20"/>
                  </a:lnTo>
                  <a:lnTo>
                    <a:pt x="614" y="32"/>
                  </a:lnTo>
                  <a:lnTo>
                    <a:pt x="588" y="46"/>
                  </a:lnTo>
                  <a:lnTo>
                    <a:pt x="562" y="60"/>
                  </a:lnTo>
                  <a:lnTo>
                    <a:pt x="538" y="78"/>
                  </a:lnTo>
                  <a:lnTo>
                    <a:pt x="516" y="98"/>
                  </a:lnTo>
                  <a:lnTo>
                    <a:pt x="494" y="118"/>
                  </a:lnTo>
                  <a:lnTo>
                    <a:pt x="476" y="142"/>
                  </a:lnTo>
                  <a:lnTo>
                    <a:pt x="458" y="166"/>
                  </a:lnTo>
                  <a:lnTo>
                    <a:pt x="442" y="192"/>
                  </a:lnTo>
                  <a:lnTo>
                    <a:pt x="428" y="218"/>
                  </a:lnTo>
                  <a:lnTo>
                    <a:pt x="418" y="246"/>
                  </a:lnTo>
                  <a:lnTo>
                    <a:pt x="408" y="276"/>
                  </a:lnTo>
                  <a:lnTo>
                    <a:pt x="408" y="276"/>
                  </a:lnTo>
                  <a:lnTo>
                    <a:pt x="410" y="276"/>
                  </a:lnTo>
                  <a:lnTo>
                    <a:pt x="410" y="276"/>
                  </a:lnTo>
                  <a:lnTo>
                    <a:pt x="448" y="282"/>
                  </a:lnTo>
                  <a:lnTo>
                    <a:pt x="470" y="286"/>
                  </a:lnTo>
                  <a:lnTo>
                    <a:pt x="494" y="294"/>
                  </a:lnTo>
                  <a:lnTo>
                    <a:pt x="494" y="294"/>
                  </a:lnTo>
                  <a:lnTo>
                    <a:pt x="500" y="272"/>
                  </a:lnTo>
                  <a:lnTo>
                    <a:pt x="510" y="250"/>
                  </a:lnTo>
                  <a:lnTo>
                    <a:pt x="520" y="230"/>
                  </a:lnTo>
                  <a:lnTo>
                    <a:pt x="532" y="210"/>
                  </a:lnTo>
                  <a:lnTo>
                    <a:pt x="544" y="192"/>
                  </a:lnTo>
                  <a:lnTo>
                    <a:pt x="560" y="176"/>
                  </a:lnTo>
                  <a:lnTo>
                    <a:pt x="576" y="160"/>
                  </a:lnTo>
                  <a:lnTo>
                    <a:pt x="592" y="144"/>
                  </a:lnTo>
                  <a:lnTo>
                    <a:pt x="610" y="132"/>
                  </a:lnTo>
                  <a:lnTo>
                    <a:pt x="630" y="120"/>
                  </a:lnTo>
                  <a:lnTo>
                    <a:pt x="650" y="110"/>
                  </a:lnTo>
                  <a:lnTo>
                    <a:pt x="672" y="102"/>
                  </a:lnTo>
                  <a:lnTo>
                    <a:pt x="694" y="94"/>
                  </a:lnTo>
                  <a:lnTo>
                    <a:pt x="716" y="90"/>
                  </a:lnTo>
                  <a:lnTo>
                    <a:pt x="740" y="86"/>
                  </a:lnTo>
                  <a:lnTo>
                    <a:pt x="764" y="86"/>
                  </a:lnTo>
                  <a:lnTo>
                    <a:pt x="764" y="86"/>
                  </a:lnTo>
                  <a:lnTo>
                    <a:pt x="792" y="86"/>
                  </a:lnTo>
                  <a:lnTo>
                    <a:pt x="820" y="92"/>
                  </a:lnTo>
                  <a:lnTo>
                    <a:pt x="848" y="98"/>
                  </a:lnTo>
                  <a:lnTo>
                    <a:pt x="874" y="108"/>
                  </a:lnTo>
                  <a:lnTo>
                    <a:pt x="898" y="120"/>
                  </a:lnTo>
                  <a:lnTo>
                    <a:pt x="920" y="134"/>
                  </a:lnTo>
                  <a:lnTo>
                    <a:pt x="942" y="150"/>
                  </a:lnTo>
                  <a:lnTo>
                    <a:pt x="962" y="168"/>
                  </a:lnTo>
                  <a:lnTo>
                    <a:pt x="980" y="188"/>
                  </a:lnTo>
                  <a:lnTo>
                    <a:pt x="996" y="210"/>
                  </a:lnTo>
                  <a:lnTo>
                    <a:pt x="1010" y="232"/>
                  </a:lnTo>
                  <a:lnTo>
                    <a:pt x="1022" y="256"/>
                  </a:lnTo>
                  <a:lnTo>
                    <a:pt x="1032" y="282"/>
                  </a:lnTo>
                  <a:lnTo>
                    <a:pt x="1038" y="310"/>
                  </a:lnTo>
                  <a:lnTo>
                    <a:pt x="1042" y="336"/>
                  </a:lnTo>
                  <a:lnTo>
                    <a:pt x="1044" y="366"/>
                  </a:lnTo>
                  <a:lnTo>
                    <a:pt x="1044" y="390"/>
                  </a:lnTo>
                  <a:lnTo>
                    <a:pt x="1044" y="390"/>
                  </a:lnTo>
                  <a:lnTo>
                    <a:pt x="1046" y="400"/>
                  </a:lnTo>
                  <a:lnTo>
                    <a:pt x="1048" y="408"/>
                  </a:lnTo>
                  <a:lnTo>
                    <a:pt x="1052" y="414"/>
                  </a:lnTo>
                  <a:lnTo>
                    <a:pt x="1056" y="420"/>
                  </a:lnTo>
                  <a:lnTo>
                    <a:pt x="1064" y="426"/>
                  </a:lnTo>
                  <a:lnTo>
                    <a:pt x="1070" y="430"/>
                  </a:lnTo>
                  <a:lnTo>
                    <a:pt x="1078" y="432"/>
                  </a:lnTo>
                  <a:lnTo>
                    <a:pt x="1088" y="434"/>
                  </a:lnTo>
                  <a:lnTo>
                    <a:pt x="1168" y="434"/>
                  </a:lnTo>
                  <a:lnTo>
                    <a:pt x="1168" y="434"/>
                  </a:lnTo>
                  <a:lnTo>
                    <a:pt x="1196" y="434"/>
                  </a:lnTo>
                  <a:lnTo>
                    <a:pt x="1224" y="438"/>
                  </a:lnTo>
                  <a:lnTo>
                    <a:pt x="1250" y="446"/>
                  </a:lnTo>
                  <a:lnTo>
                    <a:pt x="1274" y="454"/>
                  </a:lnTo>
                  <a:lnTo>
                    <a:pt x="1298" y="466"/>
                  </a:lnTo>
                  <a:lnTo>
                    <a:pt x="1322" y="480"/>
                  </a:lnTo>
                  <a:lnTo>
                    <a:pt x="1342" y="496"/>
                  </a:lnTo>
                  <a:lnTo>
                    <a:pt x="1362" y="514"/>
                  </a:lnTo>
                  <a:lnTo>
                    <a:pt x="1380" y="534"/>
                  </a:lnTo>
                  <a:lnTo>
                    <a:pt x="1396" y="554"/>
                  </a:lnTo>
                  <a:lnTo>
                    <a:pt x="1408" y="576"/>
                  </a:lnTo>
                  <a:lnTo>
                    <a:pt x="1420" y="600"/>
                  </a:lnTo>
                  <a:lnTo>
                    <a:pt x="1430" y="626"/>
                  </a:lnTo>
                  <a:lnTo>
                    <a:pt x="1436" y="652"/>
                  </a:lnTo>
                  <a:lnTo>
                    <a:pt x="1440" y="680"/>
                  </a:lnTo>
                  <a:lnTo>
                    <a:pt x="1442" y="708"/>
                  </a:lnTo>
                  <a:lnTo>
                    <a:pt x="1442" y="720"/>
                  </a:lnTo>
                  <a:lnTo>
                    <a:pt x="1442" y="720"/>
                  </a:lnTo>
                  <a:lnTo>
                    <a:pt x="1440" y="748"/>
                  </a:lnTo>
                  <a:lnTo>
                    <a:pt x="1436" y="774"/>
                  </a:lnTo>
                  <a:lnTo>
                    <a:pt x="1430" y="802"/>
                  </a:lnTo>
                  <a:lnTo>
                    <a:pt x="1420" y="826"/>
                  </a:lnTo>
                  <a:lnTo>
                    <a:pt x="1408" y="850"/>
                  </a:lnTo>
                  <a:lnTo>
                    <a:pt x="1396" y="872"/>
                  </a:lnTo>
                  <a:lnTo>
                    <a:pt x="1380" y="894"/>
                  </a:lnTo>
                  <a:lnTo>
                    <a:pt x="1362" y="914"/>
                  </a:lnTo>
                  <a:lnTo>
                    <a:pt x="1342" y="932"/>
                  </a:lnTo>
                  <a:lnTo>
                    <a:pt x="1322" y="946"/>
                  </a:lnTo>
                  <a:lnTo>
                    <a:pt x="1298" y="960"/>
                  </a:lnTo>
                  <a:lnTo>
                    <a:pt x="1274" y="972"/>
                  </a:lnTo>
                  <a:lnTo>
                    <a:pt x="1250" y="982"/>
                  </a:lnTo>
                  <a:lnTo>
                    <a:pt x="1224" y="988"/>
                  </a:lnTo>
                  <a:lnTo>
                    <a:pt x="1196" y="992"/>
                  </a:lnTo>
                  <a:lnTo>
                    <a:pt x="1168" y="994"/>
                  </a:lnTo>
                  <a:lnTo>
                    <a:pt x="1100" y="994"/>
                  </a:lnTo>
                  <a:lnTo>
                    <a:pt x="360" y="994"/>
                  </a:lnTo>
                  <a:lnTo>
                    <a:pt x="360" y="994"/>
                  </a:lnTo>
                  <a:lnTo>
                    <a:pt x="332" y="992"/>
                  </a:lnTo>
                  <a:lnTo>
                    <a:pt x="306" y="988"/>
                  </a:lnTo>
                  <a:lnTo>
                    <a:pt x="278" y="982"/>
                  </a:lnTo>
                  <a:lnTo>
                    <a:pt x="254" y="972"/>
                  </a:lnTo>
                  <a:lnTo>
                    <a:pt x="230" y="960"/>
                  </a:lnTo>
                  <a:lnTo>
                    <a:pt x="208" y="946"/>
                  </a:lnTo>
                  <a:lnTo>
                    <a:pt x="186" y="932"/>
                  </a:lnTo>
                  <a:lnTo>
                    <a:pt x="166" y="914"/>
                  </a:lnTo>
                  <a:lnTo>
                    <a:pt x="148" y="894"/>
                  </a:lnTo>
                  <a:lnTo>
                    <a:pt x="134" y="872"/>
                  </a:lnTo>
                  <a:lnTo>
                    <a:pt x="120" y="850"/>
                  </a:lnTo>
                  <a:lnTo>
                    <a:pt x="108" y="826"/>
                  </a:lnTo>
                  <a:lnTo>
                    <a:pt x="98" y="802"/>
                  </a:lnTo>
                  <a:lnTo>
                    <a:pt x="92" y="774"/>
                  </a:lnTo>
                  <a:lnTo>
                    <a:pt x="88" y="748"/>
                  </a:lnTo>
                  <a:lnTo>
                    <a:pt x="86" y="720"/>
                  </a:lnTo>
                  <a:lnTo>
                    <a:pt x="86" y="708"/>
                  </a:lnTo>
                  <a:lnTo>
                    <a:pt x="86" y="708"/>
                  </a:lnTo>
                  <a:lnTo>
                    <a:pt x="88" y="682"/>
                  </a:lnTo>
                  <a:lnTo>
                    <a:pt x="90" y="658"/>
                  </a:lnTo>
                  <a:lnTo>
                    <a:pt x="96" y="634"/>
                  </a:lnTo>
                  <a:lnTo>
                    <a:pt x="104" y="612"/>
                  </a:lnTo>
                  <a:lnTo>
                    <a:pt x="114" y="590"/>
                  </a:lnTo>
                  <a:lnTo>
                    <a:pt x="124" y="568"/>
                  </a:lnTo>
                  <a:lnTo>
                    <a:pt x="138" y="548"/>
                  </a:lnTo>
                  <a:lnTo>
                    <a:pt x="152" y="530"/>
                  </a:lnTo>
                  <a:lnTo>
                    <a:pt x="168" y="512"/>
                  </a:lnTo>
                  <a:lnTo>
                    <a:pt x="186" y="496"/>
                  </a:lnTo>
                  <a:lnTo>
                    <a:pt x="204" y="482"/>
                  </a:lnTo>
                  <a:lnTo>
                    <a:pt x="224" y="470"/>
                  </a:lnTo>
                  <a:lnTo>
                    <a:pt x="246" y="460"/>
                  </a:lnTo>
                  <a:lnTo>
                    <a:pt x="268" y="450"/>
                  </a:lnTo>
                  <a:lnTo>
                    <a:pt x="290" y="442"/>
                  </a:lnTo>
                  <a:lnTo>
                    <a:pt x="314" y="438"/>
                  </a:lnTo>
                  <a:lnTo>
                    <a:pt x="314" y="438"/>
                  </a:lnTo>
                  <a:lnTo>
                    <a:pt x="320" y="436"/>
                  </a:lnTo>
                  <a:lnTo>
                    <a:pt x="320" y="436"/>
                  </a:lnTo>
                  <a:lnTo>
                    <a:pt x="338" y="434"/>
                  </a:lnTo>
                  <a:lnTo>
                    <a:pt x="338" y="434"/>
                  </a:lnTo>
                  <a:lnTo>
                    <a:pt x="360" y="434"/>
                  </a:lnTo>
                  <a:lnTo>
                    <a:pt x="372" y="434"/>
                  </a:lnTo>
                  <a:lnTo>
                    <a:pt x="372" y="434"/>
                  </a:lnTo>
                  <a:lnTo>
                    <a:pt x="398" y="436"/>
                  </a:lnTo>
                  <a:lnTo>
                    <a:pt x="424" y="440"/>
                  </a:lnTo>
                  <a:lnTo>
                    <a:pt x="448" y="446"/>
                  </a:lnTo>
                  <a:lnTo>
                    <a:pt x="472" y="454"/>
                  </a:lnTo>
                  <a:lnTo>
                    <a:pt x="496" y="466"/>
                  </a:lnTo>
                  <a:lnTo>
                    <a:pt x="518" y="478"/>
                  </a:lnTo>
                  <a:lnTo>
                    <a:pt x="538" y="494"/>
                  </a:lnTo>
                  <a:lnTo>
                    <a:pt x="558" y="510"/>
                  </a:lnTo>
                  <a:lnTo>
                    <a:pt x="558" y="510"/>
                  </a:lnTo>
                  <a:lnTo>
                    <a:pt x="566" y="516"/>
                  </a:lnTo>
                  <a:lnTo>
                    <a:pt x="572" y="520"/>
                  </a:lnTo>
                  <a:lnTo>
                    <a:pt x="580" y="522"/>
                  </a:lnTo>
                  <a:lnTo>
                    <a:pt x="588" y="522"/>
                  </a:lnTo>
                  <a:lnTo>
                    <a:pt x="588" y="522"/>
                  </a:lnTo>
                  <a:lnTo>
                    <a:pt x="596" y="522"/>
                  </a:lnTo>
                  <a:lnTo>
                    <a:pt x="604" y="520"/>
                  </a:lnTo>
                  <a:lnTo>
                    <a:pt x="612" y="516"/>
                  </a:lnTo>
                  <a:lnTo>
                    <a:pt x="620" y="510"/>
                  </a:lnTo>
                  <a:lnTo>
                    <a:pt x="620" y="510"/>
                  </a:lnTo>
                  <a:lnTo>
                    <a:pt x="624" y="502"/>
                  </a:lnTo>
                  <a:lnTo>
                    <a:pt x="628" y="494"/>
                  </a:lnTo>
                  <a:lnTo>
                    <a:pt x="630" y="486"/>
                  </a:lnTo>
                  <a:lnTo>
                    <a:pt x="632" y="478"/>
                  </a:lnTo>
                  <a:lnTo>
                    <a:pt x="630" y="470"/>
                  </a:lnTo>
                  <a:lnTo>
                    <a:pt x="628" y="462"/>
                  </a:lnTo>
                  <a:lnTo>
                    <a:pt x="624" y="456"/>
                  </a:lnTo>
                  <a:lnTo>
                    <a:pt x="618" y="448"/>
                  </a:lnTo>
                  <a:lnTo>
                    <a:pt x="618" y="448"/>
                  </a:lnTo>
                  <a:lnTo>
                    <a:pt x="592" y="426"/>
                  </a:lnTo>
                  <a:lnTo>
                    <a:pt x="562" y="406"/>
                  </a:lnTo>
                  <a:lnTo>
                    <a:pt x="534" y="388"/>
                  </a:lnTo>
                  <a:lnTo>
                    <a:pt x="502" y="374"/>
                  </a:lnTo>
                  <a:lnTo>
                    <a:pt x="468" y="362"/>
                  </a:lnTo>
                  <a:lnTo>
                    <a:pt x="436" y="354"/>
                  </a:lnTo>
                  <a:lnTo>
                    <a:pt x="400" y="348"/>
                  </a:lnTo>
                  <a:lnTo>
                    <a:pt x="366" y="348"/>
                  </a:lnTo>
                  <a:lnTo>
                    <a:pt x="366" y="348"/>
                  </a:lnTo>
                  <a:lnTo>
                    <a:pt x="338" y="348"/>
                  </a:lnTo>
                  <a:lnTo>
                    <a:pt x="312" y="352"/>
                  </a:lnTo>
                  <a:lnTo>
                    <a:pt x="300" y="354"/>
                  </a:lnTo>
                  <a:lnTo>
                    <a:pt x="300" y="354"/>
                  </a:lnTo>
                  <a:lnTo>
                    <a:pt x="268" y="360"/>
                  </a:lnTo>
                  <a:lnTo>
                    <a:pt x="238" y="370"/>
                  </a:lnTo>
                  <a:lnTo>
                    <a:pt x="208" y="382"/>
                  </a:lnTo>
                  <a:lnTo>
                    <a:pt x="180" y="396"/>
                  </a:lnTo>
                  <a:lnTo>
                    <a:pt x="154" y="412"/>
                  </a:lnTo>
                  <a:lnTo>
                    <a:pt x="130" y="432"/>
                  </a:lnTo>
                  <a:lnTo>
                    <a:pt x="108" y="452"/>
                  </a:lnTo>
                  <a:lnTo>
                    <a:pt x="86" y="474"/>
                  </a:lnTo>
                  <a:lnTo>
                    <a:pt x="68" y="500"/>
                  </a:lnTo>
                  <a:lnTo>
                    <a:pt x="50" y="526"/>
                  </a:lnTo>
                  <a:lnTo>
                    <a:pt x="36" y="552"/>
                  </a:lnTo>
                  <a:lnTo>
                    <a:pt x="24" y="582"/>
                  </a:lnTo>
                  <a:lnTo>
                    <a:pt x="14" y="612"/>
                  </a:lnTo>
                  <a:lnTo>
                    <a:pt x="6" y="642"/>
                  </a:lnTo>
                  <a:lnTo>
                    <a:pt x="2" y="674"/>
                  </a:lnTo>
                  <a:lnTo>
                    <a:pt x="0" y="708"/>
                  </a:lnTo>
                  <a:lnTo>
                    <a:pt x="0" y="720"/>
                  </a:lnTo>
                  <a:lnTo>
                    <a:pt x="0" y="720"/>
                  </a:lnTo>
                  <a:lnTo>
                    <a:pt x="2" y="756"/>
                  </a:lnTo>
                  <a:lnTo>
                    <a:pt x="8" y="790"/>
                  </a:lnTo>
                  <a:lnTo>
                    <a:pt x="16" y="824"/>
                  </a:lnTo>
                  <a:lnTo>
                    <a:pt x="28" y="858"/>
                  </a:lnTo>
                  <a:lnTo>
                    <a:pt x="42" y="888"/>
                  </a:lnTo>
                  <a:lnTo>
                    <a:pt x="60" y="918"/>
                  </a:lnTo>
                  <a:lnTo>
                    <a:pt x="80" y="944"/>
                  </a:lnTo>
                  <a:lnTo>
                    <a:pt x="102" y="970"/>
                  </a:lnTo>
                  <a:lnTo>
                    <a:pt x="126" y="994"/>
                  </a:lnTo>
                  <a:lnTo>
                    <a:pt x="154" y="1014"/>
                  </a:lnTo>
                  <a:lnTo>
                    <a:pt x="182" y="1032"/>
                  </a:lnTo>
                  <a:lnTo>
                    <a:pt x="214" y="1048"/>
                  </a:lnTo>
                  <a:lnTo>
                    <a:pt x="246" y="1060"/>
                  </a:lnTo>
                  <a:lnTo>
                    <a:pt x="278" y="1070"/>
                  </a:lnTo>
                  <a:lnTo>
                    <a:pt x="314" y="1076"/>
                  </a:lnTo>
                  <a:lnTo>
                    <a:pt x="350" y="1080"/>
                  </a:lnTo>
                  <a:lnTo>
                    <a:pt x="356" y="1078"/>
                  </a:lnTo>
                  <a:lnTo>
                    <a:pt x="350" y="1080"/>
                  </a:lnTo>
                  <a:lnTo>
                    <a:pt x="1168" y="1080"/>
                  </a:lnTo>
                  <a:lnTo>
                    <a:pt x="1168" y="1080"/>
                  </a:lnTo>
                  <a:lnTo>
                    <a:pt x="1204" y="1078"/>
                  </a:lnTo>
                  <a:lnTo>
                    <a:pt x="1240" y="1072"/>
                  </a:lnTo>
                  <a:lnTo>
                    <a:pt x="1274" y="1064"/>
                  </a:lnTo>
                  <a:lnTo>
                    <a:pt x="1308" y="1052"/>
                  </a:lnTo>
                  <a:lnTo>
                    <a:pt x="1340" y="1036"/>
                  </a:lnTo>
                  <a:lnTo>
                    <a:pt x="1370" y="1018"/>
                  </a:lnTo>
                  <a:lnTo>
                    <a:pt x="1396" y="998"/>
                  </a:lnTo>
                  <a:lnTo>
                    <a:pt x="1422" y="974"/>
                  </a:lnTo>
                  <a:lnTo>
                    <a:pt x="1446" y="948"/>
                  </a:lnTo>
                  <a:lnTo>
                    <a:pt x="1466" y="920"/>
                  </a:lnTo>
                  <a:lnTo>
                    <a:pt x="1484" y="892"/>
                  </a:lnTo>
                  <a:lnTo>
                    <a:pt x="1500" y="860"/>
                  </a:lnTo>
                  <a:lnTo>
                    <a:pt x="1512" y="826"/>
                  </a:lnTo>
                  <a:lnTo>
                    <a:pt x="1520" y="792"/>
                  </a:lnTo>
                  <a:lnTo>
                    <a:pt x="1526" y="756"/>
                  </a:lnTo>
                  <a:lnTo>
                    <a:pt x="1528" y="720"/>
                  </a:lnTo>
                  <a:lnTo>
                    <a:pt x="1528" y="708"/>
                  </a:lnTo>
                  <a:lnTo>
                    <a:pt x="1528" y="708"/>
                  </a:lnTo>
                  <a:lnTo>
                    <a:pt x="1526" y="670"/>
                  </a:lnTo>
                  <a:lnTo>
                    <a:pt x="1520" y="636"/>
                  </a:lnTo>
                  <a:lnTo>
                    <a:pt x="1512" y="600"/>
                  </a:lnTo>
                  <a:lnTo>
                    <a:pt x="1500" y="568"/>
                  </a:lnTo>
                  <a:lnTo>
                    <a:pt x="1484" y="536"/>
                  </a:lnTo>
                  <a:lnTo>
                    <a:pt x="1466" y="506"/>
                  </a:lnTo>
                  <a:lnTo>
                    <a:pt x="1446" y="478"/>
                  </a:lnTo>
                  <a:lnTo>
                    <a:pt x="1422" y="452"/>
                  </a:lnTo>
                  <a:lnTo>
                    <a:pt x="1396" y="430"/>
                  </a:lnTo>
                  <a:lnTo>
                    <a:pt x="1370" y="408"/>
                  </a:lnTo>
                  <a:lnTo>
                    <a:pt x="1340" y="390"/>
                  </a:lnTo>
                  <a:lnTo>
                    <a:pt x="1308" y="376"/>
                  </a:lnTo>
                  <a:lnTo>
                    <a:pt x="1274" y="364"/>
                  </a:lnTo>
                  <a:lnTo>
                    <a:pt x="1240" y="354"/>
                  </a:lnTo>
                  <a:lnTo>
                    <a:pt x="1204" y="350"/>
                  </a:lnTo>
                  <a:lnTo>
                    <a:pt x="1168" y="348"/>
                  </a:lnTo>
                  <a:lnTo>
                    <a:pt x="1168" y="3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41"/>
            <p:cNvSpPr>
              <a:spLocks/>
            </p:cNvSpPr>
            <p:nvPr/>
          </p:nvSpPr>
          <p:spPr bwMode="auto">
            <a:xfrm>
              <a:off x="6033629" y="1707255"/>
              <a:ext cx="143222" cy="89895"/>
            </a:xfrm>
            <a:custGeom>
              <a:avLst/>
              <a:gdLst>
                <a:gd name="T0" fmla="*/ 0 w 564"/>
                <a:gd name="T1" fmla="*/ 206 h 354"/>
                <a:gd name="T2" fmla="*/ 408 w 564"/>
                <a:gd name="T3" fmla="*/ 216 h 354"/>
                <a:gd name="T4" fmla="*/ 328 w 564"/>
                <a:gd name="T5" fmla="*/ 296 h 354"/>
                <a:gd name="T6" fmla="*/ 388 w 564"/>
                <a:gd name="T7" fmla="*/ 354 h 354"/>
                <a:gd name="T8" fmla="*/ 564 w 564"/>
                <a:gd name="T9" fmla="*/ 178 h 354"/>
                <a:gd name="T10" fmla="*/ 564 w 564"/>
                <a:gd name="T11" fmla="*/ 176 h 354"/>
                <a:gd name="T12" fmla="*/ 564 w 564"/>
                <a:gd name="T13" fmla="*/ 176 h 354"/>
                <a:gd name="T14" fmla="*/ 386 w 564"/>
                <a:gd name="T15" fmla="*/ 0 h 354"/>
                <a:gd name="T16" fmla="*/ 326 w 564"/>
                <a:gd name="T17" fmla="*/ 60 h 354"/>
                <a:gd name="T18" fmla="*/ 398 w 564"/>
                <a:gd name="T19" fmla="*/ 130 h 354"/>
                <a:gd name="T20" fmla="*/ 0 w 564"/>
                <a:gd name="T21" fmla="*/ 122 h 354"/>
                <a:gd name="T22" fmla="*/ 0 w 564"/>
                <a:gd name="T23" fmla="*/ 20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4" h="354">
                  <a:moveTo>
                    <a:pt x="0" y="206"/>
                  </a:moveTo>
                  <a:lnTo>
                    <a:pt x="408" y="216"/>
                  </a:lnTo>
                  <a:lnTo>
                    <a:pt x="328" y="296"/>
                  </a:lnTo>
                  <a:lnTo>
                    <a:pt x="388" y="354"/>
                  </a:lnTo>
                  <a:lnTo>
                    <a:pt x="564" y="178"/>
                  </a:lnTo>
                  <a:lnTo>
                    <a:pt x="564" y="176"/>
                  </a:lnTo>
                  <a:lnTo>
                    <a:pt x="564" y="176"/>
                  </a:lnTo>
                  <a:lnTo>
                    <a:pt x="386" y="0"/>
                  </a:lnTo>
                  <a:lnTo>
                    <a:pt x="326" y="60"/>
                  </a:lnTo>
                  <a:lnTo>
                    <a:pt x="398" y="130"/>
                  </a:lnTo>
                  <a:lnTo>
                    <a:pt x="0" y="122"/>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75"/>
          <p:cNvSpPr>
            <a:spLocks noChangeArrowheads="1"/>
          </p:cNvSpPr>
          <p:nvPr/>
        </p:nvSpPr>
        <p:spPr bwMode="auto">
          <a:xfrm>
            <a:off x="6907695" y="1699234"/>
            <a:ext cx="347763" cy="304857"/>
          </a:xfrm>
          <a:custGeom>
            <a:avLst/>
            <a:gdLst>
              <a:gd name="T0" fmla="*/ 1336 w 1360"/>
              <a:gd name="T1" fmla="*/ 1045 h 1192"/>
              <a:gd name="T2" fmla="*/ 763 w 1360"/>
              <a:gd name="T3" fmla="*/ 54 h 1192"/>
              <a:gd name="T4" fmla="*/ 679 w 1360"/>
              <a:gd name="T5" fmla="*/ 0 h 1192"/>
              <a:gd name="T6" fmla="*/ 596 w 1360"/>
              <a:gd name="T7" fmla="*/ 54 h 1192"/>
              <a:gd name="T8" fmla="*/ 22 w 1360"/>
              <a:gd name="T9" fmla="*/ 1045 h 1192"/>
              <a:gd name="T10" fmla="*/ 16 w 1360"/>
              <a:gd name="T11" fmla="*/ 1147 h 1192"/>
              <a:gd name="T12" fmla="*/ 106 w 1360"/>
              <a:gd name="T13" fmla="*/ 1191 h 1192"/>
              <a:gd name="T14" fmla="*/ 1253 w 1360"/>
              <a:gd name="T15" fmla="*/ 1191 h 1192"/>
              <a:gd name="T16" fmla="*/ 1342 w 1360"/>
              <a:gd name="T17" fmla="*/ 1147 h 1192"/>
              <a:gd name="T18" fmla="*/ 1336 w 1360"/>
              <a:gd name="T19" fmla="*/ 1045 h 1192"/>
              <a:gd name="T20" fmla="*/ 658 w 1360"/>
              <a:gd name="T21" fmla="*/ 91 h 1192"/>
              <a:gd name="T22" fmla="*/ 679 w 1360"/>
              <a:gd name="T23" fmla="*/ 73 h 1192"/>
              <a:gd name="T24" fmla="*/ 700 w 1360"/>
              <a:gd name="T25" fmla="*/ 91 h 1192"/>
              <a:gd name="T26" fmla="*/ 882 w 1360"/>
              <a:gd name="T27" fmla="*/ 406 h 1192"/>
              <a:gd name="T28" fmla="*/ 476 w 1360"/>
              <a:gd name="T29" fmla="*/ 406 h 1192"/>
              <a:gd name="T30" fmla="*/ 658 w 1360"/>
              <a:gd name="T31" fmla="*/ 91 h 1192"/>
              <a:gd name="T32" fmla="*/ 1278 w 1360"/>
              <a:gd name="T33" fmla="*/ 1110 h 1192"/>
              <a:gd name="T34" fmla="*/ 1253 w 1360"/>
              <a:gd name="T35" fmla="*/ 1118 h 1192"/>
              <a:gd name="T36" fmla="*/ 717 w 1360"/>
              <a:gd name="T37" fmla="*/ 1118 h 1192"/>
              <a:gd name="T38" fmla="*/ 717 w 1360"/>
              <a:gd name="T39" fmla="*/ 661 h 1192"/>
              <a:gd name="T40" fmla="*/ 772 w 1360"/>
              <a:gd name="T41" fmla="*/ 716 h 1192"/>
              <a:gd name="T42" fmla="*/ 797 w 1360"/>
              <a:gd name="T43" fmla="*/ 726 h 1192"/>
              <a:gd name="T44" fmla="*/ 823 w 1360"/>
              <a:gd name="T45" fmla="*/ 716 h 1192"/>
              <a:gd name="T46" fmla="*/ 823 w 1360"/>
              <a:gd name="T47" fmla="*/ 664 h 1192"/>
              <a:gd name="T48" fmla="*/ 706 w 1360"/>
              <a:gd name="T49" fmla="*/ 547 h 1192"/>
              <a:gd name="T50" fmla="*/ 658 w 1360"/>
              <a:gd name="T51" fmla="*/ 546 h 1192"/>
              <a:gd name="T52" fmla="*/ 652 w 1360"/>
              <a:gd name="T53" fmla="*/ 550 h 1192"/>
              <a:gd name="T54" fmla="*/ 533 w 1360"/>
              <a:gd name="T55" fmla="*/ 667 h 1192"/>
              <a:gd name="T56" fmla="*/ 533 w 1360"/>
              <a:gd name="T57" fmla="*/ 719 h 1192"/>
              <a:gd name="T58" fmla="*/ 559 w 1360"/>
              <a:gd name="T59" fmla="*/ 729 h 1192"/>
              <a:gd name="T60" fmla="*/ 585 w 1360"/>
              <a:gd name="T61" fmla="*/ 719 h 1192"/>
              <a:gd name="T62" fmla="*/ 644 w 1360"/>
              <a:gd name="T63" fmla="*/ 661 h 1192"/>
              <a:gd name="T64" fmla="*/ 644 w 1360"/>
              <a:gd name="T65" fmla="*/ 1118 h 1192"/>
              <a:gd name="T66" fmla="*/ 106 w 1360"/>
              <a:gd name="T67" fmla="*/ 1118 h 1192"/>
              <a:gd name="T68" fmla="*/ 78 w 1360"/>
              <a:gd name="T69" fmla="*/ 1110 h 1192"/>
              <a:gd name="T70" fmla="*/ 84 w 1360"/>
              <a:gd name="T71" fmla="*/ 1083 h 1192"/>
              <a:gd name="T72" fmla="*/ 219 w 1360"/>
              <a:gd name="T73" fmla="*/ 851 h 1192"/>
              <a:gd name="T74" fmla="*/ 570 w 1360"/>
              <a:gd name="T75" fmla="*/ 851 h 1192"/>
              <a:gd name="T76" fmla="*/ 570 w 1360"/>
              <a:gd name="T77" fmla="*/ 778 h 1192"/>
              <a:gd name="T78" fmla="*/ 260 w 1360"/>
              <a:gd name="T79" fmla="*/ 778 h 1192"/>
              <a:gd name="T80" fmla="*/ 433 w 1360"/>
              <a:gd name="T81" fmla="*/ 479 h 1192"/>
              <a:gd name="T82" fmla="*/ 925 w 1360"/>
              <a:gd name="T83" fmla="*/ 479 h 1192"/>
              <a:gd name="T84" fmla="*/ 1096 w 1360"/>
              <a:gd name="T85" fmla="*/ 778 h 1192"/>
              <a:gd name="T86" fmla="*/ 790 w 1360"/>
              <a:gd name="T87" fmla="*/ 778 h 1192"/>
              <a:gd name="T88" fmla="*/ 790 w 1360"/>
              <a:gd name="T89" fmla="*/ 851 h 1192"/>
              <a:gd name="T90" fmla="*/ 1139 w 1360"/>
              <a:gd name="T91" fmla="*/ 851 h 1192"/>
              <a:gd name="T92" fmla="*/ 1272 w 1360"/>
              <a:gd name="T93" fmla="*/ 1083 h 1192"/>
              <a:gd name="T94" fmla="*/ 1278 w 1360"/>
              <a:gd name="T95" fmla="*/ 1110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0" h="1192">
                <a:moveTo>
                  <a:pt x="1336" y="1045"/>
                </a:moveTo>
                <a:lnTo>
                  <a:pt x="763" y="54"/>
                </a:lnTo>
                <a:cubicBezTo>
                  <a:pt x="743" y="19"/>
                  <a:pt x="712" y="0"/>
                  <a:pt x="679" y="0"/>
                </a:cubicBezTo>
                <a:cubicBezTo>
                  <a:pt x="646" y="0"/>
                  <a:pt x="615" y="19"/>
                  <a:pt x="596" y="54"/>
                </a:cubicBezTo>
                <a:lnTo>
                  <a:pt x="22" y="1045"/>
                </a:lnTo>
                <a:cubicBezTo>
                  <a:pt x="1" y="1081"/>
                  <a:pt x="0" y="1119"/>
                  <a:pt x="16" y="1147"/>
                </a:cubicBezTo>
                <a:cubicBezTo>
                  <a:pt x="32" y="1175"/>
                  <a:pt x="65" y="1191"/>
                  <a:pt x="106" y="1191"/>
                </a:cubicBezTo>
                <a:lnTo>
                  <a:pt x="1253" y="1191"/>
                </a:lnTo>
                <a:cubicBezTo>
                  <a:pt x="1294" y="1191"/>
                  <a:pt x="1325" y="1174"/>
                  <a:pt x="1342" y="1147"/>
                </a:cubicBezTo>
                <a:cubicBezTo>
                  <a:pt x="1359" y="1118"/>
                  <a:pt x="1356" y="1081"/>
                  <a:pt x="1336" y="1045"/>
                </a:cubicBezTo>
                <a:close/>
                <a:moveTo>
                  <a:pt x="658" y="91"/>
                </a:moveTo>
                <a:cubicBezTo>
                  <a:pt x="665" y="79"/>
                  <a:pt x="675" y="73"/>
                  <a:pt x="679" y="73"/>
                </a:cubicBezTo>
                <a:cubicBezTo>
                  <a:pt x="684" y="73"/>
                  <a:pt x="693" y="79"/>
                  <a:pt x="700" y="91"/>
                </a:cubicBezTo>
                <a:lnTo>
                  <a:pt x="882" y="406"/>
                </a:lnTo>
                <a:lnTo>
                  <a:pt x="476" y="406"/>
                </a:lnTo>
                <a:lnTo>
                  <a:pt x="658" y="91"/>
                </a:lnTo>
                <a:close/>
                <a:moveTo>
                  <a:pt x="1278" y="1110"/>
                </a:moveTo>
                <a:cubicBezTo>
                  <a:pt x="1277" y="1113"/>
                  <a:pt x="1268" y="1118"/>
                  <a:pt x="1253" y="1118"/>
                </a:cubicBezTo>
                <a:lnTo>
                  <a:pt x="717" y="1118"/>
                </a:lnTo>
                <a:lnTo>
                  <a:pt x="717" y="661"/>
                </a:lnTo>
                <a:lnTo>
                  <a:pt x="772" y="716"/>
                </a:lnTo>
                <a:cubicBezTo>
                  <a:pt x="779" y="723"/>
                  <a:pt x="788" y="726"/>
                  <a:pt x="797" y="726"/>
                </a:cubicBezTo>
                <a:cubicBezTo>
                  <a:pt x="808" y="726"/>
                  <a:pt x="817" y="723"/>
                  <a:pt x="823" y="716"/>
                </a:cubicBezTo>
                <a:cubicBezTo>
                  <a:pt x="838" y="702"/>
                  <a:pt x="838" y="679"/>
                  <a:pt x="823" y="664"/>
                </a:cubicBezTo>
                <a:lnTo>
                  <a:pt x="706" y="547"/>
                </a:lnTo>
                <a:cubicBezTo>
                  <a:pt x="693" y="534"/>
                  <a:pt x="672" y="534"/>
                  <a:pt x="658" y="546"/>
                </a:cubicBezTo>
                <a:cubicBezTo>
                  <a:pt x="655" y="547"/>
                  <a:pt x="653" y="549"/>
                  <a:pt x="652" y="550"/>
                </a:cubicBezTo>
                <a:lnTo>
                  <a:pt x="533" y="667"/>
                </a:lnTo>
                <a:cubicBezTo>
                  <a:pt x="520" y="682"/>
                  <a:pt x="520" y="705"/>
                  <a:pt x="533" y="719"/>
                </a:cubicBezTo>
                <a:cubicBezTo>
                  <a:pt x="541" y="726"/>
                  <a:pt x="550" y="729"/>
                  <a:pt x="559" y="729"/>
                </a:cubicBezTo>
                <a:cubicBezTo>
                  <a:pt x="568" y="729"/>
                  <a:pt x="579" y="726"/>
                  <a:pt x="585" y="719"/>
                </a:cubicBezTo>
                <a:lnTo>
                  <a:pt x="644" y="661"/>
                </a:lnTo>
                <a:lnTo>
                  <a:pt x="644" y="1118"/>
                </a:lnTo>
                <a:lnTo>
                  <a:pt x="106" y="1118"/>
                </a:lnTo>
                <a:cubicBezTo>
                  <a:pt x="90" y="1118"/>
                  <a:pt x="81" y="1113"/>
                  <a:pt x="78" y="1110"/>
                </a:cubicBezTo>
                <a:cubicBezTo>
                  <a:pt x="77" y="1106"/>
                  <a:pt x="77" y="1095"/>
                  <a:pt x="84" y="1083"/>
                </a:cubicBezTo>
                <a:lnTo>
                  <a:pt x="219" y="851"/>
                </a:lnTo>
                <a:lnTo>
                  <a:pt x="570" y="851"/>
                </a:lnTo>
                <a:lnTo>
                  <a:pt x="570" y="778"/>
                </a:lnTo>
                <a:lnTo>
                  <a:pt x="260" y="778"/>
                </a:lnTo>
                <a:lnTo>
                  <a:pt x="433" y="479"/>
                </a:lnTo>
                <a:lnTo>
                  <a:pt x="925" y="479"/>
                </a:lnTo>
                <a:lnTo>
                  <a:pt x="1096" y="778"/>
                </a:lnTo>
                <a:lnTo>
                  <a:pt x="790" y="778"/>
                </a:lnTo>
                <a:lnTo>
                  <a:pt x="790" y="851"/>
                </a:lnTo>
                <a:lnTo>
                  <a:pt x="1139" y="851"/>
                </a:lnTo>
                <a:lnTo>
                  <a:pt x="1272" y="1083"/>
                </a:lnTo>
                <a:cubicBezTo>
                  <a:pt x="1280" y="1095"/>
                  <a:pt x="1281" y="1106"/>
                  <a:pt x="1278" y="1110"/>
                </a:cubicBezTo>
                <a:close/>
              </a:path>
            </a:pathLst>
          </a:custGeom>
          <a:solidFill>
            <a:srgbClr val="C01D28"/>
          </a:solidFill>
          <a:ln>
            <a:noFill/>
          </a:ln>
          <a:effectLst/>
        </p:spPr>
        <p:txBody>
          <a:bodyPr wrap="none" anchor="ctr"/>
          <a:lstStyle/>
          <a:p>
            <a:endParaRPr lang="en-US" sz="1350"/>
          </a:p>
        </p:txBody>
      </p:sp>
      <p:sp>
        <p:nvSpPr>
          <p:cNvPr id="34" name="TextBox 33"/>
          <p:cNvSpPr txBox="1"/>
          <p:nvPr/>
        </p:nvSpPr>
        <p:spPr>
          <a:xfrm>
            <a:off x="478895" y="2400211"/>
            <a:ext cx="1469140" cy="258532"/>
          </a:xfrm>
          <a:prstGeom prst="rect">
            <a:avLst/>
          </a:prstGeom>
          <a:noFill/>
        </p:spPr>
        <p:txBody>
          <a:bodyPr wrap="square" lIns="0" rIns="72000" rtlCol="0">
            <a:spAutoFit/>
          </a:bodyPr>
          <a:lstStyle/>
          <a:p>
            <a:pPr defTabSz="914378">
              <a:lnSpc>
                <a:spcPct val="90000"/>
              </a:lnSpc>
              <a:spcAft>
                <a:spcPts val="600"/>
              </a:spcAft>
              <a:buClr>
                <a:schemeClr val="accent2"/>
              </a:buClr>
              <a:buSzPct val="110000"/>
            </a:pPr>
            <a:r>
              <a:rPr lang="en-US" sz="1200" b="1" kern="0">
                <a:latin typeface="+mj-lt"/>
                <a:cs typeface="Arial" panose="020B0604020202020204" pitchFamily="34" charset="0"/>
              </a:rPr>
              <a:t>Subhead is here</a:t>
            </a:r>
          </a:p>
        </p:txBody>
      </p:sp>
      <p:sp>
        <p:nvSpPr>
          <p:cNvPr id="35" name="TextBox 34"/>
          <p:cNvSpPr txBox="1"/>
          <p:nvPr/>
        </p:nvSpPr>
        <p:spPr>
          <a:xfrm>
            <a:off x="3622157" y="2398045"/>
            <a:ext cx="147964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a:t>Add people </a:t>
            </a:r>
            <a:br>
              <a:rPr lang="en-US"/>
            </a:br>
            <a:r>
              <a:rPr lang="en-US"/>
              <a:t>to the things</a:t>
            </a:r>
          </a:p>
        </p:txBody>
      </p:sp>
      <p:sp>
        <p:nvSpPr>
          <p:cNvPr id="37" name="TextBox 36"/>
          <p:cNvSpPr txBox="1"/>
          <p:nvPr/>
        </p:nvSpPr>
        <p:spPr>
          <a:xfrm>
            <a:off x="6775925" y="2400211"/>
            <a:ext cx="150265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a:t>Up your </a:t>
            </a:r>
            <a:br>
              <a:rPr lang="en-US"/>
            </a:br>
            <a:r>
              <a:rPr lang="en-US"/>
              <a:t>business game</a:t>
            </a:r>
          </a:p>
        </p:txBody>
      </p:sp>
      <p:sp>
        <p:nvSpPr>
          <p:cNvPr id="38" name="TextBox 37"/>
          <p:cNvSpPr txBox="1"/>
          <p:nvPr/>
        </p:nvSpPr>
        <p:spPr>
          <a:xfrm>
            <a:off x="5189661" y="2400211"/>
            <a:ext cx="1474329"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a:t>Add things </a:t>
            </a:r>
            <a:br>
              <a:rPr lang="en-US"/>
            </a:br>
            <a:r>
              <a:rPr lang="en-US"/>
              <a:t>to the cloud</a:t>
            </a:r>
          </a:p>
        </p:txBody>
      </p:sp>
      <p:sp>
        <p:nvSpPr>
          <p:cNvPr id="40" name="TextBox 39"/>
          <p:cNvSpPr txBox="1"/>
          <p:nvPr/>
        </p:nvSpPr>
        <p:spPr>
          <a:xfrm>
            <a:off x="2046350" y="2400211"/>
            <a:ext cx="1442723" cy="424732"/>
          </a:xfrm>
          <a:prstGeom prst="rect">
            <a:avLst/>
          </a:prstGeom>
          <a:noFill/>
        </p:spPr>
        <p:txBody>
          <a:bodyPr wrap="square" lIns="0" rtlCol="0">
            <a:spAutoFit/>
          </a:bodyPr>
          <a:lstStyle/>
          <a:p>
            <a:pPr defTabSz="914378">
              <a:lnSpc>
                <a:spcPct val="90000"/>
              </a:lnSpc>
              <a:spcAft>
                <a:spcPts val="600"/>
              </a:spcAft>
              <a:buClr>
                <a:schemeClr val="accent2"/>
              </a:buClr>
              <a:buSzPct val="110000"/>
            </a:pPr>
            <a:r>
              <a:rPr lang="en-US" sz="1200" b="1" kern="0">
                <a:latin typeface="+mj-lt"/>
                <a:cs typeface="Arial" panose="020B0604020202020204" pitchFamily="34" charset="0"/>
              </a:rPr>
              <a:t>Add more things to the journey</a:t>
            </a:r>
          </a:p>
        </p:txBody>
      </p:sp>
      <p:sp>
        <p:nvSpPr>
          <p:cNvPr id="41" name="TextBox 40"/>
          <p:cNvSpPr txBox="1"/>
          <p:nvPr/>
        </p:nvSpPr>
        <p:spPr>
          <a:xfrm>
            <a:off x="478895" y="2862806"/>
            <a:ext cx="1690516"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a:solidFill>
                  <a:schemeClr val="tx1"/>
                </a:solidFill>
              </a:rPr>
              <a:t>Lorem ipsum</a:t>
            </a:r>
          </a:p>
          <a:p>
            <a:r>
              <a:rPr lang="en-US">
                <a:solidFill>
                  <a:schemeClr val="tx1"/>
                </a:solidFill>
              </a:rPr>
              <a:t>Dolor sit </a:t>
            </a:r>
            <a:r>
              <a:rPr lang="en-US" err="1">
                <a:solidFill>
                  <a:schemeClr val="tx1"/>
                </a:solidFill>
              </a:rPr>
              <a:t>amet</a:t>
            </a:r>
            <a:endParaRPr lang="en-US">
              <a:solidFill>
                <a:schemeClr val="tx1"/>
              </a:solidFill>
            </a:endParaRPr>
          </a:p>
          <a:p>
            <a:r>
              <a:rPr lang="en-US">
                <a:solidFill>
                  <a:schemeClr val="tx1"/>
                </a:solidFill>
              </a:rPr>
              <a:t>Lorem ipsum</a:t>
            </a:r>
          </a:p>
        </p:txBody>
      </p:sp>
      <p:sp>
        <p:nvSpPr>
          <p:cNvPr id="43" name="TextBox 42"/>
          <p:cNvSpPr txBox="1"/>
          <p:nvPr/>
        </p:nvSpPr>
        <p:spPr>
          <a:xfrm>
            <a:off x="2046349" y="2861283"/>
            <a:ext cx="1716411" cy="789960"/>
          </a:xfrm>
          <a:prstGeom prst="rect">
            <a:avLst/>
          </a:prstGeom>
          <a:noFill/>
        </p:spPr>
        <p:txBody>
          <a:bodyPr wrap="square" lIns="0" rtlCol="0">
            <a:spAutoFit/>
          </a:bodyPr>
          <a:lstStyle/>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a:cs typeface="Arial" panose="020B0604020202020204" pitchFamily="34" charset="0"/>
              </a:rPr>
              <a:t>Lorem ipsum</a:t>
            </a: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a:cs typeface="Arial" panose="020B0604020202020204" pitchFamily="34" charset="0"/>
              </a:rPr>
              <a:t>Dolor sit </a:t>
            </a:r>
            <a:r>
              <a:rPr lang="en-US" sz="1000" kern="0" err="1">
                <a:cs typeface="Arial" panose="020B0604020202020204" pitchFamily="34" charset="0"/>
              </a:rPr>
              <a:t>amet</a:t>
            </a:r>
            <a:endParaRPr lang="en-US" sz="1000" kern="0">
              <a:cs typeface="Arial" panose="020B0604020202020204" pitchFamily="34" charset="0"/>
            </a:endParaRP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a:cs typeface="Arial" panose="020B0604020202020204" pitchFamily="34" charset="0"/>
              </a:rPr>
              <a:t>Lorem ipsum</a:t>
            </a:r>
          </a:p>
        </p:txBody>
      </p:sp>
      <p:sp>
        <p:nvSpPr>
          <p:cNvPr id="44" name="TextBox 43"/>
          <p:cNvSpPr txBox="1"/>
          <p:nvPr/>
        </p:nvSpPr>
        <p:spPr>
          <a:xfrm>
            <a:off x="3622157" y="2866156"/>
            <a:ext cx="1708057"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a:solidFill>
                  <a:schemeClr val="tx1"/>
                </a:solidFill>
              </a:rPr>
              <a:t>Lorem ipsum</a:t>
            </a:r>
          </a:p>
          <a:p>
            <a:r>
              <a:rPr lang="en-US">
                <a:solidFill>
                  <a:schemeClr val="tx1"/>
                </a:solidFill>
              </a:rPr>
              <a:t>Dolor sit </a:t>
            </a:r>
            <a:r>
              <a:rPr lang="en-US" err="1">
                <a:solidFill>
                  <a:schemeClr val="tx1"/>
                </a:solidFill>
              </a:rPr>
              <a:t>amet</a:t>
            </a:r>
            <a:endParaRPr lang="en-US">
              <a:solidFill>
                <a:schemeClr val="tx1"/>
              </a:solidFill>
            </a:endParaRPr>
          </a:p>
          <a:p>
            <a:r>
              <a:rPr lang="en-US">
                <a:solidFill>
                  <a:schemeClr val="tx1"/>
                </a:solidFill>
              </a:rPr>
              <a:t>Lorem ipsum</a:t>
            </a:r>
          </a:p>
        </p:txBody>
      </p:sp>
      <p:sp>
        <p:nvSpPr>
          <p:cNvPr id="45" name="TextBox 44"/>
          <p:cNvSpPr txBox="1"/>
          <p:nvPr/>
        </p:nvSpPr>
        <p:spPr>
          <a:xfrm>
            <a:off x="5189662" y="2844834"/>
            <a:ext cx="1718033"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a:solidFill>
                  <a:schemeClr val="tx1"/>
                </a:solidFill>
              </a:rPr>
              <a:t>Lorem ipsum</a:t>
            </a:r>
          </a:p>
          <a:p>
            <a:r>
              <a:rPr lang="en-US">
                <a:solidFill>
                  <a:schemeClr val="tx1"/>
                </a:solidFill>
              </a:rPr>
              <a:t>Dolor sit </a:t>
            </a:r>
            <a:r>
              <a:rPr lang="en-US" err="1">
                <a:solidFill>
                  <a:schemeClr val="tx1"/>
                </a:solidFill>
              </a:rPr>
              <a:t>amet</a:t>
            </a:r>
            <a:endParaRPr lang="en-US">
              <a:solidFill>
                <a:schemeClr val="tx1"/>
              </a:solidFill>
            </a:endParaRPr>
          </a:p>
          <a:p>
            <a:r>
              <a:rPr lang="en-US">
                <a:solidFill>
                  <a:schemeClr val="tx1"/>
                </a:solidFill>
              </a:rPr>
              <a:t>Lorem ipsum</a:t>
            </a:r>
          </a:p>
        </p:txBody>
      </p:sp>
      <p:sp>
        <p:nvSpPr>
          <p:cNvPr id="47" name="TextBox 46"/>
          <p:cNvSpPr txBox="1"/>
          <p:nvPr/>
        </p:nvSpPr>
        <p:spPr>
          <a:xfrm>
            <a:off x="6775925" y="2850055"/>
            <a:ext cx="1703230"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a:solidFill>
                  <a:schemeClr val="tx1"/>
                </a:solidFill>
              </a:rPr>
              <a:t>Lorem ipsum</a:t>
            </a:r>
          </a:p>
          <a:p>
            <a:r>
              <a:rPr lang="en-US">
                <a:solidFill>
                  <a:schemeClr val="tx1"/>
                </a:solidFill>
              </a:rPr>
              <a:t>Dolor sit </a:t>
            </a:r>
            <a:r>
              <a:rPr lang="en-US" err="1">
                <a:solidFill>
                  <a:schemeClr val="tx1"/>
                </a:solidFill>
              </a:rPr>
              <a:t>amet</a:t>
            </a:r>
            <a:endParaRPr lang="en-US">
              <a:solidFill>
                <a:schemeClr val="tx1"/>
              </a:solidFill>
            </a:endParaRPr>
          </a:p>
          <a:p>
            <a:r>
              <a:rPr lang="en-US">
                <a:solidFill>
                  <a:schemeClr val="tx1"/>
                </a:solidFill>
              </a:rPr>
              <a:t>Lorem ipsum</a:t>
            </a:r>
          </a:p>
        </p:txBody>
      </p:sp>
    </p:spTree>
    <p:extLst>
      <p:ext uri="{BB962C8B-B14F-4D97-AF65-F5344CB8AC3E}">
        <p14:creationId xmlns:p14="http://schemas.microsoft.com/office/powerpoint/2010/main" val="39254885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r>
              <a:rPr lang="en-US">
                <a:solidFill>
                  <a:schemeClr val="accent1"/>
                </a:solidFill>
              </a:rPr>
              <a:t>Hierarchy layout</a:t>
            </a:r>
          </a:p>
        </p:txBody>
      </p:sp>
      <p:sp>
        <p:nvSpPr>
          <p:cNvPr id="6" name="Rounded Rectangle 5"/>
          <p:cNvSpPr/>
          <p:nvPr/>
        </p:nvSpPr>
        <p:spPr>
          <a:xfrm>
            <a:off x="2789299"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7" name="TextBox 6"/>
          <p:cNvSpPr txBox="1"/>
          <p:nvPr/>
        </p:nvSpPr>
        <p:spPr>
          <a:xfrm flipH="1">
            <a:off x="2988045" y="3304189"/>
            <a:ext cx="1161150" cy="153888"/>
          </a:xfrm>
          <a:prstGeom prst="rect">
            <a:avLst/>
          </a:prstGeom>
          <a:noFill/>
        </p:spPr>
        <p:txBody>
          <a:bodyPr wrap="square" lIns="0" tIns="0" rIns="0" bIns="0" rtlCol="0" anchor="ctr">
            <a:spAutoFit/>
          </a:bodyPr>
          <a:lstStyle/>
          <a:p>
            <a:pPr algn="ctr"/>
            <a:r>
              <a:rPr lang="en-AU" sz="1000" b="1">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8" name="Text Placeholder 32"/>
          <p:cNvSpPr txBox="1">
            <a:spLocks/>
          </p:cNvSpPr>
          <p:nvPr/>
        </p:nvSpPr>
        <p:spPr>
          <a:xfrm flipH="1">
            <a:off x="2988044"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a:latin typeface="Arial" panose="020B0604020202020204" pitchFamily="34" charset="0"/>
                <a:cs typeface="Arial" panose="020B0604020202020204" pitchFamily="34" charset="0"/>
              </a:rPr>
              <a:t>Lorem ipsum </a:t>
            </a:r>
            <a:r>
              <a:rPr lang="en-US" sz="800" spc="10" err="1">
                <a:latin typeface="Arial" panose="020B0604020202020204" pitchFamily="34" charset="0"/>
                <a:cs typeface="Arial" panose="020B0604020202020204" pitchFamily="34" charset="0"/>
              </a:rPr>
              <a:t>amet</a:t>
            </a:r>
            <a:r>
              <a:rPr lang="en-US" sz="800" spc="10">
                <a:latin typeface="Arial" panose="020B0604020202020204" pitchFamily="34" charset="0"/>
                <a:cs typeface="Arial" panose="020B0604020202020204" pitchFamily="34" charset="0"/>
              </a:rPr>
              <a:t>,</a:t>
            </a:r>
          </a:p>
          <a:p>
            <a:pPr marL="0" indent="0" algn="ctr">
              <a:lnSpc>
                <a:spcPct val="130000"/>
              </a:lnSpc>
              <a:spcBef>
                <a:spcPts val="0"/>
              </a:spcBef>
              <a:buNone/>
            </a:pPr>
            <a:r>
              <a:rPr lang="en-US" sz="800" spc="10" err="1">
                <a:latin typeface="Arial" panose="020B0604020202020204" pitchFamily="34" charset="0"/>
                <a:cs typeface="Arial" panose="020B0604020202020204" pitchFamily="34" charset="0"/>
              </a:rPr>
              <a:t>consectetu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tempo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incididun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ut</a:t>
            </a:r>
            <a:endParaRPr lang="en-US" sz="800" spc="10">
              <a:latin typeface="Arial" panose="020B0604020202020204" pitchFamily="34" charset="0"/>
              <a:cs typeface="Arial" panose="020B0604020202020204" pitchFamily="34" charset="0"/>
            </a:endParaRPr>
          </a:p>
        </p:txBody>
      </p:sp>
      <p:sp>
        <p:nvSpPr>
          <p:cNvPr id="9" name="Rounded Rectangle 8"/>
          <p:cNvSpPr/>
          <p:nvPr/>
        </p:nvSpPr>
        <p:spPr>
          <a:xfrm>
            <a:off x="894936"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0" name="TextBox 9"/>
          <p:cNvSpPr txBox="1"/>
          <p:nvPr/>
        </p:nvSpPr>
        <p:spPr>
          <a:xfrm flipH="1">
            <a:off x="1093682" y="3304189"/>
            <a:ext cx="1161150" cy="153888"/>
          </a:xfrm>
          <a:prstGeom prst="rect">
            <a:avLst/>
          </a:prstGeom>
          <a:noFill/>
        </p:spPr>
        <p:txBody>
          <a:bodyPr wrap="square" lIns="0" tIns="0" rIns="0" bIns="0" rtlCol="0" anchor="ctr">
            <a:spAutoFit/>
          </a:bodyPr>
          <a:lstStyle/>
          <a:p>
            <a:pPr algn="ctr"/>
            <a:r>
              <a:rPr lang="en-AU" sz="1000" b="1">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1" name="Text Placeholder 32"/>
          <p:cNvSpPr txBox="1">
            <a:spLocks/>
          </p:cNvSpPr>
          <p:nvPr/>
        </p:nvSpPr>
        <p:spPr>
          <a:xfrm flipH="1">
            <a:off x="1093681"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a:latin typeface="Arial" panose="020B0604020202020204" pitchFamily="34" charset="0"/>
                <a:cs typeface="Arial" panose="020B0604020202020204" pitchFamily="34" charset="0"/>
              </a:rPr>
              <a:t>Lorem ipsum dolor sit </a:t>
            </a:r>
            <a:r>
              <a:rPr lang="en-US" sz="800" spc="10" err="1">
                <a:latin typeface="Arial" panose="020B0604020202020204" pitchFamily="34" charset="0"/>
                <a:cs typeface="Arial" panose="020B0604020202020204" pitchFamily="34" charset="0"/>
              </a:rPr>
              <a:t>consectetu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dipiscing</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li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sed</a:t>
            </a:r>
            <a:r>
              <a:rPr lang="en-US" sz="800" spc="10">
                <a:latin typeface="Arial" panose="020B0604020202020204" pitchFamily="34" charset="0"/>
                <a:cs typeface="Arial" panose="020B0604020202020204" pitchFamily="34" charset="0"/>
              </a:rPr>
              <a:t> do </a:t>
            </a:r>
            <a:r>
              <a:rPr lang="en-US" sz="800" spc="10" err="1">
                <a:latin typeface="Arial" panose="020B0604020202020204" pitchFamily="34" charset="0"/>
                <a:cs typeface="Arial" panose="020B0604020202020204" pitchFamily="34" charset="0"/>
              </a:rPr>
              <a:t>eiusmod</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tempo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incididun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ut</a:t>
            </a:r>
            <a:endParaRPr lang="en-US" sz="800" spc="10">
              <a:latin typeface="Arial" panose="020B0604020202020204" pitchFamily="34" charset="0"/>
              <a:cs typeface="Arial" panose="020B0604020202020204" pitchFamily="34" charset="0"/>
            </a:endParaRPr>
          </a:p>
        </p:txBody>
      </p:sp>
      <p:sp>
        <p:nvSpPr>
          <p:cNvPr id="12" name="Rounded Rectangle 11"/>
          <p:cNvSpPr/>
          <p:nvPr/>
        </p:nvSpPr>
        <p:spPr>
          <a:xfrm>
            <a:off x="4681247"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3" name="TextBox 12"/>
          <p:cNvSpPr txBox="1"/>
          <p:nvPr/>
        </p:nvSpPr>
        <p:spPr>
          <a:xfrm flipH="1">
            <a:off x="4879993" y="3304189"/>
            <a:ext cx="1161150" cy="153888"/>
          </a:xfrm>
          <a:prstGeom prst="rect">
            <a:avLst/>
          </a:prstGeom>
          <a:noFill/>
        </p:spPr>
        <p:txBody>
          <a:bodyPr wrap="square" lIns="0" tIns="0" rIns="0" bIns="0" rtlCol="0" anchor="ctr">
            <a:spAutoFit/>
          </a:bodyPr>
          <a:lstStyle/>
          <a:p>
            <a:pPr algn="ctr"/>
            <a:r>
              <a:rPr lang="en-AU" sz="1000" b="1">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4" name="Text Placeholder 32"/>
          <p:cNvSpPr txBox="1">
            <a:spLocks/>
          </p:cNvSpPr>
          <p:nvPr/>
        </p:nvSpPr>
        <p:spPr>
          <a:xfrm flipH="1">
            <a:off x="4879992"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err="1">
                <a:latin typeface="Arial" panose="020B0604020202020204" pitchFamily="34" charset="0"/>
                <a:cs typeface="Arial" panose="020B0604020202020204" pitchFamily="34" charset="0"/>
              </a:rPr>
              <a:t>consectetu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dipiscing</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li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sed</a:t>
            </a:r>
            <a:r>
              <a:rPr lang="en-US" sz="800" spc="10">
                <a:latin typeface="Arial" panose="020B0604020202020204" pitchFamily="34" charset="0"/>
                <a:cs typeface="Arial" panose="020B0604020202020204" pitchFamily="34" charset="0"/>
              </a:rPr>
              <a:t> do </a:t>
            </a:r>
            <a:r>
              <a:rPr lang="en-US" sz="800" spc="10" err="1">
                <a:latin typeface="Arial" panose="020B0604020202020204" pitchFamily="34" charset="0"/>
                <a:cs typeface="Arial" panose="020B0604020202020204" pitchFamily="34" charset="0"/>
              </a:rPr>
              <a:t>eiusmod</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tempo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incididun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ut</a:t>
            </a:r>
            <a:endParaRPr lang="en-US" sz="800" spc="10">
              <a:latin typeface="Arial" panose="020B0604020202020204" pitchFamily="34" charset="0"/>
              <a:cs typeface="Arial" panose="020B0604020202020204" pitchFamily="34" charset="0"/>
            </a:endParaRPr>
          </a:p>
        </p:txBody>
      </p:sp>
      <p:sp>
        <p:nvSpPr>
          <p:cNvPr id="15" name="Rounded Rectangle 14"/>
          <p:cNvSpPr/>
          <p:nvPr/>
        </p:nvSpPr>
        <p:spPr>
          <a:xfrm>
            <a:off x="6573195"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6" name="TextBox 15"/>
          <p:cNvSpPr txBox="1"/>
          <p:nvPr/>
        </p:nvSpPr>
        <p:spPr>
          <a:xfrm flipH="1">
            <a:off x="6771941" y="3304189"/>
            <a:ext cx="1161150" cy="153888"/>
          </a:xfrm>
          <a:prstGeom prst="rect">
            <a:avLst/>
          </a:prstGeom>
          <a:noFill/>
        </p:spPr>
        <p:txBody>
          <a:bodyPr wrap="square" lIns="0" tIns="0" rIns="0" bIns="0" rtlCol="0" anchor="ctr">
            <a:spAutoFit/>
          </a:bodyPr>
          <a:lstStyle/>
          <a:p>
            <a:pPr algn="ctr"/>
            <a:r>
              <a:rPr lang="en-AU" sz="1000" b="1">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7" name="Text Placeholder 32"/>
          <p:cNvSpPr txBox="1">
            <a:spLocks/>
          </p:cNvSpPr>
          <p:nvPr/>
        </p:nvSpPr>
        <p:spPr>
          <a:xfrm flipH="1">
            <a:off x="6771940"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err="1">
                <a:latin typeface="Arial" panose="020B0604020202020204" pitchFamily="34" charset="0"/>
                <a:cs typeface="Arial" panose="020B0604020202020204" pitchFamily="34" charset="0"/>
              </a:rPr>
              <a:t>consectetu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dipiscing</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li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sed</a:t>
            </a:r>
            <a:r>
              <a:rPr lang="en-US" sz="800" spc="10">
                <a:latin typeface="Arial" panose="020B0604020202020204" pitchFamily="34" charset="0"/>
                <a:cs typeface="Arial" panose="020B0604020202020204" pitchFamily="34" charset="0"/>
              </a:rPr>
              <a:t> do </a:t>
            </a:r>
            <a:r>
              <a:rPr lang="en-US" sz="800" spc="10" err="1">
                <a:latin typeface="Arial" panose="020B0604020202020204" pitchFamily="34" charset="0"/>
                <a:cs typeface="Arial" panose="020B0604020202020204" pitchFamily="34" charset="0"/>
              </a:rPr>
              <a:t>eiusmod</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tempo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incididun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ut</a:t>
            </a:r>
            <a:endParaRPr lang="en-US" sz="800" spc="10">
              <a:latin typeface="Arial" panose="020B0604020202020204" pitchFamily="34" charset="0"/>
              <a:cs typeface="Arial" panose="020B0604020202020204" pitchFamily="34" charset="0"/>
            </a:endParaRPr>
          </a:p>
        </p:txBody>
      </p:sp>
      <p:grpSp>
        <p:nvGrpSpPr>
          <p:cNvPr id="18" name="Group 17"/>
          <p:cNvGrpSpPr/>
          <p:nvPr/>
        </p:nvGrpSpPr>
        <p:grpSpPr>
          <a:xfrm>
            <a:off x="1672937" y="1860118"/>
            <a:ext cx="5663046" cy="706583"/>
            <a:chOff x="2230582" y="2535381"/>
            <a:chExt cx="7550728" cy="942110"/>
          </a:xfrm>
        </p:grpSpPr>
        <p:cxnSp>
          <p:nvCxnSpPr>
            <p:cNvPr id="19" name="Straight Connector 18"/>
            <p:cNvCxnSpPr/>
            <p:nvPr/>
          </p:nvCxnSpPr>
          <p:spPr>
            <a:xfrm flipV="1">
              <a:off x="2230582"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47521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7273637"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7813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230582" y="3006436"/>
              <a:ext cx="75507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887747" y="2535381"/>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5" name="Oval 19"/>
          <p:cNvSpPr>
            <a:spLocks noChangeArrowheads="1"/>
          </p:cNvSpPr>
          <p:nvPr/>
        </p:nvSpPr>
        <p:spPr bwMode="auto">
          <a:xfrm>
            <a:off x="4041988" y="1150776"/>
            <a:ext cx="746975" cy="744927"/>
          </a:xfrm>
          <a:prstGeom prst="ellipse">
            <a:avLst/>
          </a:prstGeom>
          <a:solidFill>
            <a:srgbClr val="C01D28"/>
          </a:solidFill>
          <a:ln>
            <a:noFill/>
          </a:ln>
        </p:spPr>
        <p:txBody>
          <a:bodyPr vert="horz" wrap="square" lIns="0" tIns="0" rIns="0" bIns="0" numCol="1" anchor="ctr" anchorCtr="0" compatLnSpc="1">
            <a:prstTxWarp prst="textNoShape">
              <a:avLst/>
            </a:prstTxWarp>
          </a:bodyPr>
          <a:lstStyle/>
          <a:p>
            <a:pPr lvl="0" algn="ctr"/>
            <a:r>
              <a:rPr lang="en-US" sz="2100">
                <a:solidFill>
                  <a:schemeClr val="bg1"/>
                </a:solidFill>
                <a:latin typeface="Arial" panose="020B0604020202020204" pitchFamily="34" charset="0"/>
                <a:cs typeface="Arial" panose="020B0604020202020204" pitchFamily="34" charset="0"/>
              </a:rPr>
              <a:t>1</a:t>
            </a:r>
          </a:p>
        </p:txBody>
      </p:sp>
      <p:sp>
        <p:nvSpPr>
          <p:cNvPr id="26" name="Oval 19"/>
          <p:cNvSpPr>
            <a:spLocks noChangeArrowheads="1"/>
          </p:cNvSpPr>
          <p:nvPr/>
        </p:nvSpPr>
        <p:spPr bwMode="auto">
          <a:xfrm>
            <a:off x="1300767" y="2434646"/>
            <a:ext cx="746975" cy="744927"/>
          </a:xfrm>
          <a:prstGeom prst="ellipse">
            <a:avLst/>
          </a:prstGeom>
          <a:solidFill>
            <a:schemeClr val="accent1"/>
          </a:solidFill>
          <a:ln>
            <a:noFill/>
          </a:ln>
        </p:spPr>
        <p:txBody>
          <a:bodyPr vert="horz" wrap="square" lIns="68580" tIns="34290" rIns="68580" bIns="34290" numCol="1" anchor="ctr" anchorCtr="0" compatLnSpc="1">
            <a:prstTxWarp prst="textNoShape">
              <a:avLst/>
            </a:prstTxWarp>
          </a:bodyPr>
          <a:lstStyle/>
          <a:p>
            <a:pPr algn="ctr"/>
            <a:r>
              <a:rPr lang="en-AU">
                <a:solidFill>
                  <a:srgbClr val="FFFFFF"/>
                </a:solidFill>
                <a:latin typeface="Arial" panose="020B0604020202020204" pitchFamily="34" charset="0"/>
                <a:cs typeface="Arial" panose="020B0604020202020204" pitchFamily="34" charset="0"/>
              </a:rPr>
              <a:t>2</a:t>
            </a:r>
            <a:endParaRPr lang="en-US">
              <a:solidFill>
                <a:srgbClr val="FFFFFF"/>
              </a:solidFill>
              <a:latin typeface="Arial" panose="020B0604020202020204" pitchFamily="34" charset="0"/>
              <a:cs typeface="Arial" panose="020B0604020202020204" pitchFamily="34" charset="0"/>
            </a:endParaRPr>
          </a:p>
        </p:txBody>
      </p:sp>
      <p:sp>
        <p:nvSpPr>
          <p:cNvPr id="27" name="Oval 19"/>
          <p:cNvSpPr>
            <a:spLocks noChangeArrowheads="1"/>
          </p:cNvSpPr>
          <p:nvPr/>
        </p:nvSpPr>
        <p:spPr bwMode="auto">
          <a:xfrm>
            <a:off x="3191340" y="2434646"/>
            <a:ext cx="746975" cy="744927"/>
          </a:xfrm>
          <a:prstGeom prst="ellipse">
            <a:avLst/>
          </a:prstGeom>
          <a:solidFill>
            <a:schemeClr val="tx2">
              <a:lumMod val="75000"/>
            </a:schemeClr>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3</a:t>
            </a:r>
            <a:endParaRPr lang="en-US">
              <a:solidFill>
                <a:schemeClr val="bg1"/>
              </a:solidFill>
              <a:latin typeface="Arial" panose="020B0604020202020204" pitchFamily="34" charset="0"/>
              <a:cs typeface="Arial" panose="020B0604020202020204" pitchFamily="34" charset="0"/>
            </a:endParaRPr>
          </a:p>
        </p:txBody>
      </p:sp>
      <p:sp>
        <p:nvSpPr>
          <p:cNvPr id="28" name="Oval 19"/>
          <p:cNvSpPr>
            <a:spLocks noChangeArrowheads="1"/>
          </p:cNvSpPr>
          <p:nvPr/>
        </p:nvSpPr>
        <p:spPr bwMode="auto">
          <a:xfrm>
            <a:off x="5087154" y="2434646"/>
            <a:ext cx="746975" cy="744927"/>
          </a:xfrm>
          <a:prstGeom prst="ellipse">
            <a:avLst/>
          </a:prstGeom>
          <a:solidFill>
            <a:schemeClr val="accent4"/>
          </a:solidFill>
          <a:ln>
            <a:noFill/>
          </a:ln>
        </p:spPr>
        <p:txBody>
          <a:bodyPr vert="horz" wrap="square" lIns="68580" tIns="34290" rIns="68580" bIns="34290" numCol="1" anchor="ctr" anchorCtr="0" compatLnSpc="1">
            <a:prstTxWarp prst="textNoShape">
              <a:avLst/>
            </a:prstTxWarp>
          </a:bodyPr>
          <a:lstStyle/>
          <a:p>
            <a:pPr algn="ctr"/>
            <a:r>
              <a:rPr lang="en-AU">
                <a:solidFill>
                  <a:srgbClr val="FFFFFF"/>
                </a:solidFill>
                <a:latin typeface="Arial" panose="020B0604020202020204" pitchFamily="34" charset="0"/>
                <a:cs typeface="Arial" panose="020B0604020202020204" pitchFamily="34" charset="0"/>
              </a:rPr>
              <a:t>4</a:t>
            </a:r>
          </a:p>
        </p:txBody>
      </p:sp>
      <p:sp>
        <p:nvSpPr>
          <p:cNvPr id="29" name="Oval 19"/>
          <p:cNvSpPr>
            <a:spLocks noChangeArrowheads="1"/>
          </p:cNvSpPr>
          <p:nvPr/>
        </p:nvSpPr>
        <p:spPr bwMode="auto">
          <a:xfrm>
            <a:off x="6980347" y="2434646"/>
            <a:ext cx="746975" cy="744927"/>
          </a:xfrm>
          <a:prstGeom prst="ellipse">
            <a:avLst/>
          </a:prstGeom>
          <a:solidFill>
            <a:schemeClr val="accent5"/>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5</a:t>
            </a:r>
            <a:endParaRPr lang="en-US">
              <a:solidFill>
                <a:schemeClr val="bg1"/>
              </a:solidFill>
              <a:latin typeface="Arial" panose="020B0604020202020204" pitchFamily="34" charset="0"/>
              <a:cs typeface="Arial" panose="020B0604020202020204" pitchFamily="34" charset="0"/>
            </a:endParaRPr>
          </a:p>
        </p:txBody>
      </p:sp>
      <p:sp>
        <p:nvSpPr>
          <p:cNvPr id="30" name="Text Placeholder 32"/>
          <p:cNvSpPr txBox="1">
            <a:spLocks/>
          </p:cNvSpPr>
          <p:nvPr/>
        </p:nvSpPr>
        <p:spPr>
          <a:xfrm>
            <a:off x="2324100" y="1384672"/>
            <a:ext cx="1433256"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lnSpc>
                <a:spcPct val="130000"/>
              </a:lnSpc>
              <a:spcBef>
                <a:spcPts val="0"/>
              </a:spcBef>
              <a:buNone/>
            </a:pPr>
            <a:r>
              <a:rPr lang="en-US" sz="800" spc="10">
                <a:latin typeface="Arial" panose="020B0604020202020204" pitchFamily="34" charset="0"/>
                <a:cs typeface="Arial" panose="020B0604020202020204" pitchFamily="34" charset="0"/>
              </a:rPr>
              <a:t>Lorem ipsum dolor sit </a:t>
            </a:r>
            <a:r>
              <a:rPr lang="en-US" sz="800" spc="10" err="1">
                <a:latin typeface="Arial" panose="020B0604020202020204" pitchFamily="34" charset="0"/>
                <a:cs typeface="Arial" panose="020B0604020202020204" pitchFamily="34" charset="0"/>
              </a:rPr>
              <a:t>amet</a:t>
            </a:r>
            <a:r>
              <a:rPr lang="en-US" sz="800" spc="10">
                <a:latin typeface="Arial" panose="020B0604020202020204" pitchFamily="34" charset="0"/>
                <a:cs typeface="Arial" panose="020B0604020202020204" pitchFamily="34" charset="0"/>
              </a:rPr>
              <a:t>,</a:t>
            </a:r>
          </a:p>
          <a:p>
            <a:pPr marL="0" indent="0" algn="r">
              <a:lnSpc>
                <a:spcPct val="130000"/>
              </a:lnSpc>
              <a:spcBef>
                <a:spcPts val="0"/>
              </a:spcBef>
              <a:buNone/>
            </a:pPr>
            <a:r>
              <a:rPr lang="en-US" sz="800" spc="10" err="1">
                <a:latin typeface="Arial" panose="020B0604020202020204" pitchFamily="34" charset="0"/>
                <a:cs typeface="Arial" panose="020B0604020202020204" pitchFamily="34" charset="0"/>
              </a:rPr>
              <a:t>consectetu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dipiscing</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li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sed</a:t>
            </a:r>
            <a:r>
              <a:rPr lang="en-US" sz="800" spc="10">
                <a:latin typeface="Arial" panose="020B0604020202020204" pitchFamily="34" charset="0"/>
                <a:cs typeface="Arial" panose="020B0604020202020204" pitchFamily="34" charset="0"/>
              </a:rPr>
              <a:t> do </a:t>
            </a:r>
            <a:r>
              <a:rPr lang="en-US" sz="800" spc="10" err="1">
                <a:latin typeface="Arial" panose="020B0604020202020204" pitchFamily="34" charset="0"/>
                <a:cs typeface="Arial" panose="020B0604020202020204" pitchFamily="34" charset="0"/>
              </a:rPr>
              <a:t>eiusmod</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tempor</a:t>
            </a:r>
            <a:endParaRPr lang="en-US" sz="800" spc="10">
              <a:latin typeface="Arial" panose="020B0604020202020204" pitchFamily="34" charset="0"/>
              <a:cs typeface="Arial" panose="020B0604020202020204" pitchFamily="34" charset="0"/>
            </a:endParaRPr>
          </a:p>
        </p:txBody>
      </p:sp>
      <p:sp>
        <p:nvSpPr>
          <p:cNvPr id="31" name="Text Placeholder 32"/>
          <p:cNvSpPr txBox="1">
            <a:spLocks/>
          </p:cNvSpPr>
          <p:nvPr/>
        </p:nvSpPr>
        <p:spPr>
          <a:xfrm>
            <a:off x="5073595" y="1384672"/>
            <a:ext cx="1422455"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800" spc="10">
                <a:latin typeface="Arial" panose="020B0604020202020204" pitchFamily="34" charset="0"/>
                <a:cs typeface="Arial" panose="020B0604020202020204" pitchFamily="34" charset="0"/>
              </a:rPr>
              <a:t>Lorem ipsum dolor sit </a:t>
            </a:r>
            <a:r>
              <a:rPr lang="en-US" sz="800" spc="10" err="1">
                <a:latin typeface="Arial" panose="020B0604020202020204" pitchFamily="34" charset="0"/>
                <a:cs typeface="Arial" panose="020B0604020202020204" pitchFamily="34" charset="0"/>
              </a:rPr>
              <a:t>amet</a:t>
            </a:r>
            <a:r>
              <a:rPr lang="en-US" sz="800" spc="10">
                <a:latin typeface="Arial" panose="020B0604020202020204" pitchFamily="34" charset="0"/>
                <a:cs typeface="Arial" panose="020B0604020202020204" pitchFamily="34" charset="0"/>
              </a:rPr>
              <a:t>,</a:t>
            </a:r>
          </a:p>
          <a:p>
            <a:pPr marL="0" indent="0">
              <a:lnSpc>
                <a:spcPct val="130000"/>
              </a:lnSpc>
              <a:spcBef>
                <a:spcPts val="0"/>
              </a:spcBef>
              <a:buNone/>
            </a:pPr>
            <a:r>
              <a:rPr lang="en-US" sz="800" spc="10" err="1">
                <a:latin typeface="Arial" panose="020B0604020202020204" pitchFamily="34" charset="0"/>
                <a:cs typeface="Arial" panose="020B0604020202020204" pitchFamily="34" charset="0"/>
              </a:rPr>
              <a:t>consectetu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dipiscing</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li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sed</a:t>
            </a:r>
            <a:r>
              <a:rPr lang="en-US" sz="800" spc="10">
                <a:latin typeface="Arial" panose="020B0604020202020204" pitchFamily="34" charset="0"/>
                <a:cs typeface="Arial" panose="020B0604020202020204" pitchFamily="34" charset="0"/>
              </a:rPr>
              <a:t> do </a:t>
            </a:r>
            <a:r>
              <a:rPr lang="en-US" sz="800" spc="10" err="1">
                <a:latin typeface="Arial" panose="020B0604020202020204" pitchFamily="34" charset="0"/>
                <a:cs typeface="Arial" panose="020B0604020202020204" pitchFamily="34" charset="0"/>
              </a:rPr>
              <a:t>eiusmod</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tempor</a:t>
            </a:r>
            <a:endParaRPr lang="en-US" sz="800" spc="1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29626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a:solidFill>
                <a:schemeClr val="tx1"/>
              </a:solidFill>
            </a:endParaRPr>
          </a:p>
        </p:txBody>
      </p:sp>
      <p:sp>
        <p:nvSpPr>
          <p:cNvPr id="5" name="Text Placeholder 4"/>
          <p:cNvSpPr>
            <a:spLocks noGrp="1"/>
          </p:cNvSpPr>
          <p:nvPr>
            <p:ph type="body" sz="quarter" idx="17"/>
          </p:nvPr>
        </p:nvSpPr>
        <p:spPr/>
        <p:txBody>
          <a:bodyPr/>
          <a:lstStyle/>
          <a:p>
            <a:r>
              <a:rPr lang="en-US">
                <a:solidFill>
                  <a:schemeClr val="accent1"/>
                </a:solidFill>
              </a:rPr>
              <a:t>Timeline</a:t>
            </a:r>
          </a:p>
        </p:txBody>
      </p:sp>
      <p:cxnSp>
        <p:nvCxnSpPr>
          <p:cNvPr id="6" name="Straight Connector 5"/>
          <p:cNvCxnSpPr>
            <a:endCxn id="13" idx="0"/>
          </p:cNvCxnSpPr>
          <p:nvPr/>
        </p:nvCxnSpPr>
        <p:spPr>
          <a:xfrm>
            <a:off x="974314" y="2137692"/>
            <a:ext cx="0"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14" idx="4"/>
          </p:cNvCxnSpPr>
          <p:nvPr/>
        </p:nvCxnSpPr>
        <p:spPr>
          <a:xfrm>
            <a:off x="1982537" y="2811052"/>
            <a:ext cx="2736"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7" idx="4"/>
          </p:cNvCxnSpPr>
          <p:nvPr/>
        </p:nvCxnSpPr>
        <p:spPr>
          <a:xfrm>
            <a:off x="5056499" y="2811051"/>
            <a:ext cx="1" cy="801529"/>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8" idx="4"/>
          </p:cNvCxnSpPr>
          <p:nvPr/>
        </p:nvCxnSpPr>
        <p:spPr>
          <a:xfrm>
            <a:off x="8162760" y="2811055"/>
            <a:ext cx="1"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endCxn id="15" idx="0"/>
          </p:cNvCxnSpPr>
          <p:nvPr/>
        </p:nvCxnSpPr>
        <p:spPr>
          <a:xfrm flipH="1">
            <a:off x="7157599" y="2137692"/>
            <a:ext cx="1"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16" idx="0"/>
          </p:cNvCxnSpPr>
          <p:nvPr/>
        </p:nvCxnSpPr>
        <p:spPr>
          <a:xfrm flipH="1">
            <a:off x="4044537" y="2137692"/>
            <a:ext cx="4336"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974314" y="2741153"/>
            <a:ext cx="7188447" cy="287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3" name="Oval 12"/>
          <p:cNvSpPr>
            <a:spLocks noChangeAspect="1"/>
          </p:cNvSpPr>
          <p:nvPr/>
        </p:nvSpPr>
        <p:spPr>
          <a:xfrm>
            <a:off x="917640"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13">
                <a:solidFill>
                  <a:srgbClr val="26A6CF"/>
                </a:solidFill>
                <a:latin typeface="Arial" panose="020B0604020202020204" pitchFamily="34" charset="0"/>
                <a:cs typeface="Arial" panose="020B0604020202020204" pitchFamily="34" charset="0"/>
              </a:rPr>
              <a:t> </a:t>
            </a:r>
            <a:endParaRPr lang="en-US" sz="1013">
              <a:solidFill>
                <a:srgbClr val="26A6CF"/>
              </a:solidFill>
              <a:latin typeface="Arial" panose="020B0604020202020204" pitchFamily="34" charset="0"/>
              <a:cs typeface="Arial" panose="020B0604020202020204" pitchFamily="34" charset="0"/>
            </a:endParaRPr>
          </a:p>
        </p:txBody>
      </p:sp>
      <p:sp>
        <p:nvSpPr>
          <p:cNvPr id="14" name="Oval 13"/>
          <p:cNvSpPr>
            <a:spLocks noChangeAspect="1"/>
          </p:cNvSpPr>
          <p:nvPr/>
        </p:nvSpPr>
        <p:spPr>
          <a:xfrm>
            <a:off x="1925863"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5" name="Oval 14"/>
          <p:cNvSpPr>
            <a:spLocks noChangeAspect="1"/>
          </p:cNvSpPr>
          <p:nvPr/>
        </p:nvSpPr>
        <p:spPr>
          <a:xfrm>
            <a:off x="7100923"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6" name="Oval 15"/>
          <p:cNvSpPr>
            <a:spLocks noChangeAspect="1"/>
          </p:cNvSpPr>
          <p:nvPr/>
        </p:nvSpPr>
        <p:spPr>
          <a:xfrm>
            <a:off x="3987862"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7" name="Oval 16"/>
          <p:cNvSpPr>
            <a:spLocks noChangeAspect="1"/>
          </p:cNvSpPr>
          <p:nvPr/>
        </p:nvSpPr>
        <p:spPr>
          <a:xfrm>
            <a:off x="499982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8" name="Oval 17"/>
          <p:cNvSpPr>
            <a:spLocks noChangeAspect="1"/>
          </p:cNvSpPr>
          <p:nvPr/>
        </p:nvSpPr>
        <p:spPr>
          <a:xfrm>
            <a:off x="810608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9" name="Oval 18"/>
          <p:cNvSpPr/>
          <p:nvPr/>
        </p:nvSpPr>
        <p:spPr>
          <a:xfrm>
            <a:off x="2965141"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0" name="Oval 19"/>
          <p:cNvSpPr/>
          <p:nvPr/>
        </p:nvSpPr>
        <p:spPr>
          <a:xfrm>
            <a:off x="5994520"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1" name="TextBox 20"/>
          <p:cNvSpPr txBox="1"/>
          <p:nvPr/>
        </p:nvSpPr>
        <p:spPr>
          <a:xfrm>
            <a:off x="2436924" y="2408963"/>
            <a:ext cx="1121447"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First Break</a:t>
            </a:r>
            <a:endParaRPr lang="en-AU" sz="675">
              <a:solidFill>
                <a:schemeClr val="accent5"/>
              </a:solidFill>
              <a:latin typeface="Arial" panose="020B0604020202020204" pitchFamily="34" charset="0"/>
              <a:cs typeface="Arial" panose="020B0604020202020204" pitchFamily="34" charset="0"/>
            </a:endParaRPr>
          </a:p>
        </p:txBody>
      </p:sp>
      <p:sp>
        <p:nvSpPr>
          <p:cNvPr id="22" name="TextBox 21"/>
          <p:cNvSpPr txBox="1"/>
          <p:nvPr/>
        </p:nvSpPr>
        <p:spPr>
          <a:xfrm>
            <a:off x="5463204" y="2408963"/>
            <a:ext cx="1113790"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Second Break</a:t>
            </a:r>
            <a:endParaRPr lang="en-AU" sz="675">
              <a:solidFill>
                <a:schemeClr val="accent5"/>
              </a:solidFill>
              <a:latin typeface="Arial" panose="020B0604020202020204" pitchFamily="34" charset="0"/>
              <a:cs typeface="Arial" panose="020B0604020202020204" pitchFamily="34" charset="0"/>
            </a:endParaRPr>
          </a:p>
        </p:txBody>
      </p:sp>
      <p:sp>
        <p:nvSpPr>
          <p:cNvPr id="25" name="Oval 24"/>
          <p:cNvSpPr>
            <a:spLocks noChangeAspect="1"/>
          </p:cNvSpPr>
          <p:nvPr/>
        </p:nvSpPr>
        <p:spPr>
          <a:xfrm>
            <a:off x="674838"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26" name="Oval 25"/>
          <p:cNvSpPr>
            <a:spLocks noChangeAspect="1"/>
          </p:cNvSpPr>
          <p:nvPr/>
        </p:nvSpPr>
        <p:spPr>
          <a:xfrm>
            <a:off x="168306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27" name="TextBox 26"/>
          <p:cNvSpPr txBox="1"/>
          <p:nvPr/>
        </p:nvSpPr>
        <p:spPr>
          <a:xfrm>
            <a:off x="413590" y="1432155"/>
            <a:ext cx="1121447" cy="226472"/>
          </a:xfrm>
          <a:prstGeom prst="rect">
            <a:avLst/>
          </a:prstGeom>
          <a:noFill/>
        </p:spPr>
        <p:txBody>
          <a:bodyPr wrap="square" rtlCol="0">
            <a:spAutoFit/>
          </a:bodyPr>
          <a:lstStyle/>
          <a:p>
            <a:pPr algn="ctr">
              <a:lnSpc>
                <a:spcPct val="120000"/>
              </a:lnSpc>
            </a:pPr>
            <a:r>
              <a:rPr lang="en-US" sz="800">
                <a:solidFill>
                  <a:schemeClr val="accent5"/>
                </a:solidFill>
                <a:latin typeface="Arial" panose="020B0604020202020204" pitchFamily="34" charset="0"/>
                <a:cs typeface="Arial" panose="020B0604020202020204" pitchFamily="34" charset="0"/>
              </a:rPr>
              <a:t>Add text</a:t>
            </a:r>
            <a:endParaRPr lang="en-AU" sz="800">
              <a:solidFill>
                <a:schemeClr val="accent5"/>
              </a:solidFill>
              <a:latin typeface="Arial" panose="020B0604020202020204" pitchFamily="34" charset="0"/>
              <a:cs typeface="Arial" panose="020B0604020202020204" pitchFamily="34" charset="0"/>
            </a:endParaRPr>
          </a:p>
        </p:txBody>
      </p:sp>
      <p:sp>
        <p:nvSpPr>
          <p:cNvPr id="28" name="TextBox 27"/>
          <p:cNvSpPr txBox="1"/>
          <p:nvPr/>
        </p:nvSpPr>
        <p:spPr>
          <a:xfrm>
            <a:off x="1421813" y="3827911"/>
            <a:ext cx="1121447" cy="226472"/>
          </a:xfrm>
          <a:prstGeom prst="rect">
            <a:avLst/>
          </a:prstGeom>
          <a:noFill/>
        </p:spPr>
        <p:txBody>
          <a:bodyPr wrap="square" rtlCol="0">
            <a:spAutoFit/>
          </a:bodyPr>
          <a:lstStyle/>
          <a:p>
            <a:pPr algn="ctr">
              <a:lnSpc>
                <a:spcPct val="120000"/>
              </a:lnSpc>
            </a:pPr>
            <a:r>
              <a:rPr lang="en-US" sz="800">
                <a:solidFill>
                  <a:schemeClr val="accent5"/>
                </a:solidFill>
                <a:latin typeface="Arial" panose="020B0604020202020204" pitchFamily="34" charset="0"/>
                <a:cs typeface="Arial" panose="020B0604020202020204" pitchFamily="34" charset="0"/>
              </a:rPr>
              <a:t>Add text</a:t>
            </a:r>
            <a:endParaRPr lang="en-AU" sz="800">
              <a:solidFill>
                <a:schemeClr val="accent5"/>
              </a:solidFill>
              <a:latin typeface="Arial" panose="020B0604020202020204" pitchFamily="34" charset="0"/>
              <a:cs typeface="Arial" panose="020B0604020202020204" pitchFamily="34" charset="0"/>
            </a:endParaRPr>
          </a:p>
        </p:txBody>
      </p:sp>
      <p:sp>
        <p:nvSpPr>
          <p:cNvPr id="29" name="Oval 28"/>
          <p:cNvSpPr>
            <a:spLocks noChangeAspect="1"/>
          </p:cNvSpPr>
          <p:nvPr/>
        </p:nvSpPr>
        <p:spPr>
          <a:xfrm>
            <a:off x="3747625"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0" name="TextBox 29"/>
          <p:cNvSpPr txBox="1"/>
          <p:nvPr/>
        </p:nvSpPr>
        <p:spPr>
          <a:xfrm>
            <a:off x="3486377" y="1432155"/>
            <a:ext cx="1121447" cy="226472"/>
          </a:xfrm>
          <a:prstGeom prst="rect">
            <a:avLst/>
          </a:prstGeom>
          <a:noFill/>
        </p:spPr>
        <p:txBody>
          <a:bodyPr wrap="square" rtlCol="0">
            <a:spAutoFit/>
          </a:bodyPr>
          <a:lstStyle/>
          <a:p>
            <a:pPr algn="ctr">
              <a:lnSpc>
                <a:spcPct val="120000"/>
              </a:lnSpc>
            </a:pPr>
            <a:r>
              <a:rPr lang="en-US" sz="800">
                <a:solidFill>
                  <a:schemeClr val="accent5"/>
                </a:solidFill>
                <a:latin typeface="Arial" panose="020B0604020202020204" pitchFamily="34" charset="0"/>
                <a:cs typeface="Arial" panose="020B0604020202020204" pitchFamily="34" charset="0"/>
              </a:rPr>
              <a:t>Add text</a:t>
            </a:r>
            <a:endParaRPr lang="en-AU" sz="800">
              <a:solidFill>
                <a:schemeClr val="accent5"/>
              </a:solidFill>
              <a:latin typeface="Arial" panose="020B0604020202020204" pitchFamily="34" charset="0"/>
              <a:cs typeface="Arial" panose="020B0604020202020204" pitchFamily="34" charset="0"/>
            </a:endParaRPr>
          </a:p>
        </p:txBody>
      </p:sp>
      <p:sp>
        <p:nvSpPr>
          <p:cNvPr id="31" name="Oval 30"/>
          <p:cNvSpPr>
            <a:spLocks noChangeAspect="1"/>
          </p:cNvSpPr>
          <p:nvPr/>
        </p:nvSpPr>
        <p:spPr>
          <a:xfrm>
            <a:off x="6858123"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2" name="TextBox 31"/>
          <p:cNvSpPr txBox="1"/>
          <p:nvPr/>
        </p:nvSpPr>
        <p:spPr>
          <a:xfrm>
            <a:off x="6596875" y="1432155"/>
            <a:ext cx="1121447" cy="226472"/>
          </a:xfrm>
          <a:prstGeom prst="rect">
            <a:avLst/>
          </a:prstGeom>
          <a:noFill/>
        </p:spPr>
        <p:txBody>
          <a:bodyPr wrap="square" rtlCol="0">
            <a:spAutoFit/>
          </a:bodyPr>
          <a:lstStyle/>
          <a:p>
            <a:pPr algn="ctr">
              <a:lnSpc>
                <a:spcPct val="120000"/>
              </a:lnSpc>
            </a:pPr>
            <a:r>
              <a:rPr lang="en-US" sz="800">
                <a:solidFill>
                  <a:schemeClr val="accent5"/>
                </a:solidFill>
                <a:latin typeface="Arial" panose="020B0604020202020204" pitchFamily="34" charset="0"/>
                <a:cs typeface="Arial" panose="020B0604020202020204" pitchFamily="34" charset="0"/>
              </a:rPr>
              <a:t>Add text</a:t>
            </a:r>
            <a:endParaRPr lang="en-AU" sz="800">
              <a:solidFill>
                <a:schemeClr val="accent5"/>
              </a:solidFill>
              <a:latin typeface="Arial" panose="020B0604020202020204" pitchFamily="34" charset="0"/>
              <a:cs typeface="Arial" panose="020B0604020202020204" pitchFamily="34" charset="0"/>
            </a:endParaRPr>
          </a:p>
        </p:txBody>
      </p:sp>
      <p:sp>
        <p:nvSpPr>
          <p:cNvPr id="33" name="Oval 32"/>
          <p:cNvSpPr>
            <a:spLocks noChangeAspect="1"/>
          </p:cNvSpPr>
          <p:nvPr/>
        </p:nvSpPr>
        <p:spPr>
          <a:xfrm>
            <a:off x="4757023"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4" name="TextBox 33"/>
          <p:cNvSpPr txBox="1"/>
          <p:nvPr/>
        </p:nvSpPr>
        <p:spPr>
          <a:xfrm>
            <a:off x="4495775" y="3827911"/>
            <a:ext cx="1121447" cy="226472"/>
          </a:xfrm>
          <a:prstGeom prst="rect">
            <a:avLst/>
          </a:prstGeom>
          <a:noFill/>
        </p:spPr>
        <p:txBody>
          <a:bodyPr wrap="square" rtlCol="0">
            <a:spAutoFit/>
          </a:bodyPr>
          <a:lstStyle/>
          <a:p>
            <a:pPr algn="ctr">
              <a:lnSpc>
                <a:spcPct val="120000"/>
              </a:lnSpc>
            </a:pPr>
            <a:r>
              <a:rPr lang="en-US" sz="800">
                <a:solidFill>
                  <a:schemeClr val="accent5"/>
                </a:solidFill>
                <a:latin typeface="Arial" panose="020B0604020202020204" pitchFamily="34" charset="0"/>
                <a:cs typeface="Arial" panose="020B0604020202020204" pitchFamily="34" charset="0"/>
              </a:rPr>
              <a:t>Add text</a:t>
            </a:r>
            <a:endParaRPr lang="en-AU" sz="800">
              <a:solidFill>
                <a:schemeClr val="accent5"/>
              </a:solidFill>
              <a:latin typeface="Arial" panose="020B0604020202020204" pitchFamily="34" charset="0"/>
              <a:cs typeface="Arial" panose="020B0604020202020204" pitchFamily="34" charset="0"/>
            </a:endParaRPr>
          </a:p>
        </p:txBody>
      </p:sp>
      <p:sp>
        <p:nvSpPr>
          <p:cNvPr id="35" name="Oval 34"/>
          <p:cNvSpPr>
            <a:spLocks noChangeAspect="1"/>
          </p:cNvSpPr>
          <p:nvPr/>
        </p:nvSpPr>
        <p:spPr>
          <a:xfrm>
            <a:off x="787021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6" name="TextBox 35"/>
          <p:cNvSpPr txBox="1"/>
          <p:nvPr/>
        </p:nvSpPr>
        <p:spPr>
          <a:xfrm>
            <a:off x="7608964" y="3827911"/>
            <a:ext cx="1121447" cy="226472"/>
          </a:xfrm>
          <a:prstGeom prst="rect">
            <a:avLst/>
          </a:prstGeom>
          <a:noFill/>
        </p:spPr>
        <p:txBody>
          <a:bodyPr wrap="square" rtlCol="0">
            <a:spAutoFit/>
          </a:bodyPr>
          <a:lstStyle/>
          <a:p>
            <a:pPr algn="ctr">
              <a:lnSpc>
                <a:spcPct val="120000"/>
              </a:lnSpc>
            </a:pPr>
            <a:r>
              <a:rPr lang="en-US" sz="800">
                <a:solidFill>
                  <a:schemeClr val="accent5"/>
                </a:solidFill>
                <a:latin typeface="Arial" panose="020B0604020202020204" pitchFamily="34" charset="0"/>
                <a:cs typeface="Arial" panose="020B0604020202020204" pitchFamily="34" charset="0"/>
              </a:rPr>
              <a:t>Add text</a:t>
            </a:r>
            <a:endParaRPr lang="en-AU" sz="800">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2238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solidFill>
                <a:schemeClr val="tx1"/>
              </a:solidFill>
            </a:endParaRPr>
          </a:p>
        </p:txBody>
      </p:sp>
      <p:sp>
        <p:nvSpPr>
          <p:cNvPr id="5" name="Text Placeholder 4"/>
          <p:cNvSpPr>
            <a:spLocks noGrp="1"/>
          </p:cNvSpPr>
          <p:nvPr>
            <p:ph type="body" sz="quarter" idx="17"/>
          </p:nvPr>
        </p:nvSpPr>
        <p:spPr/>
        <p:txBody>
          <a:bodyPr/>
          <a:lstStyle/>
          <a:p>
            <a:r>
              <a:rPr lang="en-US">
                <a:solidFill>
                  <a:schemeClr val="accent1"/>
                </a:solidFill>
              </a:rPr>
              <a:t>Timeline</a:t>
            </a:r>
          </a:p>
        </p:txBody>
      </p:sp>
      <p:grpSp>
        <p:nvGrpSpPr>
          <p:cNvPr id="49" name="Group 48"/>
          <p:cNvGrpSpPr/>
          <p:nvPr/>
        </p:nvGrpSpPr>
        <p:grpSpPr>
          <a:xfrm>
            <a:off x="2827307" y="1843701"/>
            <a:ext cx="5066043" cy="1439375"/>
            <a:chOff x="1638892" y="1077138"/>
            <a:chExt cx="6121553" cy="1739268"/>
          </a:xfrm>
        </p:grpSpPr>
        <p:cxnSp>
          <p:nvCxnSpPr>
            <p:cNvPr id="11" name="Straight Connector 10"/>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1835511" y="2107482"/>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a:ln>
                  <a:noFill/>
                </a:ln>
                <a:solidFill>
                  <a:schemeClr val="accent5"/>
                </a:solidFill>
                <a:effectLst/>
                <a:uLnTx/>
                <a:uFillTx/>
                <a:latin typeface="Arial"/>
                <a:ea typeface="+mn-ea"/>
                <a:cs typeface="+mn-cs"/>
              </a:rPr>
              <a:t>Jan-Feb</a:t>
            </a:r>
            <a:endParaRPr kumimoji="0" lang="en-US" sz="1000" b="0" i="0" u="none" strike="noStrike" kern="1200" cap="none" spc="0" normalizeH="0" baseline="0" noProof="0">
              <a:ln>
                <a:noFill/>
              </a:ln>
              <a:solidFill>
                <a:schemeClr val="accent5"/>
              </a:solidFill>
              <a:effectLst/>
              <a:uLnTx/>
              <a:uFillTx/>
              <a:latin typeface="Arial"/>
              <a:ea typeface="+mn-ea"/>
              <a:cs typeface="+mn-cs"/>
            </a:endParaRPr>
          </a:p>
        </p:txBody>
      </p:sp>
      <p:sp>
        <p:nvSpPr>
          <p:cNvPr id="37" name="Rectangle 36"/>
          <p:cNvSpPr/>
          <p:nvPr/>
        </p:nvSpPr>
        <p:spPr>
          <a:xfrm>
            <a:off x="1576656" y="2404079"/>
            <a:ext cx="7567344" cy="101246"/>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4" name="TextBox 43"/>
          <p:cNvSpPr txBox="1"/>
          <p:nvPr/>
        </p:nvSpPr>
        <p:spPr>
          <a:xfrm>
            <a:off x="3097189" y="210373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a:ln>
                  <a:noFill/>
                </a:ln>
                <a:solidFill>
                  <a:schemeClr val="accent5"/>
                </a:solidFill>
                <a:effectLst/>
                <a:uLnTx/>
                <a:uFillTx/>
                <a:latin typeface="Arial"/>
                <a:ea typeface="+mn-ea"/>
                <a:cs typeface="+mn-cs"/>
              </a:rPr>
              <a:t>Mar-Apr</a:t>
            </a:r>
            <a:endParaRPr kumimoji="0" lang="en-US" sz="1000" b="0" i="0" u="none" strike="noStrike" kern="1200" cap="none" spc="0" normalizeH="0" baseline="0" noProof="0">
              <a:ln>
                <a:noFill/>
              </a:ln>
              <a:solidFill>
                <a:schemeClr val="accent5"/>
              </a:solidFill>
              <a:effectLst/>
              <a:uLnTx/>
              <a:uFillTx/>
              <a:latin typeface="Arial"/>
              <a:ea typeface="+mn-ea"/>
              <a:cs typeface="+mn-cs"/>
            </a:endParaRPr>
          </a:p>
        </p:txBody>
      </p:sp>
      <p:sp>
        <p:nvSpPr>
          <p:cNvPr id="45" name="TextBox 44"/>
          <p:cNvSpPr txBox="1"/>
          <p:nvPr/>
        </p:nvSpPr>
        <p:spPr>
          <a:xfrm>
            <a:off x="4358866"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a:ln>
                  <a:noFill/>
                </a:ln>
                <a:solidFill>
                  <a:schemeClr val="accent5"/>
                </a:solidFill>
                <a:effectLst/>
                <a:uLnTx/>
                <a:uFillTx/>
                <a:latin typeface="Arial"/>
                <a:ea typeface="+mn-ea"/>
                <a:cs typeface="+mn-cs"/>
              </a:rPr>
              <a:t>May-Jun</a:t>
            </a:r>
            <a:endParaRPr kumimoji="0" lang="en-US" sz="1000" b="0" i="0" u="none" strike="noStrike" kern="1200" cap="none" spc="0" normalizeH="0" baseline="0" noProof="0">
              <a:ln>
                <a:noFill/>
              </a:ln>
              <a:solidFill>
                <a:schemeClr val="accent5"/>
              </a:solidFill>
              <a:effectLst/>
              <a:uLnTx/>
              <a:uFillTx/>
              <a:latin typeface="Arial"/>
              <a:ea typeface="+mn-ea"/>
              <a:cs typeface="+mn-cs"/>
            </a:endParaRPr>
          </a:p>
        </p:txBody>
      </p:sp>
      <p:sp>
        <p:nvSpPr>
          <p:cNvPr id="46" name="TextBox 45"/>
          <p:cNvSpPr txBox="1"/>
          <p:nvPr/>
        </p:nvSpPr>
        <p:spPr>
          <a:xfrm>
            <a:off x="5620544"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a:ln>
                  <a:noFill/>
                </a:ln>
                <a:solidFill>
                  <a:schemeClr val="accent5"/>
                </a:solidFill>
                <a:effectLst/>
                <a:uLnTx/>
                <a:uFillTx/>
                <a:latin typeface="Arial"/>
                <a:ea typeface="+mn-ea"/>
                <a:cs typeface="+mn-cs"/>
              </a:rPr>
              <a:t>Jul-Aug</a:t>
            </a:r>
            <a:endParaRPr kumimoji="0" lang="en-US" sz="1000" b="0" i="0" u="none" strike="noStrike" kern="1200" cap="none" spc="0" normalizeH="0" baseline="0" noProof="0">
              <a:ln>
                <a:noFill/>
              </a:ln>
              <a:solidFill>
                <a:schemeClr val="accent5"/>
              </a:solidFill>
              <a:effectLst/>
              <a:uLnTx/>
              <a:uFillTx/>
              <a:latin typeface="Arial"/>
              <a:ea typeface="+mn-ea"/>
              <a:cs typeface="+mn-cs"/>
            </a:endParaRPr>
          </a:p>
        </p:txBody>
      </p:sp>
      <p:sp>
        <p:nvSpPr>
          <p:cNvPr id="47" name="TextBox 46"/>
          <p:cNvSpPr txBox="1"/>
          <p:nvPr/>
        </p:nvSpPr>
        <p:spPr>
          <a:xfrm>
            <a:off x="6882222"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a:ln>
                  <a:noFill/>
                </a:ln>
                <a:solidFill>
                  <a:schemeClr val="accent5"/>
                </a:solidFill>
                <a:effectLst/>
                <a:uLnTx/>
                <a:uFillTx/>
                <a:latin typeface="Arial"/>
                <a:ea typeface="+mn-ea"/>
                <a:cs typeface="+mn-cs"/>
              </a:rPr>
              <a:t>Sep-Oct</a:t>
            </a:r>
            <a:endParaRPr kumimoji="0" lang="en-US" sz="1000" b="0" i="0" u="none" strike="noStrike" kern="1200" cap="none" spc="0" normalizeH="0" baseline="0" noProof="0">
              <a:ln>
                <a:noFill/>
              </a:ln>
              <a:solidFill>
                <a:schemeClr val="accent5"/>
              </a:solidFill>
              <a:effectLst/>
              <a:uLnTx/>
              <a:uFillTx/>
              <a:latin typeface="Arial"/>
              <a:ea typeface="+mn-ea"/>
              <a:cs typeface="+mn-cs"/>
            </a:endParaRPr>
          </a:p>
        </p:txBody>
      </p:sp>
      <p:sp>
        <p:nvSpPr>
          <p:cNvPr id="48" name="TextBox 47"/>
          <p:cNvSpPr txBox="1"/>
          <p:nvPr/>
        </p:nvSpPr>
        <p:spPr>
          <a:xfrm>
            <a:off x="8143900"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a:ln>
                  <a:noFill/>
                </a:ln>
                <a:solidFill>
                  <a:schemeClr val="accent5"/>
                </a:solidFill>
                <a:effectLst/>
                <a:uLnTx/>
                <a:uFillTx/>
                <a:latin typeface="Arial"/>
                <a:ea typeface="+mn-ea"/>
                <a:cs typeface="+mn-cs"/>
              </a:rPr>
              <a:t>Nov-Dec</a:t>
            </a:r>
            <a:endParaRPr kumimoji="0" lang="en-US" sz="1000" b="0" i="0" u="none" strike="noStrike" kern="1200" cap="none" spc="0" normalizeH="0" baseline="0" noProof="0">
              <a:ln>
                <a:noFill/>
              </a:ln>
              <a:solidFill>
                <a:schemeClr val="accent5"/>
              </a:solidFill>
              <a:effectLst/>
              <a:uLnTx/>
              <a:uFillTx/>
              <a:latin typeface="Arial"/>
              <a:ea typeface="+mn-ea"/>
              <a:cs typeface="+mn-cs"/>
            </a:endParaRPr>
          </a:p>
        </p:txBody>
      </p:sp>
      <p:sp>
        <p:nvSpPr>
          <p:cNvPr id="50" name="TextBox 49"/>
          <p:cNvSpPr txBox="1"/>
          <p:nvPr/>
        </p:nvSpPr>
        <p:spPr>
          <a:xfrm>
            <a:off x="1835511" y="260225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400" b="1">
                <a:latin typeface="Arial"/>
              </a:rPr>
              <a:t>Phase 1</a:t>
            </a:r>
            <a:endParaRPr kumimoji="0" lang="en-US" sz="1050" b="1" i="0" u="none" strike="noStrike" kern="1200" cap="none" spc="0" normalizeH="0" baseline="0" noProof="0">
              <a:ln>
                <a:noFill/>
              </a:ln>
              <a:effectLst/>
              <a:uLnTx/>
              <a:uFillTx/>
              <a:latin typeface="Arial"/>
              <a:ea typeface="+mn-ea"/>
              <a:cs typeface="+mn-cs"/>
            </a:endParaRPr>
          </a:p>
        </p:txBody>
      </p:sp>
      <p:sp>
        <p:nvSpPr>
          <p:cNvPr id="51" name="TextBox 50"/>
          <p:cNvSpPr txBox="1"/>
          <p:nvPr/>
        </p:nvSpPr>
        <p:spPr>
          <a:xfrm>
            <a:off x="3097189" y="2598506"/>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400" b="1" i="0" u="none" strike="noStrike" kern="1200" cap="none" spc="0" normalizeH="0" baseline="0" noProof="0">
                <a:ln>
                  <a:noFill/>
                </a:ln>
                <a:effectLst/>
                <a:uLnTx/>
                <a:uFillTx/>
                <a:latin typeface="Arial"/>
                <a:ea typeface="+mn-ea"/>
                <a:cs typeface="+mn-cs"/>
              </a:rPr>
              <a:t>Phase 2</a:t>
            </a:r>
            <a:endParaRPr kumimoji="0" lang="en-US" sz="1050" b="1" i="0" u="none" strike="noStrike" kern="1200" cap="none" spc="0" normalizeH="0" baseline="0" noProof="0">
              <a:ln>
                <a:noFill/>
              </a:ln>
              <a:effectLst/>
              <a:uLnTx/>
              <a:uFillTx/>
              <a:latin typeface="Arial"/>
              <a:ea typeface="+mn-ea"/>
              <a:cs typeface="+mn-cs"/>
            </a:endParaRPr>
          </a:p>
        </p:txBody>
      </p:sp>
      <p:sp>
        <p:nvSpPr>
          <p:cNvPr id="52" name="TextBox 51"/>
          <p:cNvSpPr txBox="1"/>
          <p:nvPr/>
        </p:nvSpPr>
        <p:spPr>
          <a:xfrm>
            <a:off x="4358866"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a:t>Phase 3</a:t>
            </a:r>
            <a:endParaRPr lang="en-US" sz="1050" b="1"/>
          </a:p>
        </p:txBody>
      </p:sp>
      <p:sp>
        <p:nvSpPr>
          <p:cNvPr id="53" name="TextBox 52"/>
          <p:cNvSpPr txBox="1"/>
          <p:nvPr/>
        </p:nvSpPr>
        <p:spPr>
          <a:xfrm>
            <a:off x="5620544"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a:t>Phase 4</a:t>
            </a:r>
            <a:endParaRPr kumimoji="0" lang="en-US" sz="1050" b="1" i="0" u="none" strike="noStrike" kern="1200" cap="none" spc="0" normalizeH="0" baseline="0" noProof="0">
              <a:ln>
                <a:noFill/>
              </a:ln>
              <a:effectLst/>
              <a:uLnTx/>
              <a:uFillTx/>
              <a:latin typeface="Arial"/>
              <a:ea typeface="+mn-ea"/>
              <a:cs typeface="+mn-cs"/>
            </a:endParaRPr>
          </a:p>
        </p:txBody>
      </p:sp>
      <p:sp>
        <p:nvSpPr>
          <p:cNvPr id="54" name="TextBox 53"/>
          <p:cNvSpPr txBox="1"/>
          <p:nvPr/>
        </p:nvSpPr>
        <p:spPr>
          <a:xfrm>
            <a:off x="6882222"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a:t>Phase 5</a:t>
            </a:r>
            <a:endParaRPr kumimoji="0" lang="en-US" sz="1050" b="1" i="0" u="none" strike="noStrike" kern="1200" cap="none" spc="0" normalizeH="0" baseline="0" noProof="0">
              <a:ln>
                <a:noFill/>
              </a:ln>
              <a:effectLst/>
              <a:uLnTx/>
              <a:uFillTx/>
              <a:latin typeface="Arial"/>
              <a:ea typeface="+mn-ea"/>
              <a:cs typeface="+mn-cs"/>
            </a:endParaRPr>
          </a:p>
        </p:txBody>
      </p:sp>
      <p:sp>
        <p:nvSpPr>
          <p:cNvPr id="55" name="TextBox 54"/>
          <p:cNvSpPr txBox="1"/>
          <p:nvPr/>
        </p:nvSpPr>
        <p:spPr>
          <a:xfrm>
            <a:off x="8143900"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a:t>Phase 6</a:t>
            </a:r>
            <a:endParaRPr kumimoji="0" lang="en-US" sz="1050" b="1" i="0" u="none" strike="noStrike" kern="1200" cap="none" spc="0" normalizeH="0" baseline="0" noProof="0">
              <a:ln>
                <a:noFill/>
              </a:ln>
              <a:effectLst/>
              <a:uLnTx/>
              <a:uFillTx/>
              <a:latin typeface="Arial"/>
              <a:ea typeface="+mn-ea"/>
              <a:cs typeface="+mn-cs"/>
            </a:endParaRPr>
          </a:p>
        </p:txBody>
      </p:sp>
      <p:sp>
        <p:nvSpPr>
          <p:cNvPr id="57" name="TextBox 56"/>
          <p:cNvSpPr txBox="1"/>
          <p:nvPr/>
        </p:nvSpPr>
        <p:spPr>
          <a:xfrm>
            <a:off x="326007" y="228334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600" b="1">
                <a:latin typeface="Arial"/>
              </a:rPr>
              <a:t>Project</a:t>
            </a:r>
            <a:endParaRPr kumimoji="0" lang="en-US" sz="1100" b="1" i="0" u="none" strike="noStrike" kern="1200" cap="none" spc="0" normalizeH="0" baseline="0" noProof="0">
              <a:ln>
                <a:noFill/>
              </a:ln>
              <a:effectLst/>
              <a:uLnTx/>
              <a:uFillTx/>
              <a:latin typeface="Arial"/>
            </a:endParaRPr>
          </a:p>
        </p:txBody>
      </p:sp>
    </p:spTree>
    <p:extLst>
      <p:ext uri="{BB962C8B-B14F-4D97-AF65-F5344CB8AC3E}">
        <p14:creationId xmlns:p14="http://schemas.microsoft.com/office/powerpoint/2010/main" val="42318875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solidFill>
                <a:schemeClr val="tx1"/>
              </a:solidFill>
            </a:endParaRPr>
          </a:p>
        </p:txBody>
      </p:sp>
      <p:sp>
        <p:nvSpPr>
          <p:cNvPr id="59" name="Text Placeholder 58"/>
          <p:cNvSpPr>
            <a:spLocks noGrp="1"/>
          </p:cNvSpPr>
          <p:nvPr>
            <p:ph type="body" sz="quarter" idx="17"/>
          </p:nvPr>
        </p:nvSpPr>
        <p:spPr/>
        <p:txBody>
          <a:bodyPr/>
          <a:lstStyle/>
          <a:p>
            <a:r>
              <a:rPr lang="en-US"/>
              <a:t>Project timeline</a:t>
            </a:r>
          </a:p>
        </p:txBody>
      </p:sp>
      <p:grpSp>
        <p:nvGrpSpPr>
          <p:cNvPr id="5" name="Chart Lines"/>
          <p:cNvGrpSpPr/>
          <p:nvPr/>
        </p:nvGrpSpPr>
        <p:grpSpPr>
          <a:xfrm>
            <a:off x="801830" y="1274017"/>
            <a:ext cx="7524333" cy="1935283"/>
            <a:chOff x="801829" y="1461522"/>
            <a:chExt cx="7524333" cy="1935283"/>
          </a:xfrm>
        </p:grpSpPr>
        <p:cxnSp>
          <p:nvCxnSpPr>
            <p:cNvPr id="6" name="Straight Connector 5"/>
            <p:cNvCxnSpPr/>
            <p:nvPr/>
          </p:nvCxnSpPr>
          <p:spPr>
            <a:xfrm>
              <a:off x="852548" y="3396805"/>
              <a:ext cx="742289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801829" y="2239744"/>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01829" y="2628855"/>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1829" y="3017966"/>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01829" y="1850633"/>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01829" y="1461522"/>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801995" y="3970617"/>
            <a:ext cx="1164592" cy="411480"/>
            <a:chOff x="1225087" y="4338155"/>
            <a:chExt cx="1164592" cy="411480"/>
          </a:xfrm>
        </p:grpSpPr>
        <p:sp>
          <p:nvSpPr>
            <p:cNvPr id="13" name="Oval 12"/>
            <p:cNvSpPr/>
            <p:nvPr/>
          </p:nvSpPr>
          <p:spPr>
            <a:xfrm>
              <a:off x="1225087" y="4338155"/>
              <a:ext cx="411480"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1</a:t>
              </a:r>
            </a:p>
          </p:txBody>
        </p:sp>
        <p:sp>
          <p:nvSpPr>
            <p:cNvPr id="14" name="TextBox 13"/>
            <p:cNvSpPr txBox="1"/>
            <p:nvPr/>
          </p:nvSpPr>
          <p:spPr>
            <a:xfrm>
              <a:off x="1643522" y="4370983"/>
              <a:ext cx="746157" cy="3416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One</a:t>
              </a:r>
            </a:p>
          </p:txBody>
        </p:sp>
      </p:grpSp>
      <p:sp>
        <p:nvSpPr>
          <p:cNvPr id="15" name="Rounded Rectangle 14"/>
          <p:cNvSpPr/>
          <p:nvPr/>
        </p:nvSpPr>
        <p:spPr>
          <a:xfrm>
            <a:off x="782944" y="2773352"/>
            <a:ext cx="1017281" cy="1238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56"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endParaRPr>
          </a:p>
        </p:txBody>
      </p:sp>
      <p:sp>
        <p:nvSpPr>
          <p:cNvPr id="16" name="Rounded Rectangle 15"/>
          <p:cNvSpPr/>
          <p:nvPr/>
        </p:nvSpPr>
        <p:spPr>
          <a:xfrm>
            <a:off x="2683607" y="2773352"/>
            <a:ext cx="1947401" cy="123825"/>
          </a:xfrm>
          <a:prstGeom prst="roundRect">
            <a:avLst>
              <a:gd name="adj" fmla="val 50000"/>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7" name="Rounded Rectangle 16"/>
          <p:cNvSpPr/>
          <p:nvPr/>
        </p:nvSpPr>
        <p:spPr>
          <a:xfrm>
            <a:off x="1743801" y="2382545"/>
            <a:ext cx="1947401" cy="123825"/>
          </a:xfrm>
          <a:prstGeom prst="roundRect">
            <a:avLst>
              <a:gd name="adj" fmla="val 50000"/>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8" name="Rounded Rectangle 17"/>
          <p:cNvSpPr/>
          <p:nvPr/>
        </p:nvSpPr>
        <p:spPr>
          <a:xfrm>
            <a:off x="6389549" y="1214648"/>
            <a:ext cx="1947401" cy="123825"/>
          </a:xfrm>
          <a:prstGeom prst="roundRect">
            <a:avLst>
              <a:gd name="adj" fmla="val 50000"/>
            </a:avLst>
          </a:prstGeom>
          <a:solidFill>
            <a:srgbClr val="C01D28"/>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 name="Rounded Rectangle 18"/>
          <p:cNvSpPr/>
          <p:nvPr/>
        </p:nvSpPr>
        <p:spPr>
          <a:xfrm>
            <a:off x="5472074" y="1603948"/>
            <a:ext cx="1017281" cy="123825"/>
          </a:xfrm>
          <a:prstGeom prst="roundRect">
            <a:avLst>
              <a:gd name="adj" fmla="val 50000"/>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0" name="Rounded Rectangle 19"/>
          <p:cNvSpPr/>
          <p:nvPr/>
        </p:nvSpPr>
        <p:spPr>
          <a:xfrm>
            <a:off x="3613726" y="1993247"/>
            <a:ext cx="3697710" cy="1238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1" name="Oval 20"/>
          <p:cNvSpPr/>
          <p:nvPr/>
        </p:nvSpPr>
        <p:spPr>
          <a:xfrm>
            <a:off x="2101310" y="3986999"/>
            <a:ext cx="411480" cy="41148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2</a:t>
            </a:r>
          </a:p>
        </p:txBody>
      </p:sp>
      <p:sp>
        <p:nvSpPr>
          <p:cNvPr id="22" name="TextBox 21"/>
          <p:cNvSpPr txBox="1"/>
          <p:nvPr/>
        </p:nvSpPr>
        <p:spPr>
          <a:xfrm>
            <a:off x="2519746" y="4019827"/>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wo</a:t>
            </a:r>
          </a:p>
        </p:txBody>
      </p:sp>
      <p:sp>
        <p:nvSpPr>
          <p:cNvPr id="23" name="Oval 22"/>
          <p:cNvSpPr/>
          <p:nvPr/>
        </p:nvSpPr>
        <p:spPr>
          <a:xfrm>
            <a:off x="3412608" y="3970617"/>
            <a:ext cx="411480" cy="411480"/>
          </a:xfrm>
          <a:prstGeom prst="ellipse">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3</a:t>
            </a:r>
          </a:p>
        </p:txBody>
      </p:sp>
      <p:sp>
        <p:nvSpPr>
          <p:cNvPr id="24" name="TextBox 23"/>
          <p:cNvSpPr txBox="1"/>
          <p:nvPr/>
        </p:nvSpPr>
        <p:spPr>
          <a:xfrm>
            <a:off x="3831044"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hree</a:t>
            </a:r>
          </a:p>
        </p:txBody>
      </p:sp>
      <p:sp>
        <p:nvSpPr>
          <p:cNvPr id="25" name="Oval 24"/>
          <p:cNvSpPr/>
          <p:nvPr/>
        </p:nvSpPr>
        <p:spPr>
          <a:xfrm>
            <a:off x="4702624" y="3970617"/>
            <a:ext cx="411480" cy="4114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26" name="TextBox 25"/>
          <p:cNvSpPr txBox="1"/>
          <p:nvPr/>
        </p:nvSpPr>
        <p:spPr>
          <a:xfrm>
            <a:off x="5121059"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our</a:t>
            </a:r>
          </a:p>
        </p:txBody>
      </p:sp>
      <p:sp>
        <p:nvSpPr>
          <p:cNvPr id="27" name="Oval 26"/>
          <p:cNvSpPr/>
          <p:nvPr/>
        </p:nvSpPr>
        <p:spPr>
          <a:xfrm>
            <a:off x="5977797" y="3969197"/>
            <a:ext cx="411480" cy="411480"/>
          </a:xfrm>
          <a:prstGeom prst="ellipse">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28" name="TextBox 27"/>
          <p:cNvSpPr txBox="1"/>
          <p:nvPr/>
        </p:nvSpPr>
        <p:spPr>
          <a:xfrm>
            <a:off x="6396233" y="400202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ive</a:t>
            </a:r>
          </a:p>
        </p:txBody>
      </p:sp>
      <p:sp>
        <p:nvSpPr>
          <p:cNvPr id="29" name="Oval 28"/>
          <p:cNvSpPr/>
          <p:nvPr/>
        </p:nvSpPr>
        <p:spPr>
          <a:xfrm>
            <a:off x="7288728" y="3977946"/>
            <a:ext cx="411480" cy="411480"/>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rPr>
              <a:t>06</a:t>
            </a:r>
          </a:p>
        </p:txBody>
      </p:sp>
      <p:sp>
        <p:nvSpPr>
          <p:cNvPr id="30" name="TextBox 29"/>
          <p:cNvSpPr txBox="1"/>
          <p:nvPr/>
        </p:nvSpPr>
        <p:spPr>
          <a:xfrm>
            <a:off x="7707164" y="4010774"/>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Six</a:t>
            </a:r>
          </a:p>
        </p:txBody>
      </p:sp>
      <p:cxnSp>
        <p:nvCxnSpPr>
          <p:cNvPr id="31" name="Straight Connector 30"/>
          <p:cNvCxnSpPr/>
          <p:nvPr/>
        </p:nvCxnSpPr>
        <p:spPr>
          <a:xfrm>
            <a:off x="801829" y="3209299"/>
            <a:ext cx="752433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6222043" y="3169463"/>
            <a:ext cx="490881" cy="389269"/>
            <a:chOff x="605788" y="3363999"/>
            <a:chExt cx="490881" cy="389269"/>
          </a:xfrm>
        </p:grpSpPr>
        <p:sp>
          <p:nvSpPr>
            <p:cNvPr id="33" name="Oval 32"/>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4" name="TextBox 33"/>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Sep</a:t>
              </a:r>
            </a:p>
          </p:txBody>
        </p:sp>
      </p:grpSp>
      <p:grpSp>
        <p:nvGrpSpPr>
          <p:cNvPr id="35" name="Group 34"/>
          <p:cNvGrpSpPr/>
          <p:nvPr/>
        </p:nvGrpSpPr>
        <p:grpSpPr>
          <a:xfrm>
            <a:off x="1499498" y="3169463"/>
            <a:ext cx="490881" cy="389269"/>
            <a:chOff x="605788" y="3363999"/>
            <a:chExt cx="490881" cy="389269"/>
          </a:xfrm>
        </p:grpSpPr>
        <p:sp>
          <p:nvSpPr>
            <p:cNvPr id="36" name="Oval 35"/>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7" name="TextBox 36"/>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pr</a:t>
              </a:r>
            </a:p>
          </p:txBody>
        </p:sp>
      </p:grpSp>
      <p:grpSp>
        <p:nvGrpSpPr>
          <p:cNvPr id="38" name="Group 37"/>
          <p:cNvGrpSpPr/>
          <p:nvPr/>
        </p:nvGrpSpPr>
        <p:grpSpPr>
          <a:xfrm>
            <a:off x="2444007" y="3169463"/>
            <a:ext cx="490881" cy="389269"/>
            <a:chOff x="605788" y="3363999"/>
            <a:chExt cx="490881" cy="389269"/>
          </a:xfrm>
        </p:grpSpPr>
        <p:sp>
          <p:nvSpPr>
            <p:cNvPr id="39" name="Oval 38"/>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0" name="TextBox 39"/>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y</a:t>
              </a:r>
            </a:p>
          </p:txBody>
        </p:sp>
      </p:grpSp>
      <p:grpSp>
        <p:nvGrpSpPr>
          <p:cNvPr id="41" name="Group 40"/>
          <p:cNvGrpSpPr/>
          <p:nvPr/>
        </p:nvGrpSpPr>
        <p:grpSpPr>
          <a:xfrm>
            <a:off x="3388516" y="3169463"/>
            <a:ext cx="490881" cy="389269"/>
            <a:chOff x="605788" y="3363999"/>
            <a:chExt cx="490881" cy="389269"/>
          </a:xfrm>
        </p:grpSpPr>
        <p:sp>
          <p:nvSpPr>
            <p:cNvPr id="42" name="Oval 41"/>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3" name="TextBox 42"/>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n</a:t>
              </a:r>
            </a:p>
          </p:txBody>
        </p:sp>
      </p:grpSp>
      <p:grpSp>
        <p:nvGrpSpPr>
          <p:cNvPr id="44" name="Group 43"/>
          <p:cNvGrpSpPr/>
          <p:nvPr/>
        </p:nvGrpSpPr>
        <p:grpSpPr>
          <a:xfrm>
            <a:off x="4333025" y="3169463"/>
            <a:ext cx="490881" cy="389269"/>
            <a:chOff x="605788" y="3363999"/>
            <a:chExt cx="490881" cy="389269"/>
          </a:xfrm>
        </p:grpSpPr>
        <p:sp>
          <p:nvSpPr>
            <p:cNvPr id="45" name="Oval 44"/>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6" name="TextBox 45"/>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l</a:t>
              </a:r>
            </a:p>
          </p:txBody>
        </p:sp>
      </p:grpSp>
      <p:grpSp>
        <p:nvGrpSpPr>
          <p:cNvPr id="47" name="Group 46"/>
          <p:cNvGrpSpPr/>
          <p:nvPr/>
        </p:nvGrpSpPr>
        <p:grpSpPr>
          <a:xfrm>
            <a:off x="5277534" y="3169463"/>
            <a:ext cx="490881" cy="389269"/>
            <a:chOff x="605788" y="3363999"/>
            <a:chExt cx="490881" cy="389269"/>
          </a:xfrm>
        </p:grpSpPr>
        <p:sp>
          <p:nvSpPr>
            <p:cNvPr id="48" name="Oval 47"/>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9" name="TextBox 48"/>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ug</a:t>
              </a:r>
            </a:p>
          </p:txBody>
        </p:sp>
      </p:grpSp>
      <p:grpSp>
        <p:nvGrpSpPr>
          <p:cNvPr id="50" name="Group 49"/>
          <p:cNvGrpSpPr/>
          <p:nvPr/>
        </p:nvGrpSpPr>
        <p:grpSpPr>
          <a:xfrm>
            <a:off x="8111060" y="3169463"/>
            <a:ext cx="490881" cy="389269"/>
            <a:chOff x="605788" y="3363999"/>
            <a:chExt cx="490881" cy="389269"/>
          </a:xfrm>
        </p:grpSpPr>
        <p:sp>
          <p:nvSpPr>
            <p:cNvPr id="51" name="Oval 50"/>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2" name="TextBox 51"/>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Nov</a:t>
              </a:r>
            </a:p>
          </p:txBody>
        </p:sp>
      </p:grpSp>
      <p:grpSp>
        <p:nvGrpSpPr>
          <p:cNvPr id="53" name="Group 52"/>
          <p:cNvGrpSpPr/>
          <p:nvPr/>
        </p:nvGrpSpPr>
        <p:grpSpPr>
          <a:xfrm>
            <a:off x="7166552" y="3169463"/>
            <a:ext cx="490881" cy="389269"/>
            <a:chOff x="605788" y="3363999"/>
            <a:chExt cx="490881" cy="389269"/>
          </a:xfrm>
        </p:grpSpPr>
        <p:sp>
          <p:nvSpPr>
            <p:cNvPr id="54" name="Oval 53"/>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5" name="TextBox 54"/>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Oct</a:t>
              </a:r>
            </a:p>
          </p:txBody>
        </p:sp>
      </p:grpSp>
      <p:grpSp>
        <p:nvGrpSpPr>
          <p:cNvPr id="56" name="Group 55"/>
          <p:cNvGrpSpPr/>
          <p:nvPr/>
        </p:nvGrpSpPr>
        <p:grpSpPr>
          <a:xfrm>
            <a:off x="554989" y="3169463"/>
            <a:ext cx="490881" cy="389269"/>
            <a:chOff x="605788" y="3363999"/>
            <a:chExt cx="490881" cy="389269"/>
          </a:xfrm>
        </p:grpSpPr>
        <p:sp>
          <p:nvSpPr>
            <p:cNvPr id="57" name="Oval 56"/>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8" name="TextBox 57"/>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r</a:t>
              </a:r>
            </a:p>
          </p:txBody>
        </p:sp>
      </p:grpSp>
      <p:sp>
        <p:nvSpPr>
          <p:cNvPr id="60" name="Rectangle 59"/>
          <p:cNvSpPr/>
          <p:nvPr/>
        </p:nvSpPr>
        <p:spPr>
          <a:xfrm>
            <a:off x="1686651" y="2033950"/>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2</a:t>
            </a:r>
          </a:p>
        </p:txBody>
      </p:sp>
      <p:sp>
        <p:nvSpPr>
          <p:cNvPr id="62" name="Rectangle 61"/>
          <p:cNvSpPr/>
          <p:nvPr/>
        </p:nvSpPr>
        <p:spPr>
          <a:xfrm>
            <a:off x="713567" y="2449984"/>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1</a:t>
            </a:r>
          </a:p>
        </p:txBody>
      </p:sp>
      <p:sp>
        <p:nvSpPr>
          <p:cNvPr id="63" name="Rectangle 62"/>
          <p:cNvSpPr/>
          <p:nvPr/>
        </p:nvSpPr>
        <p:spPr>
          <a:xfrm>
            <a:off x="2599947" y="2454327"/>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3</a:t>
            </a:r>
          </a:p>
        </p:txBody>
      </p:sp>
      <p:sp>
        <p:nvSpPr>
          <p:cNvPr id="64" name="Rectangle 63"/>
          <p:cNvSpPr/>
          <p:nvPr/>
        </p:nvSpPr>
        <p:spPr>
          <a:xfrm>
            <a:off x="3546748" y="1669719"/>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65" name="Rectangle 64"/>
          <p:cNvSpPr/>
          <p:nvPr/>
        </p:nvSpPr>
        <p:spPr>
          <a:xfrm>
            <a:off x="5392051" y="1253685"/>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66" name="Rectangle 65"/>
          <p:cNvSpPr/>
          <p:nvPr/>
        </p:nvSpPr>
        <p:spPr>
          <a:xfrm>
            <a:off x="6313775" y="882808"/>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1"/>
                </a:solidFill>
                <a:effectLst/>
                <a:uLnTx/>
                <a:uFillTx/>
                <a:latin typeface="Arial"/>
                <a:ea typeface="Segoe UI Black" panose="020B0A02040204020203" pitchFamily="34" charset="0"/>
                <a:cs typeface="Segoe UI Black" panose="020B0A02040204020203" pitchFamily="34" charset="0"/>
              </a:rPr>
              <a:t>06</a:t>
            </a:r>
          </a:p>
        </p:txBody>
      </p:sp>
    </p:spTree>
    <p:extLst>
      <p:ext uri="{BB962C8B-B14F-4D97-AF65-F5344CB8AC3E}">
        <p14:creationId xmlns:p14="http://schemas.microsoft.com/office/powerpoint/2010/main" val="15303587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a:solidFill>
                <a:schemeClr val="tx1"/>
              </a:solidFill>
            </a:endParaRPr>
          </a:p>
        </p:txBody>
      </p:sp>
      <p:sp>
        <p:nvSpPr>
          <p:cNvPr id="5" name="Text Placeholder 4"/>
          <p:cNvSpPr>
            <a:spLocks noGrp="1"/>
          </p:cNvSpPr>
          <p:nvPr>
            <p:ph type="body" sz="quarter" idx="17"/>
          </p:nvPr>
        </p:nvSpPr>
        <p:spPr/>
        <p:txBody>
          <a:bodyPr/>
          <a:lstStyle/>
          <a:p>
            <a:r>
              <a:rPr lang="en-US"/>
              <a:t>Table</a:t>
            </a:r>
          </a:p>
        </p:txBody>
      </p:sp>
      <p:graphicFrame>
        <p:nvGraphicFramePr>
          <p:cNvPr id="6" name="Table 5"/>
          <p:cNvGraphicFramePr>
            <a:graphicFrameLocks noGrp="1"/>
          </p:cNvGraphicFramePr>
          <p:nvPr>
            <p:extLst>
              <p:ext uri="{D42A27DB-BD31-4B8C-83A1-F6EECF244321}">
                <p14:modId xmlns:p14="http://schemas.microsoft.com/office/powerpoint/2010/main" val="1539237124"/>
              </p:ext>
            </p:extLst>
          </p:nvPr>
        </p:nvGraphicFramePr>
        <p:xfrm>
          <a:off x="457201" y="1274781"/>
          <a:ext cx="8229597" cy="2221452"/>
        </p:xfrm>
        <a:graphic>
          <a:graphicData uri="http://schemas.openxmlformats.org/drawingml/2006/table">
            <a:tbl>
              <a:tblPr firstRow="1" bandRow="1">
                <a:tableStyleId>{5C22544A-7EE6-4342-B048-85BDC9FD1C3A}</a:tableStyleId>
              </a:tblPr>
              <a:tblGrid>
                <a:gridCol w="2368741">
                  <a:extLst>
                    <a:ext uri="{9D8B030D-6E8A-4147-A177-3AD203B41FA5}">
                      <a16:colId xmlns:a16="http://schemas.microsoft.com/office/drawing/2014/main" val="20000"/>
                    </a:ext>
                  </a:extLst>
                </a:gridCol>
                <a:gridCol w="1465214">
                  <a:extLst>
                    <a:ext uri="{9D8B030D-6E8A-4147-A177-3AD203B41FA5}">
                      <a16:colId xmlns:a16="http://schemas.microsoft.com/office/drawing/2014/main" val="20001"/>
                    </a:ext>
                  </a:extLst>
                </a:gridCol>
                <a:gridCol w="1465214">
                  <a:extLst>
                    <a:ext uri="{9D8B030D-6E8A-4147-A177-3AD203B41FA5}">
                      <a16:colId xmlns:a16="http://schemas.microsoft.com/office/drawing/2014/main" val="20002"/>
                    </a:ext>
                  </a:extLst>
                </a:gridCol>
                <a:gridCol w="1465214">
                  <a:extLst>
                    <a:ext uri="{9D8B030D-6E8A-4147-A177-3AD203B41FA5}">
                      <a16:colId xmlns:a16="http://schemas.microsoft.com/office/drawing/2014/main" val="20003"/>
                    </a:ext>
                  </a:extLst>
                </a:gridCol>
                <a:gridCol w="1465214">
                  <a:extLst>
                    <a:ext uri="{9D8B030D-6E8A-4147-A177-3AD203B41FA5}">
                      <a16:colId xmlns:a16="http://schemas.microsoft.com/office/drawing/2014/main" val="20004"/>
                    </a:ext>
                  </a:extLst>
                </a:gridCol>
              </a:tblGrid>
              <a:tr h="370242">
                <a:tc>
                  <a:txBody>
                    <a:bodyPr/>
                    <a:lstStyle/>
                    <a:p>
                      <a:pPr marL="0" algn="ctr" defTabSz="914400" rtl="0" eaLnBrk="1" latinLnBrk="0" hangingPunct="1"/>
                      <a:endParaRPr lang="en-US" sz="1200" b="0" kern="1200">
                        <a:solidFill>
                          <a:schemeClr val="tx1"/>
                        </a:solidFill>
                        <a:latin typeface="Arial" panose="020B0604020202020204" pitchFamily="34" charset="0"/>
                        <a:ea typeface="+mn-ea"/>
                        <a:cs typeface="Arial" panose="020B0604020202020204" pitchFamily="34" charset="0"/>
                      </a:endParaRPr>
                    </a:p>
                  </a:txBody>
                  <a:tcPr marT="34290" marB="34290" anchor="ctr">
                    <a:lnL w="12700" cmpd="sng">
                      <a:noFill/>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Revenu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Revenu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Revenu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7" name="TextBox 6"/>
          <p:cNvSpPr txBox="1"/>
          <p:nvPr/>
        </p:nvSpPr>
        <p:spPr>
          <a:xfrm>
            <a:off x="806851" y="3866428"/>
            <a:ext cx="7559910" cy="346505"/>
          </a:xfrm>
          <a:prstGeom prst="rect">
            <a:avLst/>
          </a:prstGeom>
          <a:noFill/>
        </p:spPr>
        <p:txBody>
          <a:bodyPr wrap="square" lIns="0" tIns="0" rIns="0" bIns="0" rtlCol="0">
            <a:spAutoFit/>
          </a:bodyPr>
          <a:lstStyle/>
          <a:p>
            <a:pPr algn="ctr">
              <a:lnSpc>
                <a:spcPct val="150000"/>
              </a:lnSpc>
              <a:spcBef>
                <a:spcPts val="750"/>
              </a:spcBef>
              <a:spcAft>
                <a:spcPts val="300"/>
              </a:spcAft>
              <a:buClr>
                <a:srgbClr val="CC0000"/>
              </a:buClr>
              <a:buSzPct val="110000"/>
            </a:pPr>
            <a:r>
              <a:rPr lang="en-US" sz="800" spc="10">
                <a:latin typeface="Arial" panose="020B0604020202020204" pitchFamily="34" charset="0"/>
                <a:cs typeface="Arial" panose="020B0604020202020204" pitchFamily="34" charset="0"/>
              </a:rPr>
              <a:t>Lorem ipsum dolor sit </a:t>
            </a:r>
            <a:r>
              <a:rPr lang="en-US" sz="800" spc="10" err="1">
                <a:latin typeface="Arial" panose="020B0604020202020204" pitchFamily="34" charset="0"/>
                <a:cs typeface="Arial" panose="020B0604020202020204" pitchFamily="34" charset="0"/>
              </a:rPr>
              <a:t>ame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consectetu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dipiscing</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li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sed</a:t>
            </a:r>
            <a:r>
              <a:rPr lang="en-US" sz="800" spc="10">
                <a:latin typeface="Arial" panose="020B0604020202020204" pitchFamily="34" charset="0"/>
                <a:cs typeface="Arial" panose="020B0604020202020204" pitchFamily="34" charset="0"/>
              </a:rPr>
              <a:t> do </a:t>
            </a:r>
            <a:r>
              <a:rPr lang="en-US" sz="800" spc="10" err="1">
                <a:latin typeface="Arial" panose="020B0604020202020204" pitchFamily="34" charset="0"/>
                <a:cs typeface="Arial" panose="020B0604020202020204" pitchFamily="34" charset="0"/>
              </a:rPr>
              <a:t>eiusmod</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tempor</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incididun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u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labore</a:t>
            </a:r>
            <a:r>
              <a:rPr lang="en-US" sz="800" spc="10">
                <a:latin typeface="Arial" panose="020B0604020202020204" pitchFamily="34" charset="0"/>
                <a:cs typeface="Arial" panose="020B0604020202020204" pitchFamily="34" charset="0"/>
              </a:rPr>
              <a:t> et </a:t>
            </a:r>
            <a:r>
              <a:rPr lang="en-US" sz="800" spc="10" err="1">
                <a:latin typeface="Arial" panose="020B0604020202020204" pitchFamily="34" charset="0"/>
                <a:cs typeface="Arial" panose="020B0604020202020204" pitchFamily="34" charset="0"/>
              </a:rPr>
              <a:t>dolore</a:t>
            </a:r>
            <a:r>
              <a:rPr lang="en-US" sz="800" spc="10">
                <a:latin typeface="Arial" panose="020B0604020202020204" pitchFamily="34" charset="0"/>
                <a:cs typeface="Arial" panose="020B0604020202020204" pitchFamily="34" charset="0"/>
              </a:rPr>
              <a:t> magna </a:t>
            </a:r>
            <a:r>
              <a:rPr lang="en-US" sz="800" spc="10" err="1">
                <a:latin typeface="Arial" panose="020B0604020202020204" pitchFamily="34" charset="0"/>
                <a:cs typeface="Arial" panose="020B0604020202020204" pitchFamily="34" charset="0"/>
              </a:rPr>
              <a:t>aliqua</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U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nim</a:t>
            </a:r>
            <a:r>
              <a:rPr lang="en-US" sz="800" spc="10">
                <a:latin typeface="Arial" panose="020B0604020202020204" pitchFamily="34" charset="0"/>
                <a:cs typeface="Arial" panose="020B0604020202020204" pitchFamily="34" charset="0"/>
              </a:rPr>
              <a:t> ad minim </a:t>
            </a:r>
            <a:r>
              <a:rPr lang="en-US" sz="800" spc="10" err="1">
                <a:latin typeface="Arial" panose="020B0604020202020204" pitchFamily="34" charset="0"/>
                <a:cs typeface="Arial" panose="020B0604020202020204" pitchFamily="34" charset="0"/>
              </a:rPr>
              <a:t>veniam</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quis</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nostrud</a:t>
            </a:r>
            <a:r>
              <a:rPr lang="en-US" sz="800" spc="10">
                <a:latin typeface="Arial" panose="020B0604020202020204" pitchFamily="34" charset="0"/>
                <a:cs typeface="Arial" panose="020B0604020202020204" pitchFamily="34" charset="0"/>
              </a:rPr>
              <a:t> exercitation </a:t>
            </a:r>
            <a:r>
              <a:rPr lang="en-US" sz="800" spc="10" err="1">
                <a:latin typeface="Arial" panose="020B0604020202020204" pitchFamily="34" charset="0"/>
                <a:cs typeface="Arial" panose="020B0604020202020204" pitchFamily="34" charset="0"/>
              </a:rPr>
              <a:t>ullamco</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laboris</a:t>
            </a:r>
            <a:r>
              <a:rPr lang="en-US" sz="800" spc="10">
                <a:latin typeface="Arial" panose="020B0604020202020204" pitchFamily="34" charset="0"/>
                <a:cs typeface="Arial" panose="020B0604020202020204" pitchFamily="34" charset="0"/>
              </a:rPr>
              <a:t> nisi </a:t>
            </a:r>
            <a:r>
              <a:rPr lang="en-US" sz="800" spc="10" err="1">
                <a:latin typeface="Arial" panose="020B0604020202020204" pitchFamily="34" charset="0"/>
                <a:cs typeface="Arial" panose="020B0604020202020204" pitchFamily="34" charset="0"/>
              </a:rPr>
              <a:t>u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liquip</a:t>
            </a:r>
            <a:r>
              <a:rPr lang="en-US" sz="800" spc="10">
                <a:latin typeface="Arial" panose="020B0604020202020204" pitchFamily="34" charset="0"/>
                <a:cs typeface="Arial" panose="020B0604020202020204" pitchFamily="34" charset="0"/>
              </a:rPr>
              <a:t> ex </a:t>
            </a:r>
            <a:r>
              <a:rPr lang="en-US" sz="800" spc="10" err="1">
                <a:latin typeface="Arial" panose="020B0604020202020204" pitchFamily="34" charset="0"/>
                <a:cs typeface="Arial" panose="020B0604020202020204" pitchFamily="34" charset="0"/>
              </a:rPr>
              <a:t>ea</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commodo</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consequa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Duis</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aute</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irure</a:t>
            </a:r>
            <a:r>
              <a:rPr lang="en-US" sz="800" spc="10">
                <a:latin typeface="Arial" panose="020B0604020202020204" pitchFamily="34" charset="0"/>
                <a:cs typeface="Arial" panose="020B0604020202020204" pitchFamily="34" charset="0"/>
              </a:rPr>
              <a:t> dolor in </a:t>
            </a:r>
            <a:r>
              <a:rPr lang="en-US" sz="800" spc="10" err="1">
                <a:latin typeface="Arial" panose="020B0604020202020204" pitchFamily="34" charset="0"/>
                <a:cs typeface="Arial" panose="020B0604020202020204" pitchFamily="34" charset="0"/>
              </a:rPr>
              <a:t>reprehenderit</a:t>
            </a:r>
            <a:r>
              <a:rPr lang="en-US" sz="800" spc="10">
                <a:latin typeface="Arial" panose="020B0604020202020204" pitchFamily="34" charset="0"/>
                <a:cs typeface="Arial" panose="020B0604020202020204" pitchFamily="34" charset="0"/>
              </a:rPr>
              <a:t> in </a:t>
            </a:r>
            <a:r>
              <a:rPr lang="en-US" sz="800" spc="10" err="1">
                <a:latin typeface="Arial" panose="020B0604020202020204" pitchFamily="34" charset="0"/>
                <a:cs typeface="Arial" panose="020B0604020202020204" pitchFamily="34" charset="0"/>
              </a:rPr>
              <a:t>voluptate</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velit</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esse</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cillum</a:t>
            </a:r>
            <a:r>
              <a:rPr lang="en-US" sz="800" spc="10">
                <a:latin typeface="Arial" panose="020B0604020202020204" pitchFamily="34" charset="0"/>
                <a:cs typeface="Arial" panose="020B0604020202020204" pitchFamily="34" charset="0"/>
              </a:rPr>
              <a:t> </a:t>
            </a:r>
            <a:r>
              <a:rPr lang="en-US" sz="800" spc="10" err="1">
                <a:latin typeface="Arial" panose="020B0604020202020204" pitchFamily="34" charset="0"/>
                <a:cs typeface="Arial" panose="020B0604020202020204" pitchFamily="34" charset="0"/>
              </a:rPr>
              <a:t>dolore</a:t>
            </a:r>
            <a:endParaRPr lang="en-US" sz="800" spc="1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92873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solidFill>
                <a:schemeClr val="tx1"/>
              </a:solidFill>
            </a:endParaRPr>
          </a:p>
        </p:txBody>
      </p:sp>
      <p:sp>
        <p:nvSpPr>
          <p:cNvPr id="21" name="Text Placeholder 20"/>
          <p:cNvSpPr>
            <a:spLocks noGrp="1"/>
          </p:cNvSpPr>
          <p:nvPr>
            <p:ph type="body" sz="quarter" idx="17"/>
          </p:nvPr>
        </p:nvSpPr>
        <p:spPr/>
        <p:txBody>
          <a:bodyPr/>
          <a:lstStyle/>
          <a:p>
            <a:r>
              <a:rPr lang="en-US"/>
              <a:t>Features table</a:t>
            </a:r>
          </a:p>
        </p:txBody>
      </p:sp>
      <p:graphicFrame>
        <p:nvGraphicFramePr>
          <p:cNvPr id="5" name="Table 4"/>
          <p:cNvGraphicFramePr>
            <a:graphicFrameLocks noGrp="1"/>
          </p:cNvGraphicFramePr>
          <p:nvPr>
            <p:extLst>
              <p:ext uri="{D42A27DB-BD31-4B8C-83A1-F6EECF244321}">
                <p14:modId xmlns:p14="http://schemas.microsoft.com/office/powerpoint/2010/main" val="4087874453"/>
              </p:ext>
            </p:extLst>
          </p:nvPr>
        </p:nvGraphicFramePr>
        <p:xfrm>
          <a:off x="465188" y="1473573"/>
          <a:ext cx="8219715" cy="2729754"/>
        </p:xfrm>
        <a:graphic>
          <a:graphicData uri="http://schemas.openxmlformats.org/drawingml/2006/table">
            <a:tbl>
              <a:tblPr firstRow="1" bandRow="1">
                <a:tableStyleId>{5C22544A-7EE6-4342-B048-85BDC9FD1C3A}</a:tableStyleId>
              </a:tblPr>
              <a:tblGrid>
                <a:gridCol w="1643943">
                  <a:extLst>
                    <a:ext uri="{9D8B030D-6E8A-4147-A177-3AD203B41FA5}">
                      <a16:colId xmlns:a16="http://schemas.microsoft.com/office/drawing/2014/main" val="20000"/>
                    </a:ext>
                  </a:extLst>
                </a:gridCol>
                <a:gridCol w="1643943">
                  <a:extLst>
                    <a:ext uri="{9D8B030D-6E8A-4147-A177-3AD203B41FA5}">
                      <a16:colId xmlns:a16="http://schemas.microsoft.com/office/drawing/2014/main" val="20001"/>
                    </a:ext>
                  </a:extLst>
                </a:gridCol>
                <a:gridCol w="1643943">
                  <a:extLst>
                    <a:ext uri="{9D8B030D-6E8A-4147-A177-3AD203B41FA5}">
                      <a16:colId xmlns:a16="http://schemas.microsoft.com/office/drawing/2014/main" val="20002"/>
                    </a:ext>
                  </a:extLst>
                </a:gridCol>
                <a:gridCol w="1643943">
                  <a:extLst>
                    <a:ext uri="{9D8B030D-6E8A-4147-A177-3AD203B41FA5}">
                      <a16:colId xmlns:a16="http://schemas.microsoft.com/office/drawing/2014/main" val="20003"/>
                    </a:ext>
                  </a:extLst>
                </a:gridCol>
                <a:gridCol w="1643943">
                  <a:extLst>
                    <a:ext uri="{9D8B030D-6E8A-4147-A177-3AD203B41FA5}">
                      <a16:colId xmlns:a16="http://schemas.microsoft.com/office/drawing/2014/main" val="20004"/>
                    </a:ext>
                  </a:extLst>
                </a:gridCol>
              </a:tblGrid>
              <a:tr h="350064">
                <a:tc>
                  <a:txBody>
                    <a:bodyPr/>
                    <a:lstStyle/>
                    <a:p>
                      <a:pPr marL="0" algn="ctr" defTabSz="914400" rtl="0" eaLnBrk="1" latinLnBrk="0" hangingPunct="1"/>
                      <a:endPar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endParaRP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1</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1D28"/>
                    </a:solidFill>
                  </a:tcPr>
                </a:tc>
                <a:tc>
                  <a:txBody>
                    <a:bodyPr/>
                    <a:lstStyle/>
                    <a:p>
                      <a:pPr marL="0" algn="ctr" defTabSz="914400" rtl="0" eaLnBrk="1" latinLnBrk="0" hangingPunct="1"/>
                      <a:r>
                        <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2</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3</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75000"/>
                        <a:lumOff val="25000"/>
                      </a:schemeClr>
                    </a:solidFill>
                  </a:tcPr>
                </a:tc>
                <a:tc>
                  <a:txBody>
                    <a:bodyPr/>
                    <a:lstStyle/>
                    <a:p>
                      <a:pPr marL="0" algn="ctr" defTabSz="914400" rtl="0" eaLnBrk="1" latinLnBrk="0" hangingPunct="1"/>
                      <a:r>
                        <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4</a:t>
                      </a:r>
                    </a:p>
                  </a:txBody>
                  <a:tcPr marT="34290" marB="3429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67676"/>
                    </a:solidFill>
                  </a:tcPr>
                </a:tc>
                <a:extLst>
                  <a:ext uri="{0D108BD9-81ED-4DB2-BD59-A6C34878D82A}">
                    <a16:rowId xmlns:a16="http://schemas.microsoft.com/office/drawing/2014/main" val="10000"/>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A</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buFontTx/>
                        <a:buNone/>
                      </a:pPr>
                      <a:endParaRPr lang="en-US" sz="1600">
                        <a:solidFill>
                          <a:schemeClr val="accent2"/>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B</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C</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D</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6"/>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bl>
          </a:graphicData>
        </a:graphic>
      </p:graphicFrame>
      <p:grpSp>
        <p:nvGrpSpPr>
          <p:cNvPr id="6" name="Group 5"/>
          <p:cNvGrpSpPr/>
          <p:nvPr/>
        </p:nvGrpSpPr>
        <p:grpSpPr>
          <a:xfrm>
            <a:off x="2799466" y="1944176"/>
            <a:ext cx="258680" cy="258680"/>
            <a:chOff x="6766685" y="7662953"/>
            <a:chExt cx="540406" cy="540406"/>
          </a:xfrm>
          <a:solidFill>
            <a:srgbClr val="C01D28"/>
          </a:solidFill>
        </p:grpSpPr>
        <p:sp>
          <p:nvSpPr>
            <p:cNvPr id="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4442661" y="1944176"/>
            <a:ext cx="258680" cy="258680"/>
            <a:chOff x="6766685" y="7662953"/>
            <a:chExt cx="540406" cy="540406"/>
          </a:xfrm>
          <a:solidFill>
            <a:schemeClr val="accent1"/>
          </a:solidFill>
        </p:grpSpPr>
        <p:sp>
          <p:nvSpPr>
            <p:cNvPr id="10"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p:cNvGrpSpPr/>
          <p:nvPr/>
        </p:nvGrpSpPr>
        <p:grpSpPr>
          <a:xfrm>
            <a:off x="4442661" y="2401376"/>
            <a:ext cx="258680" cy="258680"/>
            <a:chOff x="6766685" y="7662953"/>
            <a:chExt cx="540406" cy="540406"/>
          </a:xfrm>
          <a:solidFill>
            <a:schemeClr val="accent1"/>
          </a:solidFill>
        </p:grpSpPr>
        <p:sp>
          <p:nvSpPr>
            <p:cNvPr id="1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p:cNvGrpSpPr/>
          <p:nvPr/>
        </p:nvGrpSpPr>
        <p:grpSpPr>
          <a:xfrm>
            <a:off x="6085856" y="1944176"/>
            <a:ext cx="258680" cy="258680"/>
            <a:chOff x="6766685" y="7662953"/>
            <a:chExt cx="540406" cy="540406"/>
          </a:xfrm>
          <a:solidFill>
            <a:schemeClr val="accent4"/>
          </a:solidFill>
        </p:grpSpPr>
        <p:sp>
          <p:nvSpPr>
            <p:cNvPr id="16"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p:nvGrpSpPr>
        <p:grpSpPr>
          <a:xfrm>
            <a:off x="6085856" y="2408996"/>
            <a:ext cx="258680" cy="258680"/>
            <a:chOff x="6766685" y="7662953"/>
            <a:chExt cx="540406" cy="540406"/>
          </a:xfrm>
          <a:solidFill>
            <a:schemeClr val="accent4"/>
          </a:solidFill>
        </p:grpSpPr>
        <p:sp>
          <p:nvSpPr>
            <p:cNvPr id="19"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6085856" y="3372926"/>
            <a:ext cx="258680" cy="258680"/>
            <a:chOff x="6766685" y="7662953"/>
            <a:chExt cx="540406" cy="540406"/>
          </a:xfrm>
          <a:solidFill>
            <a:schemeClr val="accent4"/>
          </a:solidFill>
        </p:grpSpPr>
        <p:sp>
          <p:nvSpPr>
            <p:cNvPr id="25"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7759229" y="1944176"/>
            <a:ext cx="258680" cy="258680"/>
            <a:chOff x="6766685" y="7662953"/>
            <a:chExt cx="540406" cy="540406"/>
          </a:xfrm>
          <a:solidFill>
            <a:schemeClr val="accent5"/>
          </a:solidFill>
        </p:grpSpPr>
        <p:sp>
          <p:nvSpPr>
            <p:cNvPr id="28"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7759229" y="2408996"/>
            <a:ext cx="258680" cy="258680"/>
            <a:chOff x="6766685" y="7662953"/>
            <a:chExt cx="540406" cy="540406"/>
          </a:xfrm>
          <a:solidFill>
            <a:schemeClr val="accent5"/>
          </a:solidFill>
        </p:grpSpPr>
        <p:sp>
          <p:nvSpPr>
            <p:cNvPr id="31"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p:cNvGrpSpPr/>
          <p:nvPr/>
        </p:nvGrpSpPr>
        <p:grpSpPr>
          <a:xfrm>
            <a:off x="7759229" y="2881436"/>
            <a:ext cx="258680" cy="258680"/>
            <a:chOff x="6766685" y="7662953"/>
            <a:chExt cx="540406" cy="540406"/>
          </a:xfrm>
          <a:solidFill>
            <a:schemeClr val="accent5"/>
          </a:solidFill>
        </p:grpSpPr>
        <p:sp>
          <p:nvSpPr>
            <p:cNvPr id="34"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p:cNvGrpSpPr/>
          <p:nvPr/>
        </p:nvGrpSpPr>
        <p:grpSpPr>
          <a:xfrm>
            <a:off x="7759229" y="3372926"/>
            <a:ext cx="258680" cy="258680"/>
            <a:chOff x="6766685" y="7662953"/>
            <a:chExt cx="540406" cy="540406"/>
          </a:xfrm>
          <a:solidFill>
            <a:schemeClr val="accent5"/>
          </a:solidFill>
        </p:grpSpPr>
        <p:sp>
          <p:nvSpPr>
            <p:cNvPr id="3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p:cNvGrpSpPr/>
          <p:nvPr/>
        </p:nvGrpSpPr>
        <p:grpSpPr>
          <a:xfrm>
            <a:off x="7761507" y="3833913"/>
            <a:ext cx="258680" cy="258680"/>
            <a:chOff x="6766685" y="7662953"/>
            <a:chExt cx="540406" cy="540406"/>
          </a:xfrm>
          <a:solidFill>
            <a:schemeClr val="accent5"/>
          </a:solidFill>
        </p:grpSpPr>
        <p:sp>
          <p:nvSpPr>
            <p:cNvPr id="4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557556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5" name="Shape 2525"/>
          <p:cNvSpPr/>
          <p:nvPr/>
        </p:nvSpPr>
        <p:spPr>
          <a:xfrm>
            <a:off x="660644"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6" name="Shape 2526"/>
          <p:cNvSpPr/>
          <p:nvPr/>
        </p:nvSpPr>
        <p:spPr>
          <a:xfrm>
            <a:off x="1060590"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7" name="Shape 2527"/>
          <p:cNvSpPr/>
          <p:nvPr/>
        </p:nvSpPr>
        <p:spPr>
          <a:xfrm>
            <a:off x="1460536"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8" name="Shape 2528"/>
          <p:cNvSpPr/>
          <p:nvPr/>
        </p:nvSpPr>
        <p:spPr>
          <a:xfrm>
            <a:off x="1889050"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8"/>
                  <a:pt x="19645" y="20618"/>
                  <a:pt x="18900" y="20618"/>
                </a:cubicBezTo>
                <a:lnTo>
                  <a:pt x="2700" y="20618"/>
                </a:lnTo>
                <a:cubicBezTo>
                  <a:pt x="1955" y="20618"/>
                  <a:pt x="1350" y="20178"/>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4050" y="5891"/>
                </a:moveTo>
                <a:cubicBezTo>
                  <a:pt x="4050" y="3180"/>
                  <a:pt x="7072" y="982"/>
                  <a:pt x="10800" y="982"/>
                </a:cubicBezTo>
                <a:cubicBezTo>
                  <a:pt x="14528" y="982"/>
                  <a:pt x="17550" y="3180"/>
                  <a:pt x="17550" y="5891"/>
                </a:cubicBezTo>
                <a:lnTo>
                  <a:pt x="17550" y="8836"/>
                </a:lnTo>
                <a:lnTo>
                  <a:pt x="4050" y="8836"/>
                </a:lnTo>
                <a:cubicBezTo>
                  <a:pt x="4050" y="8836"/>
                  <a:pt x="4050" y="5891"/>
                  <a:pt x="4050" y="5891"/>
                </a:cubicBezTo>
                <a:close/>
                <a:moveTo>
                  <a:pt x="18900" y="8836"/>
                </a:moveTo>
                <a:lnTo>
                  <a:pt x="18900" y="5891"/>
                </a:lnTo>
                <a:cubicBezTo>
                  <a:pt x="18900" y="2638"/>
                  <a:pt x="15273" y="0"/>
                  <a:pt x="10800" y="0"/>
                </a:cubicBezTo>
                <a:cubicBezTo>
                  <a:pt x="6327" y="0"/>
                  <a:pt x="2700" y="2638"/>
                  <a:pt x="2700" y="5891"/>
                </a:cubicBez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moveTo>
                  <a:pt x="11475" y="15573"/>
                </a:moveTo>
                <a:lnTo>
                  <a:pt x="11475" y="16200"/>
                </a:lnTo>
                <a:cubicBezTo>
                  <a:pt x="11475" y="16472"/>
                  <a:pt x="11172" y="16691"/>
                  <a:pt x="10800" y="16691"/>
                </a:cubicBezTo>
                <a:cubicBezTo>
                  <a:pt x="10428" y="16691"/>
                  <a:pt x="10125" y="16472"/>
                  <a:pt x="10125" y="16200"/>
                </a:cubicBezTo>
                <a:lnTo>
                  <a:pt x="10125" y="15573"/>
                </a:lnTo>
                <a:cubicBezTo>
                  <a:pt x="9723" y="15403"/>
                  <a:pt x="9450" y="15090"/>
                  <a:pt x="9450" y="14727"/>
                </a:cubicBezTo>
                <a:cubicBezTo>
                  <a:pt x="9450" y="14186"/>
                  <a:pt x="10055" y="13745"/>
                  <a:pt x="10800" y="13745"/>
                </a:cubicBezTo>
                <a:cubicBezTo>
                  <a:pt x="11545" y="13745"/>
                  <a:pt x="12150" y="14186"/>
                  <a:pt x="12150" y="14727"/>
                </a:cubicBezTo>
                <a:cubicBezTo>
                  <a:pt x="12150" y="15090"/>
                  <a:pt x="11876" y="15403"/>
                  <a:pt x="11475" y="15573"/>
                </a:cubicBezTo>
                <a:moveTo>
                  <a:pt x="10800" y="12764"/>
                </a:moveTo>
                <a:cubicBezTo>
                  <a:pt x="9309" y="12764"/>
                  <a:pt x="8100" y="13643"/>
                  <a:pt x="8100" y="14727"/>
                </a:cubicBezTo>
                <a:cubicBezTo>
                  <a:pt x="8100" y="15232"/>
                  <a:pt x="8369" y="15687"/>
                  <a:pt x="8798" y="16034"/>
                </a:cubicBezTo>
                <a:cubicBezTo>
                  <a:pt x="8789" y="16089"/>
                  <a:pt x="8775" y="16144"/>
                  <a:pt x="8775" y="16200"/>
                </a:cubicBezTo>
                <a:cubicBezTo>
                  <a:pt x="8775" y="17014"/>
                  <a:pt x="9681" y="17673"/>
                  <a:pt x="10800" y="17673"/>
                </a:cubicBezTo>
                <a:cubicBezTo>
                  <a:pt x="11919" y="17673"/>
                  <a:pt x="12825" y="17014"/>
                  <a:pt x="12825" y="16200"/>
                </a:cubicBezTo>
                <a:cubicBezTo>
                  <a:pt x="12825" y="16144"/>
                  <a:pt x="12810" y="16089"/>
                  <a:pt x="12802" y="16034"/>
                </a:cubicBezTo>
                <a:cubicBezTo>
                  <a:pt x="13231" y="15686"/>
                  <a:pt x="13500" y="15232"/>
                  <a:pt x="13500" y="14727"/>
                </a:cubicBezTo>
                <a:cubicBezTo>
                  <a:pt x="13500" y="13643"/>
                  <a:pt x="12291" y="12764"/>
                  <a:pt x="108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9" name="Shape 2529"/>
          <p:cNvSpPr/>
          <p:nvPr/>
        </p:nvSpPr>
        <p:spPr>
          <a:xfrm>
            <a:off x="2288996"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1475" y="15573"/>
                </a:moveTo>
                <a:lnTo>
                  <a:pt x="11475" y="16200"/>
                </a:lnTo>
                <a:cubicBezTo>
                  <a:pt x="11475" y="16471"/>
                  <a:pt x="11172" y="16691"/>
                  <a:pt x="10800" y="16691"/>
                </a:cubicBezTo>
                <a:cubicBezTo>
                  <a:pt x="10428" y="16691"/>
                  <a:pt x="10125" y="16471"/>
                  <a:pt x="10125" y="16200"/>
                </a:cubicBezTo>
                <a:lnTo>
                  <a:pt x="10125" y="15573"/>
                </a:lnTo>
                <a:cubicBezTo>
                  <a:pt x="9723" y="15403"/>
                  <a:pt x="9450" y="15090"/>
                  <a:pt x="9450" y="14727"/>
                </a:cubicBezTo>
                <a:cubicBezTo>
                  <a:pt x="9450" y="14185"/>
                  <a:pt x="10055" y="13745"/>
                  <a:pt x="10800" y="13745"/>
                </a:cubicBezTo>
                <a:cubicBezTo>
                  <a:pt x="11545" y="13745"/>
                  <a:pt x="12150" y="14185"/>
                  <a:pt x="12150" y="14727"/>
                </a:cubicBezTo>
                <a:cubicBezTo>
                  <a:pt x="12150" y="15090"/>
                  <a:pt x="11876" y="15403"/>
                  <a:pt x="11475" y="15573"/>
                </a:cubicBezTo>
                <a:moveTo>
                  <a:pt x="10800" y="12764"/>
                </a:moveTo>
                <a:cubicBezTo>
                  <a:pt x="9309" y="12764"/>
                  <a:pt x="8100" y="13643"/>
                  <a:pt x="8100" y="14727"/>
                </a:cubicBezTo>
                <a:cubicBezTo>
                  <a:pt x="8100" y="15232"/>
                  <a:pt x="8369" y="15686"/>
                  <a:pt x="8798" y="16034"/>
                </a:cubicBezTo>
                <a:cubicBezTo>
                  <a:pt x="8789" y="16089"/>
                  <a:pt x="8775" y="16143"/>
                  <a:pt x="8775" y="16200"/>
                </a:cubicBezTo>
                <a:cubicBezTo>
                  <a:pt x="8775" y="17014"/>
                  <a:pt x="9681" y="17673"/>
                  <a:pt x="10800" y="17673"/>
                </a:cubicBezTo>
                <a:cubicBezTo>
                  <a:pt x="11919" y="17673"/>
                  <a:pt x="12825" y="17014"/>
                  <a:pt x="12825" y="16200"/>
                </a:cubicBezTo>
                <a:cubicBezTo>
                  <a:pt x="12825" y="16143"/>
                  <a:pt x="12810" y="16089"/>
                  <a:pt x="12802" y="16034"/>
                </a:cubicBezTo>
                <a:cubicBezTo>
                  <a:pt x="13231" y="15687"/>
                  <a:pt x="13500" y="15232"/>
                  <a:pt x="13500" y="14727"/>
                </a:cubicBezTo>
                <a:cubicBezTo>
                  <a:pt x="13500" y="13643"/>
                  <a:pt x="12291" y="12764"/>
                  <a:pt x="10800" y="12764"/>
                </a:cubicBezTo>
                <a:moveTo>
                  <a:pt x="20250" y="19636"/>
                </a:moveTo>
                <a:cubicBezTo>
                  <a:pt x="20250" y="20179"/>
                  <a:pt x="19645" y="20618"/>
                  <a:pt x="18900" y="20618"/>
                </a:cubicBezTo>
                <a:lnTo>
                  <a:pt x="2700" y="20618"/>
                </a:lnTo>
                <a:cubicBezTo>
                  <a:pt x="1955" y="20618"/>
                  <a:pt x="1350" y="20179"/>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18900" y="8836"/>
                </a:moveTo>
                <a:lnTo>
                  <a:pt x="18900" y="5891"/>
                </a:lnTo>
                <a:cubicBezTo>
                  <a:pt x="18900" y="2638"/>
                  <a:pt x="15273" y="0"/>
                  <a:pt x="10800" y="0"/>
                </a:cubicBezTo>
                <a:cubicBezTo>
                  <a:pt x="6327" y="0"/>
                  <a:pt x="2700" y="2638"/>
                  <a:pt x="2700" y="5891"/>
                </a:cubicBezTo>
                <a:cubicBezTo>
                  <a:pt x="2700" y="6162"/>
                  <a:pt x="3003" y="6382"/>
                  <a:pt x="3375" y="6382"/>
                </a:cubicBezTo>
                <a:cubicBezTo>
                  <a:pt x="3747" y="6382"/>
                  <a:pt x="4050" y="6162"/>
                  <a:pt x="4050" y="5891"/>
                </a:cubicBezTo>
                <a:cubicBezTo>
                  <a:pt x="4050" y="3180"/>
                  <a:pt x="7072" y="982"/>
                  <a:pt x="10800" y="982"/>
                </a:cubicBezTo>
                <a:cubicBezTo>
                  <a:pt x="14528" y="982"/>
                  <a:pt x="17550" y="3180"/>
                  <a:pt x="17550" y="5891"/>
                </a:cubicBezTo>
                <a:lnTo>
                  <a:pt x="17550" y="8836"/>
                </a:ln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0" name="Shape 2530"/>
          <p:cNvSpPr/>
          <p:nvPr/>
        </p:nvSpPr>
        <p:spPr>
          <a:xfrm>
            <a:off x="2679418"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1" name="Shape 2531"/>
          <p:cNvSpPr/>
          <p:nvPr/>
        </p:nvSpPr>
        <p:spPr>
          <a:xfrm>
            <a:off x="3079363"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9"/>
                  <a:pt x="19862" y="20618"/>
                  <a:pt x="19200" y="20618"/>
                </a:cubicBezTo>
                <a:lnTo>
                  <a:pt x="7200" y="20618"/>
                </a:lnTo>
                <a:lnTo>
                  <a:pt x="7200" y="982"/>
                </a:lnTo>
                <a:lnTo>
                  <a:pt x="19200" y="982"/>
                </a:lnTo>
                <a:cubicBezTo>
                  <a:pt x="19862" y="982"/>
                  <a:pt x="20400" y="1422"/>
                  <a:pt x="20400" y="1964"/>
                </a:cubicBezTo>
                <a:cubicBezTo>
                  <a:pt x="20400" y="1964"/>
                  <a:pt x="20400" y="19636"/>
                  <a:pt x="20400" y="19636"/>
                </a:cubicBezTo>
                <a:close/>
                <a:moveTo>
                  <a:pt x="6000" y="20618"/>
                </a:moveTo>
                <a:lnTo>
                  <a:pt x="3600" y="20618"/>
                </a:lnTo>
                <a:cubicBezTo>
                  <a:pt x="2937" y="20618"/>
                  <a:pt x="2400" y="20179"/>
                  <a:pt x="2400" y="19636"/>
                </a:cubicBezTo>
                <a:lnTo>
                  <a:pt x="2400" y="18655"/>
                </a:lnTo>
                <a:lnTo>
                  <a:pt x="3000" y="18655"/>
                </a:lnTo>
                <a:cubicBezTo>
                  <a:pt x="3332" y="18655"/>
                  <a:pt x="3600" y="18435"/>
                  <a:pt x="3600" y="18164"/>
                </a:cubicBezTo>
                <a:cubicBezTo>
                  <a:pt x="3600" y="17893"/>
                  <a:pt x="3332" y="17673"/>
                  <a:pt x="3000" y="17673"/>
                </a:cubicBezTo>
                <a:lnTo>
                  <a:pt x="2400" y="17673"/>
                </a:lnTo>
                <a:lnTo>
                  <a:pt x="2400" y="15709"/>
                </a:lnTo>
                <a:lnTo>
                  <a:pt x="3000" y="15709"/>
                </a:lnTo>
                <a:cubicBezTo>
                  <a:pt x="3332" y="15709"/>
                  <a:pt x="3600" y="15490"/>
                  <a:pt x="3600" y="15218"/>
                </a:cubicBezTo>
                <a:cubicBezTo>
                  <a:pt x="3600" y="14947"/>
                  <a:pt x="3332" y="14727"/>
                  <a:pt x="3000" y="14727"/>
                </a:cubicBezTo>
                <a:lnTo>
                  <a:pt x="2400" y="14727"/>
                </a:lnTo>
                <a:lnTo>
                  <a:pt x="2400" y="12764"/>
                </a:lnTo>
                <a:lnTo>
                  <a:pt x="3000" y="12764"/>
                </a:lnTo>
                <a:cubicBezTo>
                  <a:pt x="3332" y="12764"/>
                  <a:pt x="3600" y="12544"/>
                  <a:pt x="3600" y="12273"/>
                </a:cubicBezTo>
                <a:cubicBezTo>
                  <a:pt x="3600" y="12002"/>
                  <a:pt x="3332" y="11782"/>
                  <a:pt x="3000" y="11782"/>
                </a:cubicBezTo>
                <a:lnTo>
                  <a:pt x="2400" y="11782"/>
                </a:lnTo>
                <a:lnTo>
                  <a:pt x="2400" y="9818"/>
                </a:lnTo>
                <a:lnTo>
                  <a:pt x="3000" y="9818"/>
                </a:lnTo>
                <a:cubicBezTo>
                  <a:pt x="3332" y="9818"/>
                  <a:pt x="3600" y="9599"/>
                  <a:pt x="3600" y="9327"/>
                </a:cubicBezTo>
                <a:cubicBezTo>
                  <a:pt x="3600" y="9056"/>
                  <a:pt x="3332" y="8836"/>
                  <a:pt x="3000" y="8836"/>
                </a:cubicBezTo>
                <a:lnTo>
                  <a:pt x="2400" y="8836"/>
                </a:lnTo>
                <a:lnTo>
                  <a:pt x="2400" y="6873"/>
                </a:lnTo>
                <a:lnTo>
                  <a:pt x="3000" y="6873"/>
                </a:lnTo>
                <a:cubicBezTo>
                  <a:pt x="3332" y="6873"/>
                  <a:pt x="3600" y="6653"/>
                  <a:pt x="3600" y="6382"/>
                </a:cubicBezTo>
                <a:cubicBezTo>
                  <a:pt x="3600" y="6111"/>
                  <a:pt x="3332" y="5891"/>
                  <a:pt x="3000" y="5891"/>
                </a:cubicBezTo>
                <a:lnTo>
                  <a:pt x="2400" y="5891"/>
                </a:lnTo>
                <a:lnTo>
                  <a:pt x="2400" y="3927"/>
                </a:lnTo>
                <a:lnTo>
                  <a:pt x="3000" y="3927"/>
                </a:lnTo>
                <a:cubicBezTo>
                  <a:pt x="3332" y="3927"/>
                  <a:pt x="3600" y="3708"/>
                  <a:pt x="3600" y="3436"/>
                </a:cubicBezTo>
                <a:cubicBezTo>
                  <a:pt x="3600" y="3166"/>
                  <a:pt x="3332" y="2945"/>
                  <a:pt x="3000" y="2945"/>
                </a:cubicBezTo>
                <a:lnTo>
                  <a:pt x="2400" y="2945"/>
                </a:lnTo>
                <a:lnTo>
                  <a:pt x="2400" y="1964"/>
                </a:lnTo>
                <a:cubicBezTo>
                  <a:pt x="2400" y="1422"/>
                  <a:pt x="2937" y="982"/>
                  <a:pt x="3600" y="982"/>
                </a:cubicBezTo>
                <a:lnTo>
                  <a:pt x="6000" y="982"/>
                </a:lnTo>
                <a:cubicBezTo>
                  <a:pt x="6000" y="982"/>
                  <a:pt x="6000" y="20618"/>
                  <a:pt x="6000" y="20618"/>
                </a:cubicBezTo>
                <a:close/>
                <a:moveTo>
                  <a:pt x="19200" y="0"/>
                </a:moveTo>
                <a:lnTo>
                  <a:pt x="3600" y="0"/>
                </a:lnTo>
                <a:cubicBezTo>
                  <a:pt x="2275" y="0"/>
                  <a:pt x="1200" y="879"/>
                  <a:pt x="1200" y="1964"/>
                </a:cubicBezTo>
                <a:lnTo>
                  <a:pt x="1200" y="2945"/>
                </a:lnTo>
                <a:lnTo>
                  <a:pt x="600" y="2945"/>
                </a:lnTo>
                <a:cubicBezTo>
                  <a:pt x="268" y="2945"/>
                  <a:pt x="0" y="3166"/>
                  <a:pt x="0" y="3436"/>
                </a:cubicBezTo>
                <a:cubicBezTo>
                  <a:pt x="0" y="3708"/>
                  <a:pt x="268" y="3927"/>
                  <a:pt x="600" y="3927"/>
                </a:cubicBezTo>
                <a:lnTo>
                  <a:pt x="1200" y="3927"/>
                </a:lnTo>
                <a:lnTo>
                  <a:pt x="1200" y="5891"/>
                </a:lnTo>
                <a:lnTo>
                  <a:pt x="600" y="5891"/>
                </a:lnTo>
                <a:cubicBezTo>
                  <a:pt x="268" y="5891"/>
                  <a:pt x="0" y="6111"/>
                  <a:pt x="0" y="6382"/>
                </a:cubicBezTo>
                <a:cubicBezTo>
                  <a:pt x="0" y="6653"/>
                  <a:pt x="268" y="6873"/>
                  <a:pt x="600" y="6873"/>
                </a:cubicBezTo>
                <a:lnTo>
                  <a:pt x="1200" y="6873"/>
                </a:lnTo>
                <a:lnTo>
                  <a:pt x="1200" y="8836"/>
                </a:lnTo>
                <a:lnTo>
                  <a:pt x="600" y="8836"/>
                </a:lnTo>
                <a:cubicBezTo>
                  <a:pt x="268" y="8836"/>
                  <a:pt x="0" y="9056"/>
                  <a:pt x="0" y="9327"/>
                </a:cubicBezTo>
                <a:cubicBezTo>
                  <a:pt x="0" y="9599"/>
                  <a:pt x="268" y="9818"/>
                  <a:pt x="600" y="9818"/>
                </a:cubicBezTo>
                <a:lnTo>
                  <a:pt x="1200" y="9818"/>
                </a:lnTo>
                <a:lnTo>
                  <a:pt x="1200" y="11782"/>
                </a:lnTo>
                <a:lnTo>
                  <a:pt x="600" y="11782"/>
                </a:lnTo>
                <a:cubicBezTo>
                  <a:pt x="268" y="11782"/>
                  <a:pt x="0" y="12002"/>
                  <a:pt x="0" y="12273"/>
                </a:cubicBezTo>
                <a:cubicBezTo>
                  <a:pt x="0" y="12544"/>
                  <a:pt x="268" y="12764"/>
                  <a:pt x="600" y="12764"/>
                </a:cubicBezTo>
                <a:lnTo>
                  <a:pt x="1200" y="12764"/>
                </a:lnTo>
                <a:lnTo>
                  <a:pt x="1200" y="14727"/>
                </a:lnTo>
                <a:lnTo>
                  <a:pt x="600" y="14727"/>
                </a:lnTo>
                <a:cubicBezTo>
                  <a:pt x="268" y="14727"/>
                  <a:pt x="0" y="14947"/>
                  <a:pt x="0" y="15218"/>
                </a:cubicBezTo>
                <a:cubicBezTo>
                  <a:pt x="0" y="15490"/>
                  <a:pt x="268" y="15709"/>
                  <a:pt x="600" y="15709"/>
                </a:cubicBezTo>
                <a:lnTo>
                  <a:pt x="1200" y="15709"/>
                </a:lnTo>
                <a:lnTo>
                  <a:pt x="1200" y="17673"/>
                </a:lnTo>
                <a:lnTo>
                  <a:pt x="600" y="17673"/>
                </a:lnTo>
                <a:cubicBezTo>
                  <a:pt x="268" y="17673"/>
                  <a:pt x="0" y="17893"/>
                  <a:pt x="0" y="18164"/>
                </a:cubicBezTo>
                <a:cubicBezTo>
                  <a:pt x="0" y="18435"/>
                  <a:pt x="268" y="18655"/>
                  <a:pt x="600" y="18655"/>
                </a:cubicBezTo>
                <a:lnTo>
                  <a:pt x="1200" y="18655"/>
                </a:lnTo>
                <a:lnTo>
                  <a:pt x="1200" y="19636"/>
                </a:lnTo>
                <a:cubicBezTo>
                  <a:pt x="1200" y="20721"/>
                  <a:pt x="2275" y="21600"/>
                  <a:pt x="3600" y="21600"/>
                </a:cubicBezTo>
                <a:lnTo>
                  <a:pt x="19200" y="21600"/>
                </a:lnTo>
                <a:cubicBezTo>
                  <a:pt x="20525" y="21600"/>
                  <a:pt x="21600" y="20721"/>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2" name="Shape 2532"/>
          <p:cNvSpPr/>
          <p:nvPr/>
        </p:nvSpPr>
        <p:spPr>
          <a:xfrm>
            <a:off x="3479309"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3" name="Shape 2533"/>
          <p:cNvSpPr/>
          <p:nvPr/>
        </p:nvSpPr>
        <p:spPr>
          <a:xfrm>
            <a:off x="3879256"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4" name="Shape 2534"/>
          <p:cNvSpPr/>
          <p:nvPr/>
        </p:nvSpPr>
        <p:spPr>
          <a:xfrm>
            <a:off x="4279201"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8"/>
                  <a:pt x="19862" y="20617"/>
                  <a:pt x="19200" y="20617"/>
                </a:cubicBezTo>
                <a:lnTo>
                  <a:pt x="2400" y="20617"/>
                </a:lnTo>
                <a:cubicBezTo>
                  <a:pt x="1738" y="20617"/>
                  <a:pt x="1200" y="20178"/>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5400"/>
                </a:lnTo>
                <a:cubicBezTo>
                  <a:pt x="21600" y="5400"/>
                  <a:pt x="15600" y="0"/>
                  <a:pt x="156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5" name="Shape 2535"/>
          <p:cNvSpPr/>
          <p:nvPr/>
        </p:nvSpPr>
        <p:spPr>
          <a:xfrm>
            <a:off x="679689" y="2232030"/>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6"/>
                </a:lnTo>
                <a:lnTo>
                  <a:pt x="13928" y="8836"/>
                </a:lnTo>
                <a:cubicBezTo>
                  <a:pt x="13928" y="8836"/>
                  <a:pt x="10800" y="8836"/>
                  <a:pt x="10800" y="8836"/>
                </a:cubicBezTo>
                <a:close/>
                <a:moveTo>
                  <a:pt x="14400" y="19636"/>
                </a:moveTo>
                <a:cubicBezTo>
                  <a:pt x="14400" y="20178"/>
                  <a:pt x="13862" y="20617"/>
                  <a:pt x="13200" y="20617"/>
                </a:cubicBezTo>
                <a:lnTo>
                  <a:pt x="2400" y="20617"/>
                </a:lnTo>
                <a:cubicBezTo>
                  <a:pt x="1738" y="20617"/>
                  <a:pt x="1200" y="20178"/>
                  <a:pt x="1200" y="19636"/>
                </a:cubicBezTo>
                <a:lnTo>
                  <a:pt x="1200" y="6872"/>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2"/>
                </a:cubicBezTo>
                <a:lnTo>
                  <a:pt x="0" y="19636"/>
                </a:lnTo>
                <a:cubicBezTo>
                  <a:pt x="0" y="20720"/>
                  <a:pt x="1075" y="21600"/>
                  <a:pt x="2400" y="21600"/>
                </a:cubicBezTo>
                <a:lnTo>
                  <a:pt x="13200" y="21600"/>
                </a:lnTo>
                <a:cubicBezTo>
                  <a:pt x="14525" y="21600"/>
                  <a:pt x="15600" y="20720"/>
                  <a:pt x="15600" y="19636"/>
                </a:cubicBezTo>
                <a:lnTo>
                  <a:pt x="15600" y="8836"/>
                </a:lnTo>
                <a:lnTo>
                  <a:pt x="11400" y="4909"/>
                </a:lnTo>
                <a:cubicBezTo>
                  <a:pt x="11400" y="4909"/>
                  <a:pt x="2400" y="4909"/>
                  <a:pt x="2400" y="4909"/>
                </a:cubicBezTo>
                <a:close/>
                <a:moveTo>
                  <a:pt x="16800" y="3927"/>
                </a:moveTo>
                <a:lnTo>
                  <a:pt x="16800" y="1058"/>
                </a:lnTo>
                <a:lnTo>
                  <a:pt x="19928" y="3927"/>
                </a:lnTo>
                <a:cubicBezTo>
                  <a:pt x="19928" y="3927"/>
                  <a:pt x="16800" y="3927"/>
                  <a:pt x="16800" y="3927"/>
                </a:cubicBezTo>
                <a:close/>
                <a:moveTo>
                  <a:pt x="17400" y="0"/>
                </a:moveTo>
                <a:lnTo>
                  <a:pt x="8400" y="0"/>
                </a:lnTo>
                <a:cubicBezTo>
                  <a:pt x="7075" y="0"/>
                  <a:pt x="6000" y="879"/>
                  <a:pt x="6000" y="1964"/>
                </a:cubicBezTo>
                <a:lnTo>
                  <a:pt x="6000" y="3436"/>
                </a:lnTo>
                <a:cubicBezTo>
                  <a:pt x="6000" y="3708"/>
                  <a:pt x="6269" y="3927"/>
                  <a:pt x="6600" y="3927"/>
                </a:cubicBezTo>
                <a:cubicBezTo>
                  <a:pt x="6931"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9" y="15709"/>
                  <a:pt x="16800" y="15929"/>
                  <a:pt x="16800" y="16199"/>
                </a:cubicBezTo>
                <a:cubicBezTo>
                  <a:pt x="16800" y="16471"/>
                  <a:pt x="17069" y="16690"/>
                  <a:pt x="17400" y="16690"/>
                </a:cubicBezTo>
                <a:lnTo>
                  <a:pt x="19200" y="16690"/>
                </a:lnTo>
                <a:cubicBezTo>
                  <a:pt x="20525" y="16690"/>
                  <a:pt x="21600" y="15811"/>
                  <a:pt x="21600" y="14727"/>
                </a:cubicBezTo>
                <a:lnTo>
                  <a:pt x="21600" y="3927"/>
                </a:lnTo>
                <a:cubicBezTo>
                  <a:pt x="21600" y="3927"/>
                  <a:pt x="17400" y="0"/>
                  <a:pt x="174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6" name="Shape 2536"/>
          <p:cNvSpPr/>
          <p:nvPr/>
        </p:nvSpPr>
        <p:spPr>
          <a:xfrm>
            <a:off x="1060590"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7" name="Shape 2537"/>
          <p:cNvSpPr/>
          <p:nvPr/>
        </p:nvSpPr>
        <p:spPr>
          <a:xfrm>
            <a:off x="1479581"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3600" y="13745"/>
                </a:lnTo>
                <a:cubicBezTo>
                  <a:pt x="3269" y="13745"/>
                  <a:pt x="3000" y="13966"/>
                  <a:pt x="3000" y="14236"/>
                </a:cubicBezTo>
                <a:cubicBezTo>
                  <a:pt x="3000" y="14508"/>
                  <a:pt x="3269" y="14727"/>
                  <a:pt x="3600" y="14727"/>
                </a:cubicBezTo>
                <a:lnTo>
                  <a:pt x="14400" y="14727"/>
                </a:lnTo>
                <a:cubicBezTo>
                  <a:pt x="14731" y="14727"/>
                  <a:pt x="15000" y="14508"/>
                  <a:pt x="15000" y="14236"/>
                </a:cubicBezTo>
                <a:cubicBezTo>
                  <a:pt x="15000" y="13966"/>
                  <a:pt x="14731" y="13745"/>
                  <a:pt x="14400" y="13745"/>
                </a:cubicBezTo>
                <a:moveTo>
                  <a:pt x="3000" y="11291"/>
                </a:moveTo>
                <a:cubicBezTo>
                  <a:pt x="3000" y="11562"/>
                  <a:pt x="3269" y="11782"/>
                  <a:pt x="3600" y="11782"/>
                </a:cubicBezTo>
                <a:lnTo>
                  <a:pt x="18000" y="11782"/>
                </a:lnTo>
                <a:cubicBezTo>
                  <a:pt x="18331" y="11782"/>
                  <a:pt x="18600" y="11562"/>
                  <a:pt x="18600" y="11291"/>
                </a:cubicBezTo>
                <a:cubicBezTo>
                  <a:pt x="18600" y="11020"/>
                  <a:pt x="18331" y="10800"/>
                  <a:pt x="18000" y="10800"/>
                </a:cubicBezTo>
                <a:lnTo>
                  <a:pt x="3600" y="10800"/>
                </a:lnTo>
                <a:cubicBezTo>
                  <a:pt x="3269" y="10800"/>
                  <a:pt x="3000" y="11020"/>
                  <a:pt x="3000" y="11291"/>
                </a:cubicBezTo>
                <a:moveTo>
                  <a:pt x="20400" y="20618"/>
                </a:moveTo>
                <a:lnTo>
                  <a:pt x="6600" y="20618"/>
                </a:lnTo>
                <a:lnTo>
                  <a:pt x="1200" y="16200"/>
                </a:lnTo>
                <a:lnTo>
                  <a:pt x="1200" y="2945"/>
                </a:lnTo>
                <a:lnTo>
                  <a:pt x="4200" y="2945"/>
                </a:lnTo>
                <a:lnTo>
                  <a:pt x="4200" y="4418"/>
                </a:lnTo>
                <a:cubicBezTo>
                  <a:pt x="4200" y="4690"/>
                  <a:pt x="4469" y="4909"/>
                  <a:pt x="4800" y="4909"/>
                </a:cubicBezTo>
                <a:cubicBezTo>
                  <a:pt x="5131" y="4909"/>
                  <a:pt x="5400" y="4690"/>
                  <a:pt x="5400" y="4418"/>
                </a:cubicBezTo>
                <a:lnTo>
                  <a:pt x="5400" y="2945"/>
                </a:lnTo>
                <a:lnTo>
                  <a:pt x="6600" y="2945"/>
                </a:lnTo>
                <a:lnTo>
                  <a:pt x="6600" y="4418"/>
                </a:lnTo>
                <a:cubicBezTo>
                  <a:pt x="6600" y="4690"/>
                  <a:pt x="6869" y="4909"/>
                  <a:pt x="7200" y="4909"/>
                </a:cubicBezTo>
                <a:cubicBezTo>
                  <a:pt x="7531" y="4909"/>
                  <a:pt x="7800" y="4690"/>
                  <a:pt x="7800" y="4418"/>
                </a:cubicBezTo>
                <a:lnTo>
                  <a:pt x="7800" y="2945"/>
                </a:lnTo>
                <a:lnTo>
                  <a:pt x="9000" y="2945"/>
                </a:lnTo>
                <a:lnTo>
                  <a:pt x="9000" y="4418"/>
                </a:lnTo>
                <a:cubicBezTo>
                  <a:pt x="9000" y="4690"/>
                  <a:pt x="9269" y="4909"/>
                  <a:pt x="9600" y="4909"/>
                </a:cubicBezTo>
                <a:cubicBezTo>
                  <a:pt x="9931" y="4909"/>
                  <a:pt x="10200" y="4690"/>
                  <a:pt x="10200" y="4418"/>
                </a:cubicBezTo>
                <a:lnTo>
                  <a:pt x="10200" y="2945"/>
                </a:lnTo>
                <a:lnTo>
                  <a:pt x="11400" y="2945"/>
                </a:lnTo>
                <a:lnTo>
                  <a:pt x="11400" y="4418"/>
                </a:lnTo>
                <a:cubicBezTo>
                  <a:pt x="11400" y="4690"/>
                  <a:pt x="11669" y="4909"/>
                  <a:pt x="12000" y="4909"/>
                </a:cubicBezTo>
                <a:cubicBezTo>
                  <a:pt x="12331" y="4909"/>
                  <a:pt x="12600" y="4690"/>
                  <a:pt x="12600" y="4418"/>
                </a:cubicBezTo>
                <a:lnTo>
                  <a:pt x="12600" y="2945"/>
                </a:lnTo>
                <a:lnTo>
                  <a:pt x="13800" y="2945"/>
                </a:lnTo>
                <a:lnTo>
                  <a:pt x="13800" y="4418"/>
                </a:lnTo>
                <a:cubicBezTo>
                  <a:pt x="13800" y="4690"/>
                  <a:pt x="14069" y="4909"/>
                  <a:pt x="14400" y="4909"/>
                </a:cubicBezTo>
                <a:cubicBezTo>
                  <a:pt x="14731" y="4909"/>
                  <a:pt x="15000" y="4690"/>
                  <a:pt x="15000" y="4418"/>
                </a:cubicBezTo>
                <a:lnTo>
                  <a:pt x="15000" y="2945"/>
                </a:lnTo>
                <a:lnTo>
                  <a:pt x="16200" y="2945"/>
                </a:lnTo>
                <a:lnTo>
                  <a:pt x="16200" y="4418"/>
                </a:lnTo>
                <a:cubicBezTo>
                  <a:pt x="16200" y="4690"/>
                  <a:pt x="16469" y="4909"/>
                  <a:pt x="16800" y="4909"/>
                </a:cubicBezTo>
                <a:cubicBezTo>
                  <a:pt x="17131" y="4909"/>
                  <a:pt x="17400" y="4690"/>
                  <a:pt x="17400" y="4418"/>
                </a:cubicBezTo>
                <a:lnTo>
                  <a:pt x="17400" y="2945"/>
                </a:lnTo>
                <a:lnTo>
                  <a:pt x="20400" y="2945"/>
                </a:lnTo>
                <a:cubicBezTo>
                  <a:pt x="20400" y="2945"/>
                  <a:pt x="20400" y="20618"/>
                  <a:pt x="20400" y="20618"/>
                </a:cubicBezTo>
                <a:close/>
                <a:moveTo>
                  <a:pt x="1200" y="20618"/>
                </a:moveTo>
                <a:lnTo>
                  <a:pt x="1200" y="17673"/>
                </a:lnTo>
                <a:lnTo>
                  <a:pt x="4800" y="20618"/>
                </a:lnTo>
                <a:cubicBezTo>
                  <a:pt x="4800" y="20618"/>
                  <a:pt x="1200" y="20618"/>
                  <a:pt x="1200" y="20618"/>
                </a:cubicBezTo>
                <a:close/>
                <a:moveTo>
                  <a:pt x="20400" y="1964"/>
                </a:moveTo>
                <a:lnTo>
                  <a:pt x="17400" y="1964"/>
                </a:lnTo>
                <a:lnTo>
                  <a:pt x="17400" y="491"/>
                </a:lnTo>
                <a:cubicBezTo>
                  <a:pt x="17400" y="220"/>
                  <a:pt x="17131" y="0"/>
                  <a:pt x="16800" y="0"/>
                </a:cubicBezTo>
                <a:cubicBezTo>
                  <a:pt x="16469" y="0"/>
                  <a:pt x="16200" y="220"/>
                  <a:pt x="16200" y="491"/>
                </a:cubicBezTo>
                <a:lnTo>
                  <a:pt x="16200" y="1964"/>
                </a:lnTo>
                <a:lnTo>
                  <a:pt x="15000" y="1964"/>
                </a:lnTo>
                <a:lnTo>
                  <a:pt x="15000" y="491"/>
                </a:lnTo>
                <a:cubicBezTo>
                  <a:pt x="15000" y="220"/>
                  <a:pt x="14731" y="0"/>
                  <a:pt x="14400" y="0"/>
                </a:cubicBezTo>
                <a:cubicBezTo>
                  <a:pt x="14069" y="0"/>
                  <a:pt x="13800" y="220"/>
                  <a:pt x="13800" y="491"/>
                </a:cubicBezTo>
                <a:lnTo>
                  <a:pt x="13800" y="1964"/>
                </a:lnTo>
                <a:lnTo>
                  <a:pt x="12600" y="1964"/>
                </a:lnTo>
                <a:lnTo>
                  <a:pt x="12600" y="491"/>
                </a:lnTo>
                <a:cubicBezTo>
                  <a:pt x="12600" y="220"/>
                  <a:pt x="12331" y="0"/>
                  <a:pt x="12000" y="0"/>
                </a:cubicBezTo>
                <a:cubicBezTo>
                  <a:pt x="11669" y="0"/>
                  <a:pt x="11400" y="220"/>
                  <a:pt x="11400" y="491"/>
                </a:cubicBezTo>
                <a:lnTo>
                  <a:pt x="11400" y="1964"/>
                </a:lnTo>
                <a:lnTo>
                  <a:pt x="10200" y="1964"/>
                </a:lnTo>
                <a:lnTo>
                  <a:pt x="10200" y="491"/>
                </a:lnTo>
                <a:cubicBezTo>
                  <a:pt x="10200" y="220"/>
                  <a:pt x="9931" y="0"/>
                  <a:pt x="9600" y="0"/>
                </a:cubicBezTo>
                <a:cubicBezTo>
                  <a:pt x="9269" y="0"/>
                  <a:pt x="9000" y="220"/>
                  <a:pt x="9000" y="491"/>
                </a:cubicBezTo>
                <a:lnTo>
                  <a:pt x="9000" y="1964"/>
                </a:lnTo>
                <a:lnTo>
                  <a:pt x="7800" y="1964"/>
                </a:lnTo>
                <a:lnTo>
                  <a:pt x="7800" y="491"/>
                </a:lnTo>
                <a:cubicBezTo>
                  <a:pt x="7800" y="220"/>
                  <a:pt x="7531" y="0"/>
                  <a:pt x="7200" y="0"/>
                </a:cubicBezTo>
                <a:cubicBezTo>
                  <a:pt x="6869" y="0"/>
                  <a:pt x="6600" y="220"/>
                  <a:pt x="6600" y="491"/>
                </a:cubicBezTo>
                <a:lnTo>
                  <a:pt x="6600" y="1964"/>
                </a:lnTo>
                <a:lnTo>
                  <a:pt x="5400" y="1964"/>
                </a:lnTo>
                <a:lnTo>
                  <a:pt x="5400" y="491"/>
                </a:lnTo>
                <a:cubicBezTo>
                  <a:pt x="5400" y="220"/>
                  <a:pt x="5131" y="0"/>
                  <a:pt x="4800" y="0"/>
                </a:cubicBezTo>
                <a:cubicBezTo>
                  <a:pt x="4469" y="0"/>
                  <a:pt x="4200" y="220"/>
                  <a:pt x="4200" y="491"/>
                </a:cubicBezTo>
                <a:lnTo>
                  <a:pt x="4200" y="1964"/>
                </a:lnTo>
                <a:lnTo>
                  <a:pt x="1200" y="1964"/>
                </a:lnTo>
                <a:cubicBezTo>
                  <a:pt x="538" y="1964"/>
                  <a:pt x="0" y="2404"/>
                  <a:pt x="0" y="2945"/>
                </a:cubicBezTo>
                <a:lnTo>
                  <a:pt x="0" y="20618"/>
                </a:lnTo>
                <a:cubicBezTo>
                  <a:pt x="0" y="21161"/>
                  <a:pt x="538" y="21600"/>
                  <a:pt x="1200" y="21600"/>
                </a:cubicBezTo>
                <a:lnTo>
                  <a:pt x="20400" y="21600"/>
                </a:lnTo>
                <a:cubicBezTo>
                  <a:pt x="21062" y="21600"/>
                  <a:pt x="21600" y="21161"/>
                  <a:pt x="21600" y="20618"/>
                </a:cubicBezTo>
                <a:lnTo>
                  <a:pt x="21600" y="2945"/>
                </a:lnTo>
                <a:cubicBezTo>
                  <a:pt x="21600" y="2404"/>
                  <a:pt x="21062" y="1964"/>
                  <a:pt x="20400" y="1964"/>
                </a:cubicBezTo>
                <a:moveTo>
                  <a:pt x="3600" y="8836"/>
                </a:moveTo>
                <a:lnTo>
                  <a:pt x="10800" y="8836"/>
                </a:lnTo>
                <a:cubicBezTo>
                  <a:pt x="11131" y="8836"/>
                  <a:pt x="11400" y="8617"/>
                  <a:pt x="11400" y="8345"/>
                </a:cubicBezTo>
                <a:cubicBezTo>
                  <a:pt x="11400" y="8075"/>
                  <a:pt x="11131" y="7855"/>
                  <a:pt x="10800" y="7855"/>
                </a:cubicBezTo>
                <a:lnTo>
                  <a:pt x="3600" y="7855"/>
                </a:lnTo>
                <a:cubicBezTo>
                  <a:pt x="3269" y="7855"/>
                  <a:pt x="3000" y="8075"/>
                  <a:pt x="3000" y="8345"/>
                </a:cubicBezTo>
                <a:cubicBezTo>
                  <a:pt x="3000" y="8617"/>
                  <a:pt x="3269" y="8836"/>
                  <a:pt x="36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8" name="Shape 2538"/>
          <p:cNvSpPr/>
          <p:nvPr/>
        </p:nvSpPr>
        <p:spPr>
          <a:xfrm>
            <a:off x="1879527"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9" name="Shape 2539"/>
          <p:cNvSpPr/>
          <p:nvPr/>
        </p:nvSpPr>
        <p:spPr>
          <a:xfrm>
            <a:off x="2260427" y="2265360"/>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0" name="Shape 2540"/>
          <p:cNvSpPr/>
          <p:nvPr/>
        </p:nvSpPr>
        <p:spPr>
          <a:xfrm>
            <a:off x="2660374"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1" name="Shape 2541"/>
          <p:cNvSpPr/>
          <p:nvPr/>
        </p:nvSpPr>
        <p:spPr>
          <a:xfrm>
            <a:off x="3079363" y="2251076"/>
            <a:ext cx="171406" cy="171406"/>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2" name="Shape 2542"/>
          <p:cNvSpPr/>
          <p:nvPr/>
        </p:nvSpPr>
        <p:spPr>
          <a:xfrm>
            <a:off x="3460265"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4909"/>
                </a:moveTo>
                <a:lnTo>
                  <a:pt x="19636" y="4909"/>
                </a:lnTo>
                <a:lnTo>
                  <a:pt x="19636" y="3927"/>
                </a:lnTo>
                <a:lnTo>
                  <a:pt x="18655" y="3927"/>
                </a:lnTo>
                <a:cubicBezTo>
                  <a:pt x="18655" y="3927"/>
                  <a:pt x="18655" y="4909"/>
                  <a:pt x="18655" y="4909"/>
                </a:cubicBezTo>
                <a:close/>
                <a:moveTo>
                  <a:pt x="19636" y="12764"/>
                </a:moveTo>
                <a:lnTo>
                  <a:pt x="18655" y="12764"/>
                </a:lnTo>
                <a:lnTo>
                  <a:pt x="18655" y="13745"/>
                </a:lnTo>
                <a:lnTo>
                  <a:pt x="19636" y="13745"/>
                </a:lnTo>
                <a:cubicBezTo>
                  <a:pt x="19636" y="13745"/>
                  <a:pt x="19636" y="12764"/>
                  <a:pt x="19636" y="12764"/>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2"/>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10309"/>
                </a:moveTo>
                <a:lnTo>
                  <a:pt x="4909" y="10309"/>
                </a:lnTo>
                <a:lnTo>
                  <a:pt x="4909" y="982"/>
                </a:lnTo>
                <a:lnTo>
                  <a:pt x="16691" y="982"/>
                </a:lnTo>
                <a:cubicBezTo>
                  <a:pt x="16691" y="982"/>
                  <a:pt x="16691" y="10309"/>
                  <a:pt x="16691" y="10309"/>
                </a:cubicBezTo>
                <a:close/>
                <a:moveTo>
                  <a:pt x="16691" y="20618"/>
                </a:moveTo>
                <a:lnTo>
                  <a:pt x="4909" y="20618"/>
                </a:lnTo>
                <a:lnTo>
                  <a:pt x="4909" y="11291"/>
                </a:lnTo>
                <a:lnTo>
                  <a:pt x="16691" y="11291"/>
                </a:lnTo>
                <a:cubicBezTo>
                  <a:pt x="16691" y="11291"/>
                  <a:pt x="16691" y="20618"/>
                  <a:pt x="16691" y="20618"/>
                </a:cubicBezTo>
                <a:close/>
                <a:moveTo>
                  <a:pt x="3927" y="10309"/>
                </a:moveTo>
                <a:lnTo>
                  <a:pt x="982" y="10309"/>
                </a:lnTo>
                <a:lnTo>
                  <a:pt x="982" y="1964"/>
                </a:lnTo>
                <a:cubicBezTo>
                  <a:pt x="982" y="1422"/>
                  <a:pt x="1421" y="982"/>
                  <a:pt x="1964" y="982"/>
                </a:cubicBezTo>
                <a:lnTo>
                  <a:pt x="3927" y="982"/>
                </a:lnTo>
                <a:cubicBezTo>
                  <a:pt x="3927" y="982"/>
                  <a:pt x="3927" y="10309"/>
                  <a:pt x="3927" y="10309"/>
                </a:cubicBezTo>
                <a:close/>
                <a:moveTo>
                  <a:pt x="3927" y="20618"/>
                </a:moveTo>
                <a:lnTo>
                  <a:pt x="1964" y="20618"/>
                </a:lnTo>
                <a:cubicBezTo>
                  <a:pt x="1421"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9636" y="14727"/>
                </a:moveTo>
                <a:lnTo>
                  <a:pt x="18655" y="14727"/>
                </a:lnTo>
                <a:lnTo>
                  <a:pt x="18655" y="15709"/>
                </a:lnTo>
                <a:lnTo>
                  <a:pt x="19636" y="15709"/>
                </a:lnTo>
                <a:cubicBezTo>
                  <a:pt x="19636" y="15709"/>
                  <a:pt x="19636" y="14727"/>
                  <a:pt x="19636" y="14727"/>
                </a:cubicBezTo>
                <a:close/>
                <a:moveTo>
                  <a:pt x="18655" y="6873"/>
                </a:moveTo>
                <a:lnTo>
                  <a:pt x="19636" y="6873"/>
                </a:lnTo>
                <a:lnTo>
                  <a:pt x="19636" y="5891"/>
                </a:lnTo>
                <a:lnTo>
                  <a:pt x="18655" y="5891"/>
                </a:lnTo>
                <a:cubicBezTo>
                  <a:pt x="18655" y="5891"/>
                  <a:pt x="18655" y="6873"/>
                  <a:pt x="18655" y="6873"/>
                </a:cubicBezTo>
                <a:close/>
                <a:moveTo>
                  <a:pt x="18655" y="8836"/>
                </a:moveTo>
                <a:lnTo>
                  <a:pt x="19636" y="8836"/>
                </a:lnTo>
                <a:lnTo>
                  <a:pt x="19636" y="7855"/>
                </a:lnTo>
                <a:lnTo>
                  <a:pt x="18655" y="7855"/>
                </a:lnTo>
                <a:cubicBezTo>
                  <a:pt x="18655" y="7855"/>
                  <a:pt x="18655" y="8836"/>
                  <a:pt x="18655" y="8836"/>
                </a:cubicBezTo>
                <a:close/>
                <a:moveTo>
                  <a:pt x="19636" y="16691"/>
                </a:moveTo>
                <a:lnTo>
                  <a:pt x="18655" y="16691"/>
                </a:lnTo>
                <a:lnTo>
                  <a:pt x="18655" y="17673"/>
                </a:lnTo>
                <a:lnTo>
                  <a:pt x="19636" y="17673"/>
                </a:lnTo>
                <a:cubicBezTo>
                  <a:pt x="19636" y="17673"/>
                  <a:pt x="19636" y="16691"/>
                  <a:pt x="19636" y="16691"/>
                </a:cubicBezTo>
                <a:close/>
                <a:moveTo>
                  <a:pt x="19636" y="18655"/>
                </a:moveTo>
                <a:lnTo>
                  <a:pt x="18655" y="18655"/>
                </a:lnTo>
                <a:lnTo>
                  <a:pt x="18655" y="19636"/>
                </a:lnTo>
                <a:lnTo>
                  <a:pt x="19636" y="19636"/>
                </a:lnTo>
                <a:cubicBezTo>
                  <a:pt x="19636" y="19636"/>
                  <a:pt x="19636" y="18655"/>
                  <a:pt x="19636" y="18655"/>
                </a:cubicBezTo>
                <a:close/>
                <a:moveTo>
                  <a:pt x="2945" y="18655"/>
                </a:moveTo>
                <a:lnTo>
                  <a:pt x="1964" y="18655"/>
                </a:lnTo>
                <a:lnTo>
                  <a:pt x="1964" y="19636"/>
                </a:lnTo>
                <a:lnTo>
                  <a:pt x="2945" y="19636"/>
                </a:lnTo>
                <a:cubicBezTo>
                  <a:pt x="2945" y="19636"/>
                  <a:pt x="2945" y="18655"/>
                  <a:pt x="2945" y="18655"/>
                </a:cubicBezTo>
                <a:close/>
                <a:moveTo>
                  <a:pt x="2945" y="16691"/>
                </a:moveTo>
                <a:lnTo>
                  <a:pt x="1964" y="16691"/>
                </a:lnTo>
                <a:lnTo>
                  <a:pt x="1964" y="17673"/>
                </a:lnTo>
                <a:lnTo>
                  <a:pt x="2945" y="17673"/>
                </a:lnTo>
                <a:cubicBezTo>
                  <a:pt x="2945" y="17673"/>
                  <a:pt x="2945" y="16691"/>
                  <a:pt x="2945" y="16691"/>
                </a:cubicBezTo>
                <a:close/>
                <a:moveTo>
                  <a:pt x="1964" y="2945"/>
                </a:moveTo>
                <a:lnTo>
                  <a:pt x="2945" y="2945"/>
                </a:lnTo>
                <a:lnTo>
                  <a:pt x="2945" y="1964"/>
                </a:lnTo>
                <a:lnTo>
                  <a:pt x="1964" y="1964"/>
                </a:lnTo>
                <a:cubicBezTo>
                  <a:pt x="1964" y="1964"/>
                  <a:pt x="1964" y="2945"/>
                  <a:pt x="1964" y="2945"/>
                </a:cubicBezTo>
                <a:close/>
                <a:moveTo>
                  <a:pt x="2945" y="14727"/>
                </a:moveTo>
                <a:lnTo>
                  <a:pt x="1964" y="14727"/>
                </a:lnTo>
                <a:lnTo>
                  <a:pt x="1964" y="15709"/>
                </a:lnTo>
                <a:lnTo>
                  <a:pt x="2945" y="15709"/>
                </a:lnTo>
                <a:cubicBezTo>
                  <a:pt x="2945" y="15709"/>
                  <a:pt x="2945" y="14727"/>
                  <a:pt x="2945" y="14727"/>
                </a:cubicBezTo>
                <a:close/>
                <a:moveTo>
                  <a:pt x="2945" y="12764"/>
                </a:moveTo>
                <a:lnTo>
                  <a:pt x="1964" y="12764"/>
                </a:lnTo>
                <a:lnTo>
                  <a:pt x="1964" y="13745"/>
                </a:lnTo>
                <a:lnTo>
                  <a:pt x="2945" y="13745"/>
                </a:lnTo>
                <a:cubicBezTo>
                  <a:pt x="2945" y="13745"/>
                  <a:pt x="2945" y="12764"/>
                  <a:pt x="2945" y="12764"/>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moveTo>
                  <a:pt x="1964" y="8836"/>
                </a:moveTo>
                <a:lnTo>
                  <a:pt x="2945" y="8836"/>
                </a:lnTo>
                <a:lnTo>
                  <a:pt x="2945" y="7855"/>
                </a:lnTo>
                <a:lnTo>
                  <a:pt x="1964" y="7855"/>
                </a:lnTo>
                <a:cubicBezTo>
                  <a:pt x="1964" y="7855"/>
                  <a:pt x="1964" y="8836"/>
                  <a:pt x="1964"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3" name="Shape 2543"/>
          <p:cNvSpPr/>
          <p:nvPr/>
        </p:nvSpPr>
        <p:spPr>
          <a:xfrm>
            <a:off x="3860211"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8655"/>
                </a:moveTo>
                <a:lnTo>
                  <a:pt x="14727" y="18655"/>
                </a:lnTo>
                <a:lnTo>
                  <a:pt x="14727" y="19636"/>
                </a:lnTo>
                <a:lnTo>
                  <a:pt x="15709" y="19636"/>
                </a:lnTo>
                <a:cubicBezTo>
                  <a:pt x="15709" y="19636"/>
                  <a:pt x="15709" y="18655"/>
                  <a:pt x="15709" y="18655"/>
                </a:cubicBezTo>
                <a:close/>
                <a:moveTo>
                  <a:pt x="15709" y="14727"/>
                </a:moveTo>
                <a:lnTo>
                  <a:pt x="14727" y="14727"/>
                </a:lnTo>
                <a:lnTo>
                  <a:pt x="14727" y="15709"/>
                </a:lnTo>
                <a:lnTo>
                  <a:pt x="15709" y="15709"/>
                </a:lnTo>
                <a:cubicBezTo>
                  <a:pt x="15709" y="15709"/>
                  <a:pt x="15709" y="14727"/>
                  <a:pt x="15709" y="14727"/>
                </a:cubicBezTo>
                <a:close/>
                <a:moveTo>
                  <a:pt x="14727" y="10800"/>
                </a:moveTo>
                <a:lnTo>
                  <a:pt x="15709" y="10800"/>
                </a:lnTo>
                <a:lnTo>
                  <a:pt x="15709" y="9818"/>
                </a:lnTo>
                <a:lnTo>
                  <a:pt x="14727" y="9818"/>
                </a:lnTo>
                <a:cubicBezTo>
                  <a:pt x="14727" y="9818"/>
                  <a:pt x="14727" y="10800"/>
                  <a:pt x="14727" y="10800"/>
                </a:cubicBezTo>
                <a:close/>
                <a:moveTo>
                  <a:pt x="15709" y="16691"/>
                </a:moveTo>
                <a:lnTo>
                  <a:pt x="14727" y="16691"/>
                </a:lnTo>
                <a:lnTo>
                  <a:pt x="14727" y="17673"/>
                </a:lnTo>
                <a:lnTo>
                  <a:pt x="15709" y="17673"/>
                </a:lnTo>
                <a:cubicBezTo>
                  <a:pt x="15709" y="17673"/>
                  <a:pt x="15709" y="16691"/>
                  <a:pt x="15709" y="16691"/>
                </a:cubicBezTo>
                <a:close/>
                <a:moveTo>
                  <a:pt x="14727" y="8836"/>
                </a:moveTo>
                <a:lnTo>
                  <a:pt x="15709" y="8836"/>
                </a:lnTo>
                <a:lnTo>
                  <a:pt x="15709" y="7855"/>
                </a:lnTo>
                <a:lnTo>
                  <a:pt x="14727" y="7855"/>
                </a:lnTo>
                <a:cubicBezTo>
                  <a:pt x="14727" y="7855"/>
                  <a:pt x="14727" y="8836"/>
                  <a:pt x="14727" y="8836"/>
                </a:cubicBezTo>
                <a:close/>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1"/>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14727" y="6873"/>
                </a:moveTo>
                <a:lnTo>
                  <a:pt x="15709" y="6873"/>
                </a:lnTo>
                <a:lnTo>
                  <a:pt x="15709" y="5891"/>
                </a:lnTo>
                <a:lnTo>
                  <a:pt x="14727" y="5891"/>
                </a:lnTo>
                <a:cubicBezTo>
                  <a:pt x="14727" y="5891"/>
                  <a:pt x="14727" y="6873"/>
                  <a:pt x="14727" y="6873"/>
                </a:cubicBezTo>
                <a:close/>
                <a:moveTo>
                  <a:pt x="16691" y="12273"/>
                </a:moveTo>
                <a:lnTo>
                  <a:pt x="13745" y="12273"/>
                </a:lnTo>
                <a:lnTo>
                  <a:pt x="13745" y="4909"/>
                </a:lnTo>
                <a:lnTo>
                  <a:pt x="15709" y="4909"/>
                </a:lnTo>
                <a:cubicBezTo>
                  <a:pt x="16251" y="4909"/>
                  <a:pt x="16691" y="5349"/>
                  <a:pt x="16691" y="5891"/>
                </a:cubicBezTo>
                <a:cubicBezTo>
                  <a:pt x="16691" y="5891"/>
                  <a:pt x="16691" y="12273"/>
                  <a:pt x="16691" y="12273"/>
                </a:cubicBezTo>
                <a:close/>
                <a:moveTo>
                  <a:pt x="16691" y="19636"/>
                </a:moveTo>
                <a:cubicBezTo>
                  <a:pt x="16691" y="20178"/>
                  <a:pt x="16251" y="20618"/>
                  <a:pt x="15709" y="20618"/>
                </a:cubicBezTo>
                <a:lnTo>
                  <a:pt x="13745" y="20618"/>
                </a:lnTo>
                <a:lnTo>
                  <a:pt x="13745" y="13255"/>
                </a:lnTo>
                <a:lnTo>
                  <a:pt x="16691" y="13255"/>
                </a:lnTo>
                <a:cubicBezTo>
                  <a:pt x="16691" y="13255"/>
                  <a:pt x="16691" y="19636"/>
                  <a:pt x="16691" y="19636"/>
                </a:cubicBezTo>
                <a:close/>
                <a:moveTo>
                  <a:pt x="12764" y="12273"/>
                </a:moveTo>
                <a:lnTo>
                  <a:pt x="4909" y="12273"/>
                </a:lnTo>
                <a:lnTo>
                  <a:pt x="4909" y="4909"/>
                </a:lnTo>
                <a:lnTo>
                  <a:pt x="12764" y="4909"/>
                </a:lnTo>
                <a:cubicBezTo>
                  <a:pt x="12764" y="4909"/>
                  <a:pt x="12764" y="12273"/>
                  <a:pt x="12764" y="12273"/>
                </a:cubicBezTo>
                <a:close/>
                <a:moveTo>
                  <a:pt x="12764" y="20618"/>
                </a:moveTo>
                <a:lnTo>
                  <a:pt x="4909" y="20618"/>
                </a:lnTo>
                <a:lnTo>
                  <a:pt x="4909" y="13255"/>
                </a:lnTo>
                <a:lnTo>
                  <a:pt x="12764" y="13255"/>
                </a:lnTo>
                <a:cubicBezTo>
                  <a:pt x="12764" y="13255"/>
                  <a:pt x="12764" y="20618"/>
                  <a:pt x="12764" y="20618"/>
                </a:cubicBezTo>
                <a:close/>
                <a:moveTo>
                  <a:pt x="3927" y="12273"/>
                </a:moveTo>
                <a:lnTo>
                  <a:pt x="982" y="12273"/>
                </a:lnTo>
                <a:lnTo>
                  <a:pt x="982" y="5891"/>
                </a:lnTo>
                <a:cubicBezTo>
                  <a:pt x="982" y="5349"/>
                  <a:pt x="1422" y="4909"/>
                  <a:pt x="1964" y="4909"/>
                </a:cubicBezTo>
                <a:lnTo>
                  <a:pt x="3927" y="4909"/>
                </a:lnTo>
                <a:cubicBezTo>
                  <a:pt x="3927" y="4909"/>
                  <a:pt x="3927" y="12273"/>
                  <a:pt x="3927" y="12273"/>
                </a:cubicBezTo>
                <a:close/>
                <a:moveTo>
                  <a:pt x="3927" y="20618"/>
                </a:moveTo>
                <a:lnTo>
                  <a:pt x="1964" y="20618"/>
                </a:lnTo>
                <a:cubicBezTo>
                  <a:pt x="1422" y="20618"/>
                  <a:pt x="982" y="20178"/>
                  <a:pt x="982" y="19636"/>
                </a:cubicBezTo>
                <a:lnTo>
                  <a:pt x="982" y="13255"/>
                </a:lnTo>
                <a:lnTo>
                  <a:pt x="3927" y="13255"/>
                </a:lnTo>
                <a:cubicBezTo>
                  <a:pt x="3927" y="13255"/>
                  <a:pt x="3927" y="20618"/>
                  <a:pt x="3927" y="20618"/>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moveTo>
                  <a:pt x="1964" y="8836"/>
                </a:moveTo>
                <a:lnTo>
                  <a:pt x="2945" y="8836"/>
                </a:lnTo>
                <a:lnTo>
                  <a:pt x="2945" y="7855"/>
                </a:lnTo>
                <a:lnTo>
                  <a:pt x="1964" y="7855"/>
                </a:lnTo>
                <a:cubicBezTo>
                  <a:pt x="1964" y="7855"/>
                  <a:pt x="1964" y="8836"/>
                  <a:pt x="1964" y="8836"/>
                </a:cubicBezTo>
                <a:close/>
                <a:moveTo>
                  <a:pt x="1964" y="10800"/>
                </a:moveTo>
                <a:lnTo>
                  <a:pt x="2945" y="10800"/>
                </a:lnTo>
                <a:lnTo>
                  <a:pt x="2945" y="9818"/>
                </a:lnTo>
                <a:lnTo>
                  <a:pt x="1964" y="9818"/>
                </a:lnTo>
                <a:cubicBezTo>
                  <a:pt x="1964" y="9818"/>
                  <a:pt x="1964" y="10800"/>
                  <a:pt x="1964" y="10800"/>
                </a:cubicBezTo>
                <a:close/>
                <a:moveTo>
                  <a:pt x="2945" y="16691"/>
                </a:moveTo>
                <a:lnTo>
                  <a:pt x="1964" y="16691"/>
                </a:lnTo>
                <a:lnTo>
                  <a:pt x="1964" y="17673"/>
                </a:lnTo>
                <a:lnTo>
                  <a:pt x="2945" y="17673"/>
                </a:lnTo>
                <a:cubicBezTo>
                  <a:pt x="2945" y="17673"/>
                  <a:pt x="2945" y="16691"/>
                  <a:pt x="2945" y="16691"/>
                </a:cubicBezTo>
                <a:close/>
                <a:moveTo>
                  <a:pt x="1964" y="6873"/>
                </a:moveTo>
                <a:lnTo>
                  <a:pt x="2945" y="6873"/>
                </a:lnTo>
                <a:lnTo>
                  <a:pt x="2945" y="5891"/>
                </a:lnTo>
                <a:lnTo>
                  <a:pt x="1964" y="5891"/>
                </a:lnTo>
                <a:cubicBezTo>
                  <a:pt x="1964" y="5891"/>
                  <a:pt x="1964" y="6873"/>
                  <a:pt x="1964" y="6873"/>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4" name="Shape 2544"/>
          <p:cNvSpPr/>
          <p:nvPr/>
        </p:nvSpPr>
        <p:spPr>
          <a:xfrm>
            <a:off x="4260157"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8255"/>
                </a:moveTo>
                <a:lnTo>
                  <a:pt x="12837" y="10800"/>
                </a:lnTo>
                <a:lnTo>
                  <a:pt x="8836" y="13345"/>
                </a:lnTo>
                <a:cubicBezTo>
                  <a:pt x="8836" y="13345"/>
                  <a:pt x="8836" y="8255"/>
                  <a:pt x="8836" y="8255"/>
                </a:cubicBezTo>
                <a:close/>
                <a:moveTo>
                  <a:pt x="8345" y="14727"/>
                </a:moveTo>
                <a:cubicBezTo>
                  <a:pt x="8461" y="14727"/>
                  <a:pt x="8564" y="14681"/>
                  <a:pt x="8647" y="14614"/>
                </a:cubicBezTo>
                <a:lnTo>
                  <a:pt x="8652" y="14620"/>
                </a:lnTo>
                <a:lnTo>
                  <a:pt x="14052" y="11184"/>
                </a:lnTo>
                <a:lnTo>
                  <a:pt x="14047" y="11178"/>
                </a:lnTo>
                <a:cubicBezTo>
                  <a:pt x="14160" y="11088"/>
                  <a:pt x="14236" y="10955"/>
                  <a:pt x="14236" y="10800"/>
                </a:cubicBezTo>
                <a:cubicBezTo>
                  <a:pt x="14236" y="10645"/>
                  <a:pt x="14160" y="10512"/>
                  <a:pt x="14047" y="10422"/>
                </a:cubicBezTo>
                <a:lnTo>
                  <a:pt x="14052" y="10417"/>
                </a:lnTo>
                <a:lnTo>
                  <a:pt x="8652" y="6980"/>
                </a:lnTo>
                <a:lnTo>
                  <a:pt x="8647" y="6986"/>
                </a:lnTo>
                <a:cubicBezTo>
                  <a:pt x="8564" y="6919"/>
                  <a:pt x="8461" y="6873"/>
                  <a:pt x="8345" y="6873"/>
                </a:cubicBezTo>
                <a:cubicBezTo>
                  <a:pt x="8074" y="6873"/>
                  <a:pt x="7855" y="7093"/>
                  <a:pt x="7855" y="7364"/>
                </a:cubicBezTo>
                <a:lnTo>
                  <a:pt x="7855" y="14236"/>
                </a:lnTo>
                <a:cubicBezTo>
                  <a:pt x="7855" y="14507"/>
                  <a:pt x="8074" y="14727"/>
                  <a:pt x="8345" y="14727"/>
                </a:cubicBezTo>
                <a:moveTo>
                  <a:pt x="19636" y="18655"/>
                </a:moveTo>
                <a:lnTo>
                  <a:pt x="18655" y="18655"/>
                </a:lnTo>
                <a:lnTo>
                  <a:pt x="18655" y="19636"/>
                </a:lnTo>
                <a:lnTo>
                  <a:pt x="19636" y="19636"/>
                </a:lnTo>
                <a:cubicBezTo>
                  <a:pt x="19636" y="19636"/>
                  <a:pt x="19636" y="18655"/>
                  <a:pt x="19636" y="18655"/>
                </a:cubicBezTo>
                <a:close/>
                <a:moveTo>
                  <a:pt x="19636" y="14727"/>
                </a:moveTo>
                <a:lnTo>
                  <a:pt x="18655" y="14727"/>
                </a:lnTo>
                <a:lnTo>
                  <a:pt x="18655" y="15709"/>
                </a:lnTo>
                <a:lnTo>
                  <a:pt x="19636" y="15709"/>
                </a:lnTo>
                <a:cubicBezTo>
                  <a:pt x="19636" y="15709"/>
                  <a:pt x="19636" y="14727"/>
                  <a:pt x="19636" y="14727"/>
                </a:cubicBezTo>
                <a:close/>
                <a:moveTo>
                  <a:pt x="19636" y="12764"/>
                </a:moveTo>
                <a:lnTo>
                  <a:pt x="18655" y="12764"/>
                </a:lnTo>
                <a:lnTo>
                  <a:pt x="18655" y="13745"/>
                </a:lnTo>
                <a:lnTo>
                  <a:pt x="19636" y="13745"/>
                </a:lnTo>
                <a:cubicBezTo>
                  <a:pt x="19636" y="13745"/>
                  <a:pt x="19636" y="12764"/>
                  <a:pt x="19636" y="12764"/>
                </a:cubicBezTo>
                <a:close/>
                <a:moveTo>
                  <a:pt x="19636" y="16691"/>
                </a:moveTo>
                <a:lnTo>
                  <a:pt x="18655" y="16691"/>
                </a:lnTo>
                <a:lnTo>
                  <a:pt x="18655" y="17673"/>
                </a:lnTo>
                <a:lnTo>
                  <a:pt x="19636" y="17673"/>
                </a:lnTo>
                <a:cubicBezTo>
                  <a:pt x="19636" y="17673"/>
                  <a:pt x="19636" y="16691"/>
                  <a:pt x="19636" y="16691"/>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1"/>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20618"/>
                </a:moveTo>
                <a:lnTo>
                  <a:pt x="4909" y="20618"/>
                </a:lnTo>
                <a:lnTo>
                  <a:pt x="4909" y="982"/>
                </a:lnTo>
                <a:lnTo>
                  <a:pt x="16691" y="982"/>
                </a:lnTo>
                <a:cubicBezTo>
                  <a:pt x="16691" y="982"/>
                  <a:pt x="16691" y="20618"/>
                  <a:pt x="16691" y="20618"/>
                </a:cubicBezTo>
                <a:close/>
                <a:moveTo>
                  <a:pt x="3927" y="10309"/>
                </a:moveTo>
                <a:lnTo>
                  <a:pt x="982" y="10309"/>
                </a:lnTo>
                <a:lnTo>
                  <a:pt x="982" y="1964"/>
                </a:lnTo>
                <a:cubicBezTo>
                  <a:pt x="982" y="1421"/>
                  <a:pt x="1422" y="982"/>
                  <a:pt x="1964" y="982"/>
                </a:cubicBezTo>
                <a:lnTo>
                  <a:pt x="3927" y="982"/>
                </a:lnTo>
                <a:cubicBezTo>
                  <a:pt x="3927" y="982"/>
                  <a:pt x="3927" y="10309"/>
                  <a:pt x="3927" y="10309"/>
                </a:cubicBezTo>
                <a:close/>
                <a:moveTo>
                  <a:pt x="3927" y="20618"/>
                </a:moveTo>
                <a:lnTo>
                  <a:pt x="1964" y="20618"/>
                </a:lnTo>
                <a:cubicBezTo>
                  <a:pt x="1422"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655" y="8836"/>
                </a:moveTo>
                <a:lnTo>
                  <a:pt x="19636" y="8836"/>
                </a:lnTo>
                <a:lnTo>
                  <a:pt x="19636" y="7855"/>
                </a:lnTo>
                <a:lnTo>
                  <a:pt x="18655" y="7855"/>
                </a:lnTo>
                <a:cubicBezTo>
                  <a:pt x="18655" y="7855"/>
                  <a:pt x="18655" y="8836"/>
                  <a:pt x="18655" y="8836"/>
                </a:cubicBezTo>
                <a:close/>
                <a:moveTo>
                  <a:pt x="18655" y="6873"/>
                </a:moveTo>
                <a:lnTo>
                  <a:pt x="19636" y="6873"/>
                </a:lnTo>
                <a:lnTo>
                  <a:pt x="19636" y="5891"/>
                </a:lnTo>
                <a:lnTo>
                  <a:pt x="18655" y="5891"/>
                </a:lnTo>
                <a:cubicBezTo>
                  <a:pt x="18655" y="5891"/>
                  <a:pt x="18655" y="6873"/>
                  <a:pt x="18655" y="6873"/>
                </a:cubicBezTo>
                <a:close/>
                <a:moveTo>
                  <a:pt x="18655" y="4909"/>
                </a:moveTo>
                <a:lnTo>
                  <a:pt x="19636" y="4909"/>
                </a:lnTo>
                <a:lnTo>
                  <a:pt x="19636" y="3927"/>
                </a:lnTo>
                <a:lnTo>
                  <a:pt x="18655" y="3927"/>
                </a:lnTo>
                <a:cubicBezTo>
                  <a:pt x="18655" y="3927"/>
                  <a:pt x="18655" y="4909"/>
                  <a:pt x="18655" y="4909"/>
                </a:cubicBezTo>
                <a:close/>
                <a:moveTo>
                  <a:pt x="1964" y="2945"/>
                </a:moveTo>
                <a:lnTo>
                  <a:pt x="2945" y="2945"/>
                </a:lnTo>
                <a:lnTo>
                  <a:pt x="2945" y="1964"/>
                </a:lnTo>
                <a:lnTo>
                  <a:pt x="1964" y="1964"/>
                </a:lnTo>
                <a:cubicBezTo>
                  <a:pt x="1964" y="1964"/>
                  <a:pt x="1964" y="2945"/>
                  <a:pt x="1964" y="2945"/>
                </a:cubicBezTo>
                <a:close/>
                <a:moveTo>
                  <a:pt x="1964" y="8836"/>
                </a:moveTo>
                <a:lnTo>
                  <a:pt x="2945" y="8836"/>
                </a:lnTo>
                <a:lnTo>
                  <a:pt x="2945" y="7855"/>
                </a:lnTo>
                <a:lnTo>
                  <a:pt x="1964" y="7855"/>
                </a:lnTo>
                <a:cubicBezTo>
                  <a:pt x="1964" y="7855"/>
                  <a:pt x="1964" y="8836"/>
                  <a:pt x="1964" y="8836"/>
                </a:cubicBezTo>
                <a:close/>
                <a:moveTo>
                  <a:pt x="2945" y="16691"/>
                </a:moveTo>
                <a:lnTo>
                  <a:pt x="1964" y="16691"/>
                </a:lnTo>
                <a:lnTo>
                  <a:pt x="1964" y="17673"/>
                </a:lnTo>
                <a:lnTo>
                  <a:pt x="2945" y="17673"/>
                </a:lnTo>
                <a:cubicBezTo>
                  <a:pt x="2945" y="17673"/>
                  <a:pt x="2945" y="16691"/>
                  <a:pt x="2945" y="16691"/>
                </a:cubicBezTo>
                <a:close/>
                <a:moveTo>
                  <a:pt x="2945" y="12764"/>
                </a:moveTo>
                <a:lnTo>
                  <a:pt x="1964" y="12764"/>
                </a:lnTo>
                <a:lnTo>
                  <a:pt x="1964" y="13745"/>
                </a:lnTo>
                <a:lnTo>
                  <a:pt x="2945" y="13745"/>
                </a:lnTo>
                <a:cubicBezTo>
                  <a:pt x="2945" y="13745"/>
                  <a:pt x="2945" y="12764"/>
                  <a:pt x="2945" y="12764"/>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5" name="Shape 2545"/>
          <p:cNvSpPr/>
          <p:nvPr/>
        </p:nvSpPr>
        <p:spPr>
          <a:xfrm>
            <a:off x="66064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9"/>
                </a:moveTo>
                <a:cubicBezTo>
                  <a:pt x="5377" y="20619"/>
                  <a:pt x="982" y="16223"/>
                  <a:pt x="982" y="10800"/>
                </a:cubicBezTo>
                <a:cubicBezTo>
                  <a:pt x="982" y="5378"/>
                  <a:pt x="5377" y="982"/>
                  <a:pt x="10800" y="982"/>
                </a:cubicBezTo>
                <a:cubicBezTo>
                  <a:pt x="13336" y="982"/>
                  <a:pt x="15638" y="1950"/>
                  <a:pt x="17377" y="3529"/>
                </a:cubicBezTo>
                <a:lnTo>
                  <a:pt x="10453" y="10453"/>
                </a:lnTo>
                <a:cubicBezTo>
                  <a:pt x="10364" y="10542"/>
                  <a:pt x="10309" y="10665"/>
                  <a:pt x="10309" y="10800"/>
                </a:cubicBezTo>
                <a:cubicBezTo>
                  <a:pt x="10309" y="11072"/>
                  <a:pt x="10529" y="11291"/>
                  <a:pt x="10800" y="11291"/>
                </a:cubicBezTo>
                <a:lnTo>
                  <a:pt x="20594" y="11291"/>
                </a:lnTo>
                <a:cubicBezTo>
                  <a:pt x="20336" y="16484"/>
                  <a:pt x="16057" y="20619"/>
                  <a:pt x="10800" y="20619"/>
                </a:cubicBezTo>
                <a:moveTo>
                  <a:pt x="20594" y="10309"/>
                </a:moveTo>
                <a:lnTo>
                  <a:pt x="11985" y="10309"/>
                </a:lnTo>
                <a:lnTo>
                  <a:pt x="18071" y="4223"/>
                </a:lnTo>
                <a:cubicBezTo>
                  <a:pt x="19541" y="5852"/>
                  <a:pt x="20477" y="7971"/>
                  <a:pt x="20594" y="10309"/>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6" name="Shape 2546"/>
          <p:cNvSpPr/>
          <p:nvPr/>
        </p:nvSpPr>
        <p:spPr>
          <a:xfrm>
            <a:off x="1060590" y="2651021"/>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7" name="Shape 2547"/>
          <p:cNvSpPr/>
          <p:nvPr/>
        </p:nvSpPr>
        <p:spPr>
          <a:xfrm>
            <a:off x="1460536"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8" name="Shape 2548"/>
          <p:cNvSpPr/>
          <p:nvPr/>
        </p:nvSpPr>
        <p:spPr>
          <a:xfrm>
            <a:off x="1860482" y="2712918"/>
            <a:ext cx="209495" cy="47613"/>
          </a:xfrm>
          <a:custGeom>
            <a:avLst/>
            <a:gdLst/>
            <a:ahLst/>
            <a:cxnLst>
              <a:cxn ang="0">
                <a:pos x="wd2" y="hd2"/>
              </a:cxn>
              <a:cxn ang="5400000">
                <a:pos x="wd2" y="hd2"/>
              </a:cxn>
              <a:cxn ang="10800000">
                <a:pos x="wd2" y="hd2"/>
              </a:cxn>
              <a:cxn ang="16200000">
                <a:pos x="wd2" y="hd2"/>
              </a:cxn>
            </a:cxnLst>
            <a:rect l="0" t="0" r="r" b="b"/>
            <a:pathLst>
              <a:path w="21600" h="21600" extrusionOk="0">
                <a:moveTo>
                  <a:pt x="19145" y="17280"/>
                </a:moveTo>
                <a:cubicBezTo>
                  <a:pt x="18332" y="17280"/>
                  <a:pt x="17673" y="14380"/>
                  <a:pt x="17673" y="10800"/>
                </a:cubicBezTo>
                <a:cubicBezTo>
                  <a:pt x="17673" y="7224"/>
                  <a:pt x="18332" y="4320"/>
                  <a:pt x="19145" y="4320"/>
                </a:cubicBezTo>
                <a:cubicBezTo>
                  <a:pt x="19959" y="4320"/>
                  <a:pt x="20618" y="7224"/>
                  <a:pt x="20618" y="10800"/>
                </a:cubicBezTo>
                <a:cubicBezTo>
                  <a:pt x="20618" y="14380"/>
                  <a:pt x="19959" y="17280"/>
                  <a:pt x="19145" y="17280"/>
                </a:cubicBezTo>
                <a:moveTo>
                  <a:pt x="19145" y="0"/>
                </a:moveTo>
                <a:cubicBezTo>
                  <a:pt x="17790" y="0"/>
                  <a:pt x="16691" y="4837"/>
                  <a:pt x="16691" y="10800"/>
                </a:cubicBezTo>
                <a:cubicBezTo>
                  <a:pt x="16691" y="16766"/>
                  <a:pt x="17790" y="21600"/>
                  <a:pt x="19145" y="21600"/>
                </a:cubicBezTo>
                <a:cubicBezTo>
                  <a:pt x="20501" y="21600"/>
                  <a:pt x="21600" y="16766"/>
                  <a:pt x="21600" y="10800"/>
                </a:cubicBezTo>
                <a:cubicBezTo>
                  <a:pt x="21600" y="4837"/>
                  <a:pt x="20501" y="0"/>
                  <a:pt x="19145" y="0"/>
                </a:cubicBezTo>
                <a:moveTo>
                  <a:pt x="10800" y="17280"/>
                </a:moveTo>
                <a:cubicBezTo>
                  <a:pt x="9986" y="17280"/>
                  <a:pt x="9327" y="14380"/>
                  <a:pt x="9327" y="10800"/>
                </a:cubicBezTo>
                <a:cubicBezTo>
                  <a:pt x="9327" y="7224"/>
                  <a:pt x="9986" y="4320"/>
                  <a:pt x="10800" y="4320"/>
                </a:cubicBezTo>
                <a:cubicBezTo>
                  <a:pt x="11614" y="4320"/>
                  <a:pt x="12273" y="7224"/>
                  <a:pt x="12273" y="10800"/>
                </a:cubicBezTo>
                <a:cubicBezTo>
                  <a:pt x="12273" y="14380"/>
                  <a:pt x="11614" y="17280"/>
                  <a:pt x="10800" y="17280"/>
                </a:cubicBezTo>
                <a:moveTo>
                  <a:pt x="10800" y="0"/>
                </a:moveTo>
                <a:cubicBezTo>
                  <a:pt x="9444" y="0"/>
                  <a:pt x="8345" y="4837"/>
                  <a:pt x="8345" y="10800"/>
                </a:cubicBezTo>
                <a:cubicBezTo>
                  <a:pt x="8345" y="16766"/>
                  <a:pt x="9444" y="21600"/>
                  <a:pt x="10800" y="21600"/>
                </a:cubicBezTo>
                <a:cubicBezTo>
                  <a:pt x="12156" y="21600"/>
                  <a:pt x="13255" y="16766"/>
                  <a:pt x="13255" y="10800"/>
                </a:cubicBezTo>
                <a:cubicBezTo>
                  <a:pt x="13255" y="4837"/>
                  <a:pt x="12156" y="0"/>
                  <a:pt x="10800" y="0"/>
                </a:cubicBezTo>
                <a:moveTo>
                  <a:pt x="2455" y="17280"/>
                </a:moveTo>
                <a:cubicBezTo>
                  <a:pt x="1641" y="17280"/>
                  <a:pt x="982" y="14380"/>
                  <a:pt x="982" y="10800"/>
                </a:cubicBezTo>
                <a:cubicBezTo>
                  <a:pt x="982" y="7224"/>
                  <a:pt x="1641" y="4320"/>
                  <a:pt x="2455" y="4320"/>
                </a:cubicBezTo>
                <a:cubicBezTo>
                  <a:pt x="3268" y="4320"/>
                  <a:pt x="3927" y="7224"/>
                  <a:pt x="3927" y="10800"/>
                </a:cubicBezTo>
                <a:cubicBezTo>
                  <a:pt x="3927" y="14380"/>
                  <a:pt x="3268" y="17280"/>
                  <a:pt x="2455" y="17280"/>
                </a:cubicBezTo>
                <a:moveTo>
                  <a:pt x="2455" y="0"/>
                </a:moveTo>
                <a:cubicBezTo>
                  <a:pt x="1099" y="0"/>
                  <a:pt x="0" y="4837"/>
                  <a:pt x="0" y="10800"/>
                </a:cubicBezTo>
                <a:cubicBezTo>
                  <a:pt x="0" y="16766"/>
                  <a:pt x="1099" y="21600"/>
                  <a:pt x="2455" y="21600"/>
                </a:cubicBezTo>
                <a:cubicBezTo>
                  <a:pt x="3811" y="21600"/>
                  <a:pt x="4909" y="16766"/>
                  <a:pt x="4909" y="10800"/>
                </a:cubicBezTo>
                <a:cubicBezTo>
                  <a:pt x="4909" y="4837"/>
                  <a:pt x="3811" y="0"/>
                  <a:pt x="245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9" name="Shape 2549"/>
          <p:cNvSpPr/>
          <p:nvPr/>
        </p:nvSpPr>
        <p:spPr>
          <a:xfrm>
            <a:off x="2260427"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1291"/>
                </a:moveTo>
                <a:cubicBezTo>
                  <a:pt x="10529" y="11291"/>
                  <a:pt x="10309" y="11072"/>
                  <a:pt x="10309" y="10800"/>
                </a:cubicBezTo>
                <a:cubicBezTo>
                  <a:pt x="10309" y="10529"/>
                  <a:pt x="10529" y="10309"/>
                  <a:pt x="10800" y="10309"/>
                </a:cubicBezTo>
                <a:cubicBezTo>
                  <a:pt x="11071" y="10309"/>
                  <a:pt x="11291" y="10529"/>
                  <a:pt x="11291" y="10800"/>
                </a:cubicBezTo>
                <a:cubicBezTo>
                  <a:pt x="11291" y="11072"/>
                  <a:pt x="11071" y="11291"/>
                  <a:pt x="10800" y="11291"/>
                </a:cubicBezTo>
                <a:moveTo>
                  <a:pt x="10800" y="9327"/>
                </a:moveTo>
                <a:cubicBezTo>
                  <a:pt x="9986" y="9327"/>
                  <a:pt x="9327" y="9987"/>
                  <a:pt x="9327" y="10800"/>
                </a:cubicBezTo>
                <a:cubicBezTo>
                  <a:pt x="9327" y="11614"/>
                  <a:pt x="9986" y="12273"/>
                  <a:pt x="10800" y="12273"/>
                </a:cubicBezTo>
                <a:cubicBezTo>
                  <a:pt x="11614" y="12273"/>
                  <a:pt x="12273" y="11614"/>
                  <a:pt x="12273" y="10800"/>
                </a:cubicBezTo>
                <a:cubicBezTo>
                  <a:pt x="12273" y="9987"/>
                  <a:pt x="11614" y="9327"/>
                  <a:pt x="10800" y="9327"/>
                </a:cubicBezTo>
                <a:moveTo>
                  <a:pt x="5400" y="11291"/>
                </a:moveTo>
                <a:cubicBezTo>
                  <a:pt x="5129" y="11291"/>
                  <a:pt x="4909" y="11072"/>
                  <a:pt x="4909" y="10800"/>
                </a:cubicBezTo>
                <a:cubicBezTo>
                  <a:pt x="4909" y="10529"/>
                  <a:pt x="5129" y="10309"/>
                  <a:pt x="5400" y="10309"/>
                </a:cubicBezTo>
                <a:cubicBezTo>
                  <a:pt x="5671" y="10309"/>
                  <a:pt x="5891" y="10529"/>
                  <a:pt x="5891" y="10800"/>
                </a:cubicBezTo>
                <a:cubicBezTo>
                  <a:pt x="5891" y="11072"/>
                  <a:pt x="5671" y="11291"/>
                  <a:pt x="5400" y="11291"/>
                </a:cubicBezTo>
                <a:moveTo>
                  <a:pt x="5400" y="9327"/>
                </a:moveTo>
                <a:cubicBezTo>
                  <a:pt x="4586" y="9327"/>
                  <a:pt x="3927" y="9987"/>
                  <a:pt x="3927" y="10800"/>
                </a:cubicBezTo>
                <a:cubicBezTo>
                  <a:pt x="3927" y="11614"/>
                  <a:pt x="4586" y="12273"/>
                  <a:pt x="5400" y="12273"/>
                </a:cubicBezTo>
                <a:cubicBezTo>
                  <a:pt x="6214" y="12273"/>
                  <a:pt x="6873" y="11614"/>
                  <a:pt x="6873" y="10800"/>
                </a:cubicBezTo>
                <a:cubicBezTo>
                  <a:pt x="6873" y="9987"/>
                  <a:pt x="6214" y="9327"/>
                  <a:pt x="5400" y="9327"/>
                </a:cubicBezTo>
                <a:moveTo>
                  <a:pt x="16200" y="11291"/>
                </a:moveTo>
                <a:cubicBezTo>
                  <a:pt x="15929" y="11291"/>
                  <a:pt x="15709" y="11072"/>
                  <a:pt x="15709" y="10800"/>
                </a:cubicBezTo>
                <a:cubicBezTo>
                  <a:pt x="15709" y="10529"/>
                  <a:pt x="15929" y="10309"/>
                  <a:pt x="16200" y="10309"/>
                </a:cubicBezTo>
                <a:cubicBezTo>
                  <a:pt x="16471" y="10309"/>
                  <a:pt x="16691" y="10529"/>
                  <a:pt x="16691" y="10800"/>
                </a:cubicBezTo>
                <a:cubicBezTo>
                  <a:pt x="16691" y="11072"/>
                  <a:pt x="16471" y="11291"/>
                  <a:pt x="16200" y="11291"/>
                </a:cubicBezTo>
                <a:moveTo>
                  <a:pt x="16200" y="9327"/>
                </a:moveTo>
                <a:cubicBezTo>
                  <a:pt x="15386" y="9327"/>
                  <a:pt x="14727" y="9987"/>
                  <a:pt x="14727" y="10800"/>
                </a:cubicBezTo>
                <a:cubicBezTo>
                  <a:pt x="14727" y="11614"/>
                  <a:pt x="15386" y="12273"/>
                  <a:pt x="16200" y="12273"/>
                </a:cubicBezTo>
                <a:cubicBezTo>
                  <a:pt x="17014" y="12273"/>
                  <a:pt x="17673" y="11614"/>
                  <a:pt x="17673" y="10800"/>
                </a:cubicBezTo>
                <a:cubicBezTo>
                  <a:pt x="17673" y="9987"/>
                  <a:pt x="17014" y="9327"/>
                  <a:pt x="16200"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0" name="Shape 2550"/>
          <p:cNvSpPr/>
          <p:nvPr/>
        </p:nvSpPr>
        <p:spPr>
          <a:xfrm>
            <a:off x="266037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1" name="Shape 2551"/>
          <p:cNvSpPr/>
          <p:nvPr/>
        </p:nvSpPr>
        <p:spPr>
          <a:xfrm>
            <a:off x="3060320"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755" y="6010"/>
                </a:moveTo>
                <a:lnTo>
                  <a:pt x="18630" y="7136"/>
                </a:lnTo>
                <a:lnTo>
                  <a:pt x="14465" y="2970"/>
                </a:lnTo>
                <a:lnTo>
                  <a:pt x="15590" y="1845"/>
                </a:lnTo>
                <a:cubicBezTo>
                  <a:pt x="15590" y="1845"/>
                  <a:pt x="16391" y="982"/>
                  <a:pt x="17673" y="982"/>
                </a:cubicBezTo>
                <a:cubicBezTo>
                  <a:pt x="19300" y="982"/>
                  <a:pt x="20618" y="2300"/>
                  <a:pt x="20618" y="3927"/>
                </a:cubicBezTo>
                <a:cubicBezTo>
                  <a:pt x="20618" y="4741"/>
                  <a:pt x="20288" y="5477"/>
                  <a:pt x="19755" y="6010"/>
                </a:cubicBezTo>
                <a:moveTo>
                  <a:pt x="7364" y="18402"/>
                </a:moveTo>
                <a:lnTo>
                  <a:pt x="7364" y="14727"/>
                </a:lnTo>
                <a:cubicBezTo>
                  <a:pt x="7364" y="14456"/>
                  <a:pt x="7144" y="14236"/>
                  <a:pt x="6873" y="14236"/>
                </a:cubicBezTo>
                <a:lnTo>
                  <a:pt x="3198" y="14236"/>
                </a:lnTo>
                <a:lnTo>
                  <a:pt x="13770" y="3665"/>
                </a:lnTo>
                <a:lnTo>
                  <a:pt x="17935" y="7830"/>
                </a:lnTo>
                <a:cubicBezTo>
                  <a:pt x="17935" y="7830"/>
                  <a:pt x="7364" y="18402"/>
                  <a:pt x="7364" y="18402"/>
                </a:cubicBezTo>
                <a:close/>
                <a:moveTo>
                  <a:pt x="6382" y="19042"/>
                </a:moveTo>
                <a:lnTo>
                  <a:pt x="2945" y="19845"/>
                </a:lnTo>
                <a:lnTo>
                  <a:pt x="2945" y="18655"/>
                </a:lnTo>
                <a:lnTo>
                  <a:pt x="1755" y="18655"/>
                </a:lnTo>
                <a:lnTo>
                  <a:pt x="2558" y="15218"/>
                </a:lnTo>
                <a:lnTo>
                  <a:pt x="6382" y="15218"/>
                </a:lnTo>
                <a:cubicBezTo>
                  <a:pt x="6382" y="15218"/>
                  <a:pt x="6382" y="19042"/>
                  <a:pt x="6382" y="19042"/>
                </a:cubicBezTo>
                <a:close/>
                <a:moveTo>
                  <a:pt x="17673" y="0"/>
                </a:moveTo>
                <a:cubicBezTo>
                  <a:pt x="16588" y="0"/>
                  <a:pt x="15606" y="439"/>
                  <a:pt x="14896" y="1151"/>
                </a:cubicBezTo>
                <a:lnTo>
                  <a:pt x="1641" y="14405"/>
                </a:lnTo>
                <a:lnTo>
                  <a:pt x="0" y="21600"/>
                </a:lnTo>
                <a:lnTo>
                  <a:pt x="7195" y="19959"/>
                </a:lnTo>
                <a:lnTo>
                  <a:pt x="20449" y="6704"/>
                </a:lnTo>
                <a:cubicBezTo>
                  <a:pt x="21160" y="5994"/>
                  <a:pt x="21600" y="5012"/>
                  <a:pt x="21600" y="3927"/>
                </a:cubicBezTo>
                <a:cubicBezTo>
                  <a:pt x="21600" y="1758"/>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2" name="Shape 2552"/>
          <p:cNvSpPr/>
          <p:nvPr/>
        </p:nvSpPr>
        <p:spPr>
          <a:xfrm>
            <a:off x="3460265"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3" name="Shape 2553"/>
          <p:cNvSpPr/>
          <p:nvPr/>
        </p:nvSpPr>
        <p:spPr>
          <a:xfrm>
            <a:off x="3860211"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4" name="Shape 2554"/>
          <p:cNvSpPr/>
          <p:nvPr/>
        </p:nvSpPr>
        <p:spPr>
          <a:xfrm>
            <a:off x="4260157"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5" name="Shape 2555"/>
          <p:cNvSpPr/>
          <p:nvPr/>
        </p:nvSpPr>
        <p:spPr>
          <a:xfrm>
            <a:off x="66064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4221" y="3527"/>
                </a:lnTo>
                <a:cubicBezTo>
                  <a:pt x="5963" y="1950"/>
                  <a:pt x="8265" y="982"/>
                  <a:pt x="10800" y="982"/>
                </a:cubicBezTo>
                <a:cubicBezTo>
                  <a:pt x="16223" y="982"/>
                  <a:pt x="20618" y="5377"/>
                  <a:pt x="20618" y="10800"/>
                </a:cubicBezTo>
                <a:cubicBezTo>
                  <a:pt x="20618" y="13335"/>
                  <a:pt x="19650" y="15637"/>
                  <a:pt x="18073" y="17379"/>
                </a:cubicBezTo>
                <a:moveTo>
                  <a:pt x="10800" y="20618"/>
                </a:moveTo>
                <a:cubicBezTo>
                  <a:pt x="5377" y="20618"/>
                  <a:pt x="982" y="16223"/>
                  <a:pt x="982" y="10800"/>
                </a:cubicBezTo>
                <a:cubicBezTo>
                  <a:pt x="982" y="8266"/>
                  <a:pt x="1950" y="5963"/>
                  <a:pt x="3527" y="4221"/>
                </a:cubicBezTo>
                <a:lnTo>
                  <a:pt x="17379" y="18073"/>
                </a:lnTo>
                <a:cubicBezTo>
                  <a:pt x="15637" y="19650"/>
                  <a:pt x="13334"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6" name="Shape 2556"/>
          <p:cNvSpPr/>
          <p:nvPr/>
        </p:nvSpPr>
        <p:spPr>
          <a:xfrm>
            <a:off x="1060590"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7" name="Shape 2557"/>
          <p:cNvSpPr/>
          <p:nvPr/>
        </p:nvSpPr>
        <p:spPr>
          <a:xfrm>
            <a:off x="1460536"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91" y="6559"/>
                </a:moveTo>
                <a:cubicBezTo>
                  <a:pt x="12727" y="6341"/>
                  <a:pt x="12420" y="6172"/>
                  <a:pt x="12078" y="6058"/>
                </a:cubicBezTo>
                <a:cubicBezTo>
                  <a:pt x="11737" y="5946"/>
                  <a:pt x="11367" y="5889"/>
                  <a:pt x="10978" y="5889"/>
                </a:cubicBezTo>
                <a:cubicBezTo>
                  <a:pt x="10477" y="5889"/>
                  <a:pt x="10025" y="5967"/>
                  <a:pt x="9633" y="6120"/>
                </a:cubicBezTo>
                <a:cubicBezTo>
                  <a:pt x="9239" y="6275"/>
                  <a:pt x="8900" y="6494"/>
                  <a:pt x="8623" y="6771"/>
                </a:cubicBezTo>
                <a:cubicBezTo>
                  <a:pt x="8346" y="7049"/>
                  <a:pt x="8133" y="7392"/>
                  <a:pt x="7992" y="7788"/>
                </a:cubicBezTo>
                <a:cubicBezTo>
                  <a:pt x="7853" y="8180"/>
                  <a:pt x="7782" y="8620"/>
                  <a:pt x="7782" y="9096"/>
                </a:cubicBezTo>
                <a:lnTo>
                  <a:pt x="7782" y="9217"/>
                </a:lnTo>
                <a:lnTo>
                  <a:pt x="8880" y="9217"/>
                </a:lnTo>
                <a:lnTo>
                  <a:pt x="8877" y="9093"/>
                </a:lnTo>
                <a:cubicBezTo>
                  <a:pt x="8868" y="8767"/>
                  <a:pt x="8908" y="8461"/>
                  <a:pt x="8993" y="8187"/>
                </a:cubicBezTo>
                <a:cubicBezTo>
                  <a:pt x="9079" y="7914"/>
                  <a:pt x="9207" y="7675"/>
                  <a:pt x="9377" y="7473"/>
                </a:cubicBezTo>
                <a:cubicBezTo>
                  <a:pt x="9545" y="7274"/>
                  <a:pt x="9762" y="7115"/>
                  <a:pt x="10024" y="7000"/>
                </a:cubicBezTo>
                <a:cubicBezTo>
                  <a:pt x="10287" y="6884"/>
                  <a:pt x="10594" y="6827"/>
                  <a:pt x="10937" y="6827"/>
                </a:cubicBezTo>
                <a:cubicBezTo>
                  <a:pt x="11182" y="6827"/>
                  <a:pt x="11418" y="6868"/>
                  <a:pt x="11639" y="6950"/>
                </a:cubicBezTo>
                <a:cubicBezTo>
                  <a:pt x="11858" y="7032"/>
                  <a:pt x="12053" y="7146"/>
                  <a:pt x="12218" y="7289"/>
                </a:cubicBezTo>
                <a:cubicBezTo>
                  <a:pt x="12381" y="7431"/>
                  <a:pt x="12512" y="7605"/>
                  <a:pt x="12609" y="7808"/>
                </a:cubicBezTo>
                <a:cubicBezTo>
                  <a:pt x="12704" y="8011"/>
                  <a:pt x="12752" y="8236"/>
                  <a:pt x="12752" y="8478"/>
                </a:cubicBezTo>
                <a:cubicBezTo>
                  <a:pt x="12752" y="8797"/>
                  <a:pt x="12674" y="9089"/>
                  <a:pt x="12519" y="9350"/>
                </a:cubicBezTo>
                <a:cubicBezTo>
                  <a:pt x="12359" y="9618"/>
                  <a:pt x="12154" y="9865"/>
                  <a:pt x="11913" y="10082"/>
                </a:cubicBezTo>
                <a:cubicBezTo>
                  <a:pt x="11624" y="10337"/>
                  <a:pt x="11374" y="10568"/>
                  <a:pt x="11170" y="10771"/>
                </a:cubicBezTo>
                <a:cubicBezTo>
                  <a:pt x="10959" y="10979"/>
                  <a:pt x="10789" y="11200"/>
                  <a:pt x="10662" y="11428"/>
                </a:cubicBezTo>
                <a:cubicBezTo>
                  <a:pt x="10534" y="11657"/>
                  <a:pt x="10441" y="11916"/>
                  <a:pt x="10385" y="12199"/>
                </a:cubicBezTo>
                <a:cubicBezTo>
                  <a:pt x="10329" y="12478"/>
                  <a:pt x="10305" y="12827"/>
                  <a:pt x="10315" y="13237"/>
                </a:cubicBezTo>
                <a:lnTo>
                  <a:pt x="10318" y="13355"/>
                </a:lnTo>
                <a:lnTo>
                  <a:pt x="11407" y="13355"/>
                </a:lnTo>
                <a:lnTo>
                  <a:pt x="11410" y="13237"/>
                </a:lnTo>
                <a:cubicBezTo>
                  <a:pt x="11418" y="12838"/>
                  <a:pt x="11436" y="12531"/>
                  <a:pt x="11463" y="12322"/>
                </a:cubicBezTo>
                <a:cubicBezTo>
                  <a:pt x="11488" y="12125"/>
                  <a:pt x="11538" y="11956"/>
                  <a:pt x="11611" y="11821"/>
                </a:cubicBezTo>
                <a:cubicBezTo>
                  <a:pt x="11687" y="11684"/>
                  <a:pt x="11803" y="11541"/>
                  <a:pt x="11959" y="11399"/>
                </a:cubicBezTo>
                <a:cubicBezTo>
                  <a:pt x="12127" y="11245"/>
                  <a:pt x="12351" y="11031"/>
                  <a:pt x="12630" y="10762"/>
                </a:cubicBezTo>
                <a:cubicBezTo>
                  <a:pt x="12979" y="10441"/>
                  <a:pt x="13270" y="10102"/>
                  <a:pt x="13495" y="9753"/>
                </a:cubicBezTo>
                <a:cubicBezTo>
                  <a:pt x="13729" y="9393"/>
                  <a:pt x="13847" y="8952"/>
                  <a:pt x="13847" y="8439"/>
                </a:cubicBezTo>
                <a:cubicBezTo>
                  <a:pt x="13847" y="8038"/>
                  <a:pt x="13770" y="7675"/>
                  <a:pt x="13618" y="7362"/>
                </a:cubicBezTo>
                <a:cubicBezTo>
                  <a:pt x="13467" y="7050"/>
                  <a:pt x="13256" y="6780"/>
                  <a:pt x="12991" y="6559"/>
                </a:cubicBezTo>
                <a:moveTo>
                  <a:pt x="10179" y="15706"/>
                </a:moveTo>
                <a:lnTo>
                  <a:pt x="11558" y="15706"/>
                </a:lnTo>
                <a:lnTo>
                  <a:pt x="11558" y="14072"/>
                </a:lnTo>
                <a:lnTo>
                  <a:pt x="10179" y="14072"/>
                </a:lnTo>
                <a:cubicBezTo>
                  <a:pt x="10179" y="14072"/>
                  <a:pt x="10179" y="15706"/>
                  <a:pt x="10179" y="15706"/>
                </a:cubicBezTo>
                <a:close/>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8" name="Shape 2558"/>
          <p:cNvSpPr/>
          <p:nvPr/>
        </p:nvSpPr>
        <p:spPr>
          <a:xfrm>
            <a:off x="1860482"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782" y="5891"/>
                </a:moveTo>
                <a:lnTo>
                  <a:pt x="9818" y="5891"/>
                </a:lnTo>
                <a:cubicBezTo>
                  <a:pt x="9547" y="5891"/>
                  <a:pt x="9327" y="6111"/>
                  <a:pt x="9327" y="6382"/>
                </a:cubicBezTo>
                <a:cubicBezTo>
                  <a:pt x="9327" y="6394"/>
                  <a:pt x="9334" y="6405"/>
                  <a:pt x="9334" y="6417"/>
                </a:cubicBezTo>
                <a:lnTo>
                  <a:pt x="9328" y="6417"/>
                </a:lnTo>
                <a:lnTo>
                  <a:pt x="9819" y="12308"/>
                </a:lnTo>
                <a:lnTo>
                  <a:pt x="9825" y="12307"/>
                </a:lnTo>
                <a:cubicBezTo>
                  <a:pt x="9844" y="12562"/>
                  <a:pt x="10050" y="12764"/>
                  <a:pt x="10309" y="12764"/>
                </a:cubicBezTo>
                <a:lnTo>
                  <a:pt x="11291" y="12764"/>
                </a:lnTo>
                <a:cubicBezTo>
                  <a:pt x="11550" y="12764"/>
                  <a:pt x="11756" y="12562"/>
                  <a:pt x="11775" y="12307"/>
                </a:cubicBezTo>
                <a:lnTo>
                  <a:pt x="11781" y="12308"/>
                </a:lnTo>
                <a:lnTo>
                  <a:pt x="12272" y="6417"/>
                </a:lnTo>
                <a:lnTo>
                  <a:pt x="12266" y="6417"/>
                </a:lnTo>
                <a:cubicBezTo>
                  <a:pt x="12267" y="6405"/>
                  <a:pt x="12273" y="6394"/>
                  <a:pt x="12273" y="6382"/>
                </a:cubicBezTo>
                <a:cubicBezTo>
                  <a:pt x="12273" y="6111"/>
                  <a:pt x="12053" y="5891"/>
                  <a:pt x="11782" y="5891"/>
                </a:cubicBezTo>
                <a:moveTo>
                  <a:pt x="10800" y="13745"/>
                </a:moveTo>
                <a:cubicBezTo>
                  <a:pt x="10258" y="13745"/>
                  <a:pt x="9818" y="14186"/>
                  <a:pt x="9818" y="14727"/>
                </a:cubicBezTo>
                <a:cubicBezTo>
                  <a:pt x="9818" y="15269"/>
                  <a:pt x="10258" y="15709"/>
                  <a:pt x="10800" y="15709"/>
                </a:cubicBezTo>
                <a:cubicBezTo>
                  <a:pt x="11342" y="15709"/>
                  <a:pt x="11782" y="15269"/>
                  <a:pt x="11782" y="14727"/>
                </a:cubicBezTo>
                <a:cubicBezTo>
                  <a:pt x="11782" y="14186"/>
                  <a:pt x="11342" y="13745"/>
                  <a:pt x="1080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9" name="Shape 2559"/>
          <p:cNvSpPr/>
          <p:nvPr/>
        </p:nvSpPr>
        <p:spPr>
          <a:xfrm>
            <a:off x="2260427"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0"/>
                  <a:pt x="982" y="16800"/>
                </a:cubicBezTo>
                <a:lnTo>
                  <a:pt x="2455" y="16800"/>
                </a:lnTo>
                <a:cubicBezTo>
                  <a:pt x="2725" y="16800"/>
                  <a:pt x="2945" y="16532"/>
                  <a:pt x="2945" y="16200"/>
                </a:cubicBezTo>
                <a:cubicBezTo>
                  <a:pt x="2945" y="15869"/>
                  <a:pt x="2725" y="15600"/>
                  <a:pt x="2455" y="15600"/>
                </a:cubicBezTo>
                <a:moveTo>
                  <a:pt x="20618" y="20400"/>
                </a:move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0" name="Shape 2560"/>
          <p:cNvSpPr/>
          <p:nvPr/>
        </p:nvSpPr>
        <p:spPr>
          <a:xfrm>
            <a:off x="266037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3745"/>
                </a:moveTo>
                <a:cubicBezTo>
                  <a:pt x="2726" y="13745"/>
                  <a:pt x="2945" y="13526"/>
                  <a:pt x="2945" y="13255"/>
                </a:cubicBezTo>
                <a:cubicBezTo>
                  <a:pt x="2945" y="12984"/>
                  <a:pt x="2726" y="12764"/>
                  <a:pt x="2455" y="12764"/>
                </a:cubicBezTo>
                <a:lnTo>
                  <a:pt x="982" y="12764"/>
                </a:lnTo>
                <a:lnTo>
                  <a:pt x="982" y="982"/>
                </a:lnTo>
                <a:lnTo>
                  <a:pt x="16691" y="982"/>
                </a:lnTo>
                <a:lnTo>
                  <a:pt x="16691" y="2455"/>
                </a:lnTo>
                <a:cubicBezTo>
                  <a:pt x="16691" y="2726"/>
                  <a:pt x="16910" y="2945"/>
                  <a:pt x="17182" y="2945"/>
                </a:cubicBezTo>
                <a:cubicBezTo>
                  <a:pt x="17453" y="2945"/>
                  <a:pt x="17673" y="2726"/>
                  <a:pt x="17673" y="2455"/>
                </a:cubicBezTo>
                <a:lnTo>
                  <a:pt x="17673" y="982"/>
                </a:lnTo>
                <a:cubicBezTo>
                  <a:pt x="17673" y="440"/>
                  <a:pt x="17233" y="0"/>
                  <a:pt x="16691" y="0"/>
                </a:cubicBezTo>
                <a:lnTo>
                  <a:pt x="982" y="0"/>
                </a:lnTo>
                <a:cubicBezTo>
                  <a:pt x="440" y="0"/>
                  <a:pt x="0" y="440"/>
                  <a:pt x="0" y="982"/>
                </a:cubicBezTo>
                <a:lnTo>
                  <a:pt x="0" y="16691"/>
                </a:lnTo>
                <a:cubicBezTo>
                  <a:pt x="0" y="17233"/>
                  <a:pt x="440" y="17673"/>
                  <a:pt x="982" y="17673"/>
                </a:cubicBezTo>
                <a:lnTo>
                  <a:pt x="2455" y="17673"/>
                </a:lnTo>
                <a:cubicBezTo>
                  <a:pt x="2726" y="17673"/>
                  <a:pt x="2945" y="17453"/>
                  <a:pt x="2945" y="17182"/>
                </a:cubicBezTo>
                <a:cubicBezTo>
                  <a:pt x="2945" y="16911"/>
                  <a:pt x="2726" y="16691"/>
                  <a:pt x="2455" y="16691"/>
                </a:cubicBezTo>
                <a:lnTo>
                  <a:pt x="982" y="16691"/>
                </a:lnTo>
                <a:lnTo>
                  <a:pt x="982" y="13745"/>
                </a:lnTo>
                <a:cubicBezTo>
                  <a:pt x="982" y="13745"/>
                  <a:pt x="2455" y="13745"/>
                  <a:pt x="2455" y="13745"/>
                </a:cubicBezTo>
                <a:close/>
                <a:moveTo>
                  <a:pt x="20618" y="16691"/>
                </a:moveTo>
                <a:lnTo>
                  <a:pt x="4909" y="16691"/>
                </a:lnTo>
                <a:lnTo>
                  <a:pt x="4909" y="4909"/>
                </a:lnTo>
                <a:lnTo>
                  <a:pt x="20618" y="4909"/>
                </a:lnTo>
                <a:cubicBezTo>
                  <a:pt x="20618" y="4909"/>
                  <a:pt x="20618" y="16691"/>
                  <a:pt x="20618" y="16691"/>
                </a:cubicBezTo>
                <a:close/>
                <a:moveTo>
                  <a:pt x="20618" y="20618"/>
                </a:moveTo>
                <a:lnTo>
                  <a:pt x="4909" y="20618"/>
                </a:lnTo>
                <a:lnTo>
                  <a:pt x="4909" y="17673"/>
                </a:lnTo>
                <a:lnTo>
                  <a:pt x="20618" y="17673"/>
                </a:lnTo>
                <a:cubicBezTo>
                  <a:pt x="20618" y="17673"/>
                  <a:pt x="20618" y="20618"/>
                  <a:pt x="20618" y="20618"/>
                </a:cubicBezTo>
                <a:close/>
                <a:moveTo>
                  <a:pt x="20618" y="3927"/>
                </a:moveTo>
                <a:lnTo>
                  <a:pt x="4909" y="3927"/>
                </a:lnTo>
                <a:cubicBezTo>
                  <a:pt x="4367" y="3927"/>
                  <a:pt x="3927" y="4367"/>
                  <a:pt x="3927" y="4909"/>
                </a:cubicBezTo>
                <a:lnTo>
                  <a:pt x="3927" y="20618"/>
                </a:lnTo>
                <a:cubicBezTo>
                  <a:pt x="3927" y="21160"/>
                  <a:pt x="4367" y="21600"/>
                  <a:pt x="4909" y="21600"/>
                </a:cubicBezTo>
                <a:lnTo>
                  <a:pt x="20618" y="21600"/>
                </a:lnTo>
                <a:cubicBezTo>
                  <a:pt x="21160" y="21600"/>
                  <a:pt x="21600" y="21160"/>
                  <a:pt x="21600" y="20618"/>
                </a:cubicBezTo>
                <a:lnTo>
                  <a:pt x="21600" y="4909"/>
                </a:lnTo>
                <a:cubicBezTo>
                  <a:pt x="21600" y="4367"/>
                  <a:pt x="21160" y="3927"/>
                  <a:pt x="20618"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1" name="Shape 2561"/>
          <p:cNvSpPr/>
          <p:nvPr/>
        </p:nvSpPr>
        <p:spPr>
          <a:xfrm>
            <a:off x="3060320"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3600"/>
                </a:moveTo>
                <a:lnTo>
                  <a:pt x="19145" y="3600"/>
                </a:lnTo>
                <a:cubicBezTo>
                  <a:pt x="19417" y="3600"/>
                  <a:pt x="19636" y="3332"/>
                  <a:pt x="19636" y="3000"/>
                </a:cubicBezTo>
                <a:cubicBezTo>
                  <a:pt x="19636" y="2669"/>
                  <a:pt x="19417" y="2400"/>
                  <a:pt x="19145" y="2400"/>
                </a:cubicBezTo>
                <a:lnTo>
                  <a:pt x="2455" y="2400"/>
                </a:lnTo>
                <a:cubicBezTo>
                  <a:pt x="2183" y="2400"/>
                  <a:pt x="1964" y="2669"/>
                  <a:pt x="1964" y="3000"/>
                </a:cubicBezTo>
                <a:cubicBezTo>
                  <a:pt x="1964" y="3332"/>
                  <a:pt x="2183" y="3600"/>
                  <a:pt x="2455" y="3600"/>
                </a:cubicBezTo>
                <a:moveTo>
                  <a:pt x="20618" y="20400"/>
                </a:moveTo>
                <a:lnTo>
                  <a:pt x="982" y="20400"/>
                </a:lnTo>
                <a:lnTo>
                  <a:pt x="982" y="6000"/>
                </a:lnTo>
                <a:lnTo>
                  <a:pt x="20618" y="6000"/>
                </a:lnTo>
                <a:cubicBezTo>
                  <a:pt x="20618" y="6000"/>
                  <a:pt x="20618" y="20400"/>
                  <a:pt x="20618" y="20400"/>
                </a:cubicBezTo>
                <a:close/>
                <a:moveTo>
                  <a:pt x="20618" y="4800"/>
                </a:moveTo>
                <a:lnTo>
                  <a:pt x="982" y="4800"/>
                </a:lnTo>
                <a:cubicBezTo>
                  <a:pt x="439" y="4800"/>
                  <a:pt x="0" y="5338"/>
                  <a:pt x="0" y="6000"/>
                </a:cubicBezTo>
                <a:lnTo>
                  <a:pt x="0" y="20400"/>
                </a:lnTo>
                <a:cubicBezTo>
                  <a:pt x="0" y="21062"/>
                  <a:pt x="439" y="21600"/>
                  <a:pt x="982" y="21600"/>
                </a:cubicBezTo>
                <a:lnTo>
                  <a:pt x="20618" y="21600"/>
                </a:lnTo>
                <a:cubicBezTo>
                  <a:pt x="21160" y="21600"/>
                  <a:pt x="21600" y="21062"/>
                  <a:pt x="21600" y="20400"/>
                </a:cubicBezTo>
                <a:lnTo>
                  <a:pt x="21600" y="6000"/>
                </a:lnTo>
                <a:cubicBezTo>
                  <a:pt x="21600" y="5338"/>
                  <a:pt x="21160" y="4800"/>
                  <a:pt x="20618" y="4800"/>
                </a:cubicBezTo>
                <a:moveTo>
                  <a:pt x="4418" y="1200"/>
                </a:moveTo>
                <a:lnTo>
                  <a:pt x="17182" y="1200"/>
                </a:lnTo>
                <a:cubicBezTo>
                  <a:pt x="17453" y="1200"/>
                  <a:pt x="17673" y="932"/>
                  <a:pt x="17673" y="600"/>
                </a:cubicBezTo>
                <a:cubicBezTo>
                  <a:pt x="17673" y="269"/>
                  <a:pt x="17453" y="0"/>
                  <a:pt x="17182" y="0"/>
                </a:cubicBezTo>
                <a:lnTo>
                  <a:pt x="4418" y="0"/>
                </a:lnTo>
                <a:cubicBezTo>
                  <a:pt x="4147" y="0"/>
                  <a:pt x="3927" y="269"/>
                  <a:pt x="3927" y="600"/>
                </a:cubicBezTo>
                <a:cubicBezTo>
                  <a:pt x="3927" y="932"/>
                  <a:pt x="4147" y="1200"/>
                  <a:pt x="4418" y="1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2" name="Shape 2562"/>
          <p:cNvSpPr/>
          <p:nvPr/>
        </p:nvSpPr>
        <p:spPr>
          <a:xfrm>
            <a:off x="3460265"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9"/>
                  <a:pt x="19636" y="20619"/>
                </a:cubicBezTo>
                <a:lnTo>
                  <a:pt x="1964" y="20619"/>
                </a:lnTo>
                <a:cubicBezTo>
                  <a:pt x="1421" y="20619"/>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4294" y="17673"/>
                </a:moveTo>
                <a:lnTo>
                  <a:pt x="8376" y="10732"/>
                </a:lnTo>
                <a:lnTo>
                  <a:pt x="10838" y="14425"/>
                </a:lnTo>
                <a:cubicBezTo>
                  <a:pt x="10862" y="14484"/>
                  <a:pt x="10898" y="14536"/>
                  <a:pt x="10942" y="14581"/>
                </a:cubicBezTo>
                <a:lnTo>
                  <a:pt x="10944" y="14583"/>
                </a:lnTo>
                <a:cubicBezTo>
                  <a:pt x="11033" y="14673"/>
                  <a:pt x="11155" y="14727"/>
                  <a:pt x="11291" y="14727"/>
                </a:cubicBezTo>
                <a:cubicBezTo>
                  <a:pt x="11427" y="14727"/>
                  <a:pt x="11549" y="14673"/>
                  <a:pt x="11638" y="14583"/>
                </a:cubicBezTo>
                <a:lnTo>
                  <a:pt x="13686" y="12536"/>
                </a:lnTo>
                <a:lnTo>
                  <a:pt x="17242" y="17673"/>
                </a:lnTo>
                <a:cubicBezTo>
                  <a:pt x="17242" y="17673"/>
                  <a:pt x="4294" y="17673"/>
                  <a:pt x="4294" y="17673"/>
                </a:cubicBezTo>
                <a:close/>
                <a:moveTo>
                  <a:pt x="18620" y="17982"/>
                </a:moveTo>
                <a:lnTo>
                  <a:pt x="18617" y="17978"/>
                </a:lnTo>
                <a:cubicBezTo>
                  <a:pt x="18590" y="17913"/>
                  <a:pt x="18551" y="17858"/>
                  <a:pt x="18501" y="17810"/>
                </a:cubicBezTo>
                <a:lnTo>
                  <a:pt x="14201" y="11600"/>
                </a:lnTo>
                <a:lnTo>
                  <a:pt x="14200" y="11601"/>
                </a:lnTo>
                <a:cubicBezTo>
                  <a:pt x="14127" y="11420"/>
                  <a:pt x="13952" y="11291"/>
                  <a:pt x="13745" y="11291"/>
                </a:cubicBezTo>
                <a:cubicBezTo>
                  <a:pt x="13610" y="11291"/>
                  <a:pt x="13488" y="11346"/>
                  <a:pt x="13398" y="11435"/>
                </a:cubicBezTo>
                <a:lnTo>
                  <a:pt x="11360" y="13473"/>
                </a:lnTo>
                <a:lnTo>
                  <a:pt x="8798" y="9630"/>
                </a:lnTo>
                <a:cubicBezTo>
                  <a:pt x="8724" y="9453"/>
                  <a:pt x="8550" y="9327"/>
                  <a:pt x="8345" y="9327"/>
                </a:cubicBezTo>
                <a:cubicBezTo>
                  <a:pt x="8175" y="9327"/>
                  <a:pt x="8033" y="9420"/>
                  <a:pt x="7945" y="9551"/>
                </a:cubicBezTo>
                <a:lnTo>
                  <a:pt x="7937" y="9546"/>
                </a:lnTo>
                <a:lnTo>
                  <a:pt x="3028" y="17891"/>
                </a:lnTo>
                <a:lnTo>
                  <a:pt x="3036" y="17897"/>
                </a:lnTo>
                <a:cubicBezTo>
                  <a:pt x="2983" y="17974"/>
                  <a:pt x="2945" y="18063"/>
                  <a:pt x="2945" y="18164"/>
                </a:cubicBezTo>
                <a:cubicBezTo>
                  <a:pt x="2945" y="18435"/>
                  <a:pt x="3165" y="18655"/>
                  <a:pt x="3436" y="18655"/>
                </a:cubicBezTo>
                <a:lnTo>
                  <a:pt x="18164" y="18655"/>
                </a:lnTo>
                <a:cubicBezTo>
                  <a:pt x="18435" y="18655"/>
                  <a:pt x="18655" y="18435"/>
                  <a:pt x="18655" y="18164"/>
                </a:cubicBezTo>
                <a:cubicBezTo>
                  <a:pt x="18655" y="18099"/>
                  <a:pt x="18640" y="18039"/>
                  <a:pt x="18618" y="17983"/>
                </a:cubicBezTo>
                <a:cubicBezTo>
                  <a:pt x="18618" y="17983"/>
                  <a:pt x="18620" y="17982"/>
                  <a:pt x="18620" y="17982"/>
                </a:cubicBezTo>
                <a:close/>
                <a:moveTo>
                  <a:pt x="5400" y="3927"/>
                </a:moveTo>
                <a:cubicBezTo>
                  <a:pt x="6213" y="3927"/>
                  <a:pt x="6873" y="4587"/>
                  <a:pt x="6873" y="5400"/>
                </a:cubicBezTo>
                <a:cubicBezTo>
                  <a:pt x="6873" y="6214"/>
                  <a:pt x="6213" y="6873"/>
                  <a:pt x="5400" y="6873"/>
                </a:cubicBezTo>
                <a:cubicBezTo>
                  <a:pt x="4587" y="6873"/>
                  <a:pt x="3927" y="6214"/>
                  <a:pt x="3927" y="5400"/>
                </a:cubicBezTo>
                <a:cubicBezTo>
                  <a:pt x="3927" y="4587"/>
                  <a:pt x="4587" y="3927"/>
                  <a:pt x="5400" y="3927"/>
                </a:cubicBezTo>
                <a:moveTo>
                  <a:pt x="5400" y="7855"/>
                </a:moveTo>
                <a:cubicBezTo>
                  <a:pt x="6756" y="7855"/>
                  <a:pt x="7855" y="6756"/>
                  <a:pt x="7855" y="5400"/>
                </a:cubicBezTo>
                <a:cubicBezTo>
                  <a:pt x="7855" y="4045"/>
                  <a:pt x="6756" y="2945"/>
                  <a:pt x="5400" y="2945"/>
                </a:cubicBezTo>
                <a:cubicBezTo>
                  <a:pt x="4044" y="2945"/>
                  <a:pt x="2945" y="4045"/>
                  <a:pt x="2945" y="5400"/>
                </a:cubicBezTo>
                <a:cubicBezTo>
                  <a:pt x="2945" y="6756"/>
                  <a:pt x="4044" y="7855"/>
                  <a:pt x="54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3" name="Shape 2563"/>
          <p:cNvSpPr/>
          <p:nvPr/>
        </p:nvSpPr>
        <p:spPr>
          <a:xfrm>
            <a:off x="3860211"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4" name="Shape 2564"/>
          <p:cNvSpPr/>
          <p:nvPr/>
        </p:nvSpPr>
        <p:spPr>
          <a:xfrm>
            <a:off x="4260157"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5" name="Shape 2565"/>
          <p:cNvSpPr/>
          <p:nvPr/>
        </p:nvSpPr>
        <p:spPr>
          <a:xfrm>
            <a:off x="660644" y="3450913"/>
            <a:ext cx="209495" cy="171411"/>
          </a:xfrm>
          <a:custGeom>
            <a:avLst/>
            <a:gdLst/>
            <a:ahLst/>
            <a:cxnLst>
              <a:cxn ang="0">
                <a:pos x="wd2" y="hd2"/>
              </a:cxn>
              <a:cxn ang="5400000">
                <a:pos x="wd2" y="hd2"/>
              </a:cxn>
              <a:cxn ang="10800000">
                <a:pos x="wd2" y="hd2"/>
              </a:cxn>
              <a:cxn ang="16200000">
                <a:pos x="wd2" y="hd2"/>
              </a:cxn>
            </a:cxnLst>
            <a:rect l="0" t="0" r="r" b="b"/>
            <a:pathLst>
              <a:path w="21600" h="21600" extrusionOk="0">
                <a:moveTo>
                  <a:pt x="7855" y="8400"/>
                </a:moveTo>
                <a:lnTo>
                  <a:pt x="13745" y="8400"/>
                </a:lnTo>
                <a:lnTo>
                  <a:pt x="13745" y="9600"/>
                </a:lnTo>
                <a:lnTo>
                  <a:pt x="7855" y="9600"/>
                </a:lnTo>
                <a:cubicBezTo>
                  <a:pt x="7855" y="9600"/>
                  <a:pt x="7855" y="8400"/>
                  <a:pt x="7855" y="8400"/>
                </a:cubicBezTo>
                <a:close/>
                <a:moveTo>
                  <a:pt x="7855" y="10800"/>
                </a:moveTo>
                <a:lnTo>
                  <a:pt x="13745" y="10800"/>
                </a:lnTo>
                <a:cubicBezTo>
                  <a:pt x="14287" y="10800"/>
                  <a:pt x="14727" y="10262"/>
                  <a:pt x="14727" y="9600"/>
                </a:cubicBezTo>
                <a:lnTo>
                  <a:pt x="14727" y="8400"/>
                </a:lnTo>
                <a:cubicBezTo>
                  <a:pt x="14727" y="7737"/>
                  <a:pt x="14287" y="7200"/>
                  <a:pt x="13745" y="7200"/>
                </a:cubicBezTo>
                <a:lnTo>
                  <a:pt x="7855" y="7200"/>
                </a:lnTo>
                <a:cubicBezTo>
                  <a:pt x="7313" y="7200"/>
                  <a:pt x="6873" y="7737"/>
                  <a:pt x="6873" y="8400"/>
                </a:cubicBezTo>
                <a:lnTo>
                  <a:pt x="6873" y="9600"/>
                </a:lnTo>
                <a:cubicBezTo>
                  <a:pt x="6873" y="10262"/>
                  <a:pt x="7313" y="10800"/>
                  <a:pt x="7855" y="10800"/>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6" name="Shape 2566"/>
          <p:cNvSpPr/>
          <p:nvPr/>
        </p:nvSpPr>
        <p:spPr>
          <a:xfrm>
            <a:off x="1060590" y="3450914"/>
            <a:ext cx="209495" cy="171413"/>
          </a:xfrm>
          <a:custGeom>
            <a:avLst/>
            <a:gdLst/>
            <a:ahLst/>
            <a:cxnLst>
              <a:cxn ang="0">
                <a:pos x="wd2" y="hd2"/>
              </a:cxn>
              <a:cxn ang="5400000">
                <a:pos x="wd2" y="hd2"/>
              </a:cxn>
              <a:cxn ang="10800000">
                <a:pos x="wd2" y="hd2"/>
              </a:cxn>
              <a:cxn ang="16200000">
                <a:pos x="wd2" y="hd2"/>
              </a:cxn>
            </a:cxnLst>
            <a:rect l="0" t="0" r="r" b="b"/>
            <a:pathLst>
              <a:path w="21600" h="21600" extrusionOk="0">
                <a:moveTo>
                  <a:pt x="6382" y="12000"/>
                </a:moveTo>
                <a:cubicBezTo>
                  <a:pt x="6653" y="12000"/>
                  <a:pt x="6873" y="12268"/>
                  <a:pt x="6873" y="12599"/>
                </a:cubicBezTo>
                <a:cubicBezTo>
                  <a:pt x="6873" y="12931"/>
                  <a:pt x="6653" y="13199"/>
                  <a:pt x="6382" y="13199"/>
                </a:cubicBezTo>
                <a:cubicBezTo>
                  <a:pt x="6111" y="13199"/>
                  <a:pt x="5891" y="12931"/>
                  <a:pt x="5891" y="12599"/>
                </a:cubicBezTo>
                <a:cubicBezTo>
                  <a:pt x="5891" y="12268"/>
                  <a:pt x="6111" y="12000"/>
                  <a:pt x="6382" y="12000"/>
                </a:cubicBezTo>
                <a:moveTo>
                  <a:pt x="6382" y="14399"/>
                </a:moveTo>
                <a:cubicBezTo>
                  <a:pt x="7195" y="14399"/>
                  <a:pt x="7855" y="13594"/>
                  <a:pt x="7855" y="12599"/>
                </a:cubicBezTo>
                <a:cubicBezTo>
                  <a:pt x="7855" y="11606"/>
                  <a:pt x="7195" y="10800"/>
                  <a:pt x="6382" y="10800"/>
                </a:cubicBezTo>
                <a:cubicBezTo>
                  <a:pt x="5568" y="10800"/>
                  <a:pt x="4909" y="11606"/>
                  <a:pt x="4909" y="12599"/>
                </a:cubicBezTo>
                <a:cubicBezTo>
                  <a:pt x="4909" y="13594"/>
                  <a:pt x="5568" y="14399"/>
                  <a:pt x="6382" y="14399"/>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moveTo>
                  <a:pt x="10800" y="12000"/>
                </a:moveTo>
                <a:cubicBezTo>
                  <a:pt x="11071" y="12000"/>
                  <a:pt x="11291" y="12268"/>
                  <a:pt x="11291" y="12599"/>
                </a:cubicBezTo>
                <a:cubicBezTo>
                  <a:pt x="11291" y="12931"/>
                  <a:pt x="11071" y="13199"/>
                  <a:pt x="10800" y="13199"/>
                </a:cubicBezTo>
                <a:cubicBezTo>
                  <a:pt x="10529" y="13199"/>
                  <a:pt x="10309" y="12931"/>
                  <a:pt x="10309" y="12599"/>
                </a:cubicBezTo>
                <a:cubicBezTo>
                  <a:pt x="10309" y="12268"/>
                  <a:pt x="10529" y="12000"/>
                  <a:pt x="10800" y="12000"/>
                </a:cubicBezTo>
                <a:moveTo>
                  <a:pt x="10800" y="14399"/>
                </a:moveTo>
                <a:cubicBezTo>
                  <a:pt x="11614" y="14399"/>
                  <a:pt x="12273" y="13594"/>
                  <a:pt x="12273" y="12599"/>
                </a:cubicBezTo>
                <a:cubicBezTo>
                  <a:pt x="12273" y="11606"/>
                  <a:pt x="11614" y="10800"/>
                  <a:pt x="10800" y="10800"/>
                </a:cubicBezTo>
                <a:cubicBezTo>
                  <a:pt x="9986" y="10800"/>
                  <a:pt x="9327" y="11606"/>
                  <a:pt x="9327" y="12599"/>
                </a:cubicBezTo>
                <a:cubicBezTo>
                  <a:pt x="9327" y="13594"/>
                  <a:pt x="9986" y="14399"/>
                  <a:pt x="10800" y="14399"/>
                </a:cubicBezTo>
                <a:moveTo>
                  <a:pt x="15218" y="12000"/>
                </a:moveTo>
                <a:cubicBezTo>
                  <a:pt x="15489" y="12000"/>
                  <a:pt x="15709" y="12268"/>
                  <a:pt x="15709" y="12599"/>
                </a:cubicBezTo>
                <a:cubicBezTo>
                  <a:pt x="15709" y="12931"/>
                  <a:pt x="15489" y="13199"/>
                  <a:pt x="15218" y="13199"/>
                </a:cubicBezTo>
                <a:cubicBezTo>
                  <a:pt x="14947" y="13199"/>
                  <a:pt x="14727" y="12931"/>
                  <a:pt x="14727" y="12599"/>
                </a:cubicBezTo>
                <a:cubicBezTo>
                  <a:pt x="14727" y="12268"/>
                  <a:pt x="14947" y="12000"/>
                  <a:pt x="15218" y="12000"/>
                </a:cubicBezTo>
                <a:moveTo>
                  <a:pt x="15218" y="14399"/>
                </a:moveTo>
                <a:cubicBezTo>
                  <a:pt x="16032" y="14399"/>
                  <a:pt x="16691" y="13594"/>
                  <a:pt x="16691" y="12599"/>
                </a:cubicBezTo>
                <a:cubicBezTo>
                  <a:pt x="16691" y="11606"/>
                  <a:pt x="16032" y="10800"/>
                  <a:pt x="15218" y="10800"/>
                </a:cubicBezTo>
                <a:cubicBezTo>
                  <a:pt x="14405" y="10800"/>
                  <a:pt x="13745" y="11606"/>
                  <a:pt x="13745" y="12599"/>
                </a:cubicBezTo>
                <a:cubicBezTo>
                  <a:pt x="13745" y="13594"/>
                  <a:pt x="14405" y="14399"/>
                  <a:pt x="15218" y="14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7" name="Shape 2567"/>
          <p:cNvSpPr/>
          <p:nvPr/>
        </p:nvSpPr>
        <p:spPr>
          <a:xfrm>
            <a:off x="1460536"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8" name="Shape 2568"/>
          <p:cNvSpPr/>
          <p:nvPr/>
        </p:nvSpPr>
        <p:spPr>
          <a:xfrm>
            <a:off x="1860482"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9" name="Shape 2569"/>
          <p:cNvSpPr/>
          <p:nvPr/>
        </p:nvSpPr>
        <p:spPr>
          <a:xfrm>
            <a:off x="2260427" y="3431867"/>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0" name="Shape 2570"/>
          <p:cNvSpPr/>
          <p:nvPr/>
        </p:nvSpPr>
        <p:spPr>
          <a:xfrm>
            <a:off x="2660374" y="3436629"/>
            <a:ext cx="209495" cy="204736"/>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1" name="Shape 2571"/>
          <p:cNvSpPr/>
          <p:nvPr/>
        </p:nvSpPr>
        <p:spPr>
          <a:xfrm>
            <a:off x="3060320"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2" name="Shape 2572"/>
          <p:cNvSpPr/>
          <p:nvPr/>
        </p:nvSpPr>
        <p:spPr>
          <a:xfrm>
            <a:off x="3460265"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9818" y="8836"/>
                </a:lnTo>
                <a:lnTo>
                  <a:pt x="9818" y="4909"/>
                </a:lnTo>
                <a:cubicBezTo>
                  <a:pt x="9818" y="4638"/>
                  <a:pt x="9599" y="4418"/>
                  <a:pt x="9327" y="4418"/>
                </a:cubicBezTo>
                <a:cubicBezTo>
                  <a:pt x="9056" y="4418"/>
                  <a:pt x="8836" y="4638"/>
                  <a:pt x="8836" y="4909"/>
                </a:cubicBezTo>
                <a:lnTo>
                  <a:pt x="8836" y="8836"/>
                </a:lnTo>
                <a:lnTo>
                  <a:pt x="4909" y="8836"/>
                </a:lnTo>
                <a:cubicBezTo>
                  <a:pt x="4638" y="8836"/>
                  <a:pt x="4418" y="9056"/>
                  <a:pt x="4418" y="9327"/>
                </a:cubicBezTo>
                <a:cubicBezTo>
                  <a:pt x="4418" y="9599"/>
                  <a:pt x="4638" y="9818"/>
                  <a:pt x="4909" y="9818"/>
                </a:cubicBezTo>
                <a:lnTo>
                  <a:pt x="8836" y="9818"/>
                </a:lnTo>
                <a:lnTo>
                  <a:pt x="8836" y="13745"/>
                </a:lnTo>
                <a:cubicBezTo>
                  <a:pt x="8836" y="14017"/>
                  <a:pt x="9056" y="14236"/>
                  <a:pt x="9327" y="14236"/>
                </a:cubicBezTo>
                <a:cubicBezTo>
                  <a:pt x="9599" y="14236"/>
                  <a:pt x="9818" y="14017"/>
                  <a:pt x="9818" y="13745"/>
                </a:cubicBezTo>
                <a:lnTo>
                  <a:pt x="9818" y="9818"/>
                </a:ln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3" name="Shape 2573"/>
          <p:cNvSpPr/>
          <p:nvPr/>
        </p:nvSpPr>
        <p:spPr>
          <a:xfrm>
            <a:off x="3860211"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4909" y="8836"/>
                </a:lnTo>
                <a:cubicBezTo>
                  <a:pt x="4638" y="8836"/>
                  <a:pt x="4418" y="9056"/>
                  <a:pt x="4418" y="9327"/>
                </a:cubicBezTo>
                <a:cubicBezTo>
                  <a:pt x="4418" y="9599"/>
                  <a:pt x="4638" y="9818"/>
                  <a:pt x="4909" y="9818"/>
                </a:cubicBez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4" name="Shape 2574"/>
          <p:cNvSpPr/>
          <p:nvPr/>
        </p:nvSpPr>
        <p:spPr>
          <a:xfrm>
            <a:off x="4269680" y="3431868"/>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32" y="4909"/>
                  <a:pt x="1080" y="4030"/>
                  <a:pt x="1080" y="2945"/>
                </a:cubicBezTo>
                <a:cubicBezTo>
                  <a:pt x="1080" y="1861"/>
                  <a:pt x="5432" y="982"/>
                  <a:pt x="10800" y="982"/>
                </a:cubicBezTo>
                <a:cubicBezTo>
                  <a:pt x="16168" y="982"/>
                  <a:pt x="20520" y="1861"/>
                  <a:pt x="20520" y="2945"/>
                </a:cubicBezTo>
                <a:cubicBezTo>
                  <a:pt x="20520" y="4030"/>
                  <a:pt x="16168" y="4909"/>
                  <a:pt x="10800" y="4909"/>
                </a:cubicBezTo>
                <a:moveTo>
                  <a:pt x="16305" y="8659"/>
                </a:moveTo>
                <a:cubicBezTo>
                  <a:pt x="14130" y="10260"/>
                  <a:pt x="11880" y="11916"/>
                  <a:pt x="11880" y="14727"/>
                </a:cubicBezTo>
                <a:cubicBezTo>
                  <a:pt x="11880" y="17561"/>
                  <a:pt x="11880" y="19270"/>
                  <a:pt x="11642" y="20135"/>
                </a:cubicBezTo>
                <a:cubicBezTo>
                  <a:pt x="11522" y="20573"/>
                  <a:pt x="11509" y="20618"/>
                  <a:pt x="10800" y="20618"/>
                </a:cubicBezTo>
                <a:cubicBezTo>
                  <a:pt x="10091" y="20618"/>
                  <a:pt x="10078" y="20573"/>
                  <a:pt x="9957" y="20135"/>
                </a:cubicBezTo>
                <a:cubicBezTo>
                  <a:pt x="9818" y="19627"/>
                  <a:pt x="9761" y="18820"/>
                  <a:pt x="9738" y="17673"/>
                </a:cubicBezTo>
                <a:lnTo>
                  <a:pt x="10260" y="17673"/>
                </a:lnTo>
                <a:cubicBezTo>
                  <a:pt x="10558" y="17673"/>
                  <a:pt x="10800" y="17453"/>
                  <a:pt x="10800" y="17182"/>
                </a:cubicBezTo>
                <a:cubicBezTo>
                  <a:pt x="10800" y="16911"/>
                  <a:pt x="10558" y="16691"/>
                  <a:pt x="10260" y="16691"/>
                </a:cubicBezTo>
                <a:lnTo>
                  <a:pt x="9724" y="16691"/>
                </a:lnTo>
                <a:cubicBezTo>
                  <a:pt x="9722" y="16381"/>
                  <a:pt x="9721" y="16059"/>
                  <a:pt x="9721" y="15709"/>
                </a:cubicBezTo>
                <a:lnTo>
                  <a:pt x="10260" y="15709"/>
                </a:lnTo>
                <a:cubicBezTo>
                  <a:pt x="10558" y="15709"/>
                  <a:pt x="10800" y="15489"/>
                  <a:pt x="10800" y="15218"/>
                </a:cubicBezTo>
                <a:cubicBezTo>
                  <a:pt x="10800" y="14947"/>
                  <a:pt x="10558" y="14727"/>
                  <a:pt x="10260" y="14727"/>
                </a:cubicBezTo>
                <a:lnTo>
                  <a:pt x="9720" y="14727"/>
                </a:lnTo>
                <a:cubicBezTo>
                  <a:pt x="9720" y="11916"/>
                  <a:pt x="7470" y="10260"/>
                  <a:pt x="5295" y="8659"/>
                </a:cubicBezTo>
                <a:cubicBezTo>
                  <a:pt x="3543" y="7370"/>
                  <a:pt x="1872" y="6139"/>
                  <a:pt x="1294" y="4344"/>
                </a:cubicBezTo>
                <a:cubicBezTo>
                  <a:pt x="3119" y="5266"/>
                  <a:pt x="6691" y="5891"/>
                  <a:pt x="10800" y="5891"/>
                </a:cubicBezTo>
                <a:cubicBezTo>
                  <a:pt x="14905" y="5891"/>
                  <a:pt x="18475" y="5266"/>
                  <a:pt x="20302" y="4347"/>
                </a:cubicBezTo>
                <a:cubicBezTo>
                  <a:pt x="19721" y="6143"/>
                  <a:pt x="18053" y="7373"/>
                  <a:pt x="16305" y="8659"/>
                </a:cubicBezTo>
                <a:moveTo>
                  <a:pt x="10800" y="0"/>
                </a:moveTo>
                <a:cubicBezTo>
                  <a:pt x="4835" y="0"/>
                  <a:pt x="0" y="1319"/>
                  <a:pt x="0" y="2945"/>
                </a:cubicBezTo>
                <a:cubicBezTo>
                  <a:pt x="0" y="8836"/>
                  <a:pt x="8640" y="9818"/>
                  <a:pt x="8640" y="14727"/>
                </a:cubicBezTo>
                <a:lnTo>
                  <a:pt x="8640" y="15217"/>
                </a:lnTo>
                <a:lnTo>
                  <a:pt x="8640" y="15218"/>
                </a:lnTo>
                <a:lnTo>
                  <a:pt x="8640" y="15219"/>
                </a:lnTo>
                <a:cubicBezTo>
                  <a:pt x="8641" y="15938"/>
                  <a:pt x="8642" y="16572"/>
                  <a:pt x="8649" y="17142"/>
                </a:cubicBezTo>
                <a:cubicBezTo>
                  <a:pt x="8647" y="17155"/>
                  <a:pt x="8640" y="17168"/>
                  <a:pt x="8640" y="17182"/>
                </a:cubicBezTo>
                <a:cubicBezTo>
                  <a:pt x="8640" y="17199"/>
                  <a:pt x="8648" y="17212"/>
                  <a:pt x="8651" y="17230"/>
                </a:cubicBezTo>
                <a:cubicBezTo>
                  <a:pt x="8699" y="20896"/>
                  <a:pt x="8995" y="21600"/>
                  <a:pt x="10800" y="21600"/>
                </a:cubicBezTo>
                <a:cubicBezTo>
                  <a:pt x="12960" y="21600"/>
                  <a:pt x="12960" y="20618"/>
                  <a:pt x="12960" y="14727"/>
                </a:cubicBezTo>
                <a:cubicBezTo>
                  <a:pt x="12960" y="9818"/>
                  <a:pt x="21600" y="8836"/>
                  <a:pt x="21600" y="2945"/>
                </a:cubicBezTo>
                <a:cubicBezTo>
                  <a:pt x="21600" y="131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5" name="Shape 2575"/>
          <p:cNvSpPr/>
          <p:nvPr/>
        </p:nvSpPr>
        <p:spPr>
          <a:xfrm>
            <a:off x="66064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8655" y="14727"/>
                </a:lnTo>
                <a:lnTo>
                  <a:pt x="18655" y="12273"/>
                </a:lnTo>
                <a:cubicBezTo>
                  <a:pt x="18655" y="12002"/>
                  <a:pt x="18434" y="11782"/>
                  <a:pt x="18164" y="11782"/>
                </a:cubicBezTo>
                <a:cubicBezTo>
                  <a:pt x="17893" y="11782"/>
                  <a:pt x="17673" y="12002"/>
                  <a:pt x="17673" y="12273"/>
                </a:cubicBezTo>
                <a:lnTo>
                  <a:pt x="17673" y="14727"/>
                </a:lnTo>
                <a:lnTo>
                  <a:pt x="15218" y="14727"/>
                </a:lnTo>
                <a:cubicBezTo>
                  <a:pt x="14947" y="14727"/>
                  <a:pt x="14727" y="14947"/>
                  <a:pt x="14727" y="15218"/>
                </a:cubicBezTo>
                <a:cubicBezTo>
                  <a:pt x="14727" y="15490"/>
                  <a:pt x="14947" y="15709"/>
                  <a:pt x="15218" y="15709"/>
                </a:cubicBezTo>
                <a:lnTo>
                  <a:pt x="17673" y="15709"/>
                </a:lnTo>
                <a:lnTo>
                  <a:pt x="17673" y="18164"/>
                </a:lnTo>
                <a:cubicBezTo>
                  <a:pt x="17673" y="18435"/>
                  <a:pt x="17893" y="18655"/>
                  <a:pt x="18164" y="18655"/>
                </a:cubicBezTo>
                <a:cubicBezTo>
                  <a:pt x="18434" y="18655"/>
                  <a:pt x="18655" y="18435"/>
                  <a:pt x="18655" y="18164"/>
                </a:cubicBezTo>
                <a:lnTo>
                  <a:pt x="18655" y="15709"/>
                </a:ln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6" name="Shape 2576"/>
          <p:cNvSpPr/>
          <p:nvPr/>
        </p:nvSpPr>
        <p:spPr>
          <a:xfrm>
            <a:off x="106059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5218" y="14727"/>
                </a:lnTo>
                <a:cubicBezTo>
                  <a:pt x="14947" y="14727"/>
                  <a:pt x="14727" y="14947"/>
                  <a:pt x="14727" y="15218"/>
                </a:cubicBezTo>
                <a:cubicBezTo>
                  <a:pt x="14727" y="15490"/>
                  <a:pt x="14947" y="15709"/>
                  <a:pt x="15218" y="15709"/>
                </a:cubicBez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7" name="Shape 2577"/>
          <p:cNvSpPr/>
          <p:nvPr/>
        </p:nvSpPr>
        <p:spPr>
          <a:xfrm>
            <a:off x="1470059" y="383181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20520" y="4979"/>
                </a:moveTo>
                <a:lnTo>
                  <a:pt x="7560" y="6792"/>
                </a:lnTo>
                <a:lnTo>
                  <a:pt x="7560" y="2876"/>
                </a:lnTo>
                <a:lnTo>
                  <a:pt x="20520" y="1063"/>
                </a:lnTo>
                <a:cubicBezTo>
                  <a:pt x="20520" y="1063"/>
                  <a:pt x="20520" y="4979"/>
                  <a:pt x="20520" y="4979"/>
                </a:cubicBezTo>
                <a:close/>
                <a:moveTo>
                  <a:pt x="18900" y="17673"/>
                </a:moveTo>
                <a:lnTo>
                  <a:pt x="16740" y="17673"/>
                </a:lnTo>
                <a:cubicBezTo>
                  <a:pt x="15845" y="17673"/>
                  <a:pt x="15120" y="17014"/>
                  <a:pt x="15120" y="16200"/>
                </a:cubicBezTo>
                <a:cubicBezTo>
                  <a:pt x="15120" y="15387"/>
                  <a:pt x="15845" y="14727"/>
                  <a:pt x="16740" y="14727"/>
                </a:cubicBezTo>
                <a:lnTo>
                  <a:pt x="18900" y="14727"/>
                </a:lnTo>
                <a:cubicBezTo>
                  <a:pt x="19795" y="14727"/>
                  <a:pt x="20520" y="15387"/>
                  <a:pt x="20520" y="16200"/>
                </a:cubicBezTo>
                <a:cubicBezTo>
                  <a:pt x="20520" y="17014"/>
                  <a:pt x="19795" y="17673"/>
                  <a:pt x="18900" y="17673"/>
                </a:cubicBezTo>
                <a:moveTo>
                  <a:pt x="4860" y="20618"/>
                </a:moveTo>
                <a:lnTo>
                  <a:pt x="2700" y="20618"/>
                </a:lnTo>
                <a:cubicBezTo>
                  <a:pt x="1805" y="20618"/>
                  <a:pt x="1080" y="19959"/>
                  <a:pt x="1080" y="19146"/>
                </a:cubicBezTo>
                <a:cubicBezTo>
                  <a:pt x="1080" y="18332"/>
                  <a:pt x="1805" y="17673"/>
                  <a:pt x="2700" y="17673"/>
                </a:cubicBezTo>
                <a:lnTo>
                  <a:pt x="4860" y="17673"/>
                </a:lnTo>
                <a:cubicBezTo>
                  <a:pt x="5755" y="17673"/>
                  <a:pt x="6480" y="18332"/>
                  <a:pt x="6480" y="19146"/>
                </a:cubicBezTo>
                <a:cubicBezTo>
                  <a:pt x="6480" y="19959"/>
                  <a:pt x="5755" y="20618"/>
                  <a:pt x="4860" y="20618"/>
                </a:cubicBezTo>
                <a:moveTo>
                  <a:pt x="21060" y="0"/>
                </a:moveTo>
                <a:cubicBezTo>
                  <a:pt x="21031" y="0"/>
                  <a:pt x="21006" y="11"/>
                  <a:pt x="20980" y="15"/>
                </a:cubicBezTo>
                <a:lnTo>
                  <a:pt x="20978" y="6"/>
                </a:lnTo>
                <a:lnTo>
                  <a:pt x="6938" y="1969"/>
                </a:lnTo>
                <a:lnTo>
                  <a:pt x="6940" y="1979"/>
                </a:lnTo>
                <a:cubicBezTo>
                  <a:pt x="6681" y="2016"/>
                  <a:pt x="6480" y="2210"/>
                  <a:pt x="6480" y="2455"/>
                </a:cubicBezTo>
                <a:lnTo>
                  <a:pt x="6480" y="17193"/>
                </a:lnTo>
                <a:cubicBezTo>
                  <a:pt x="6028" y="16882"/>
                  <a:pt x="5471" y="16691"/>
                  <a:pt x="4860" y="16691"/>
                </a:cubicBezTo>
                <a:lnTo>
                  <a:pt x="2700" y="16691"/>
                </a:lnTo>
                <a:cubicBezTo>
                  <a:pt x="1209" y="16691"/>
                  <a:pt x="0" y="17790"/>
                  <a:pt x="0" y="19146"/>
                </a:cubicBezTo>
                <a:cubicBezTo>
                  <a:pt x="0" y="20501"/>
                  <a:pt x="1209" y="21600"/>
                  <a:pt x="2700" y="21600"/>
                </a:cubicBezTo>
                <a:lnTo>
                  <a:pt x="4860" y="21600"/>
                </a:lnTo>
                <a:cubicBezTo>
                  <a:pt x="6352" y="21600"/>
                  <a:pt x="7560" y="20501"/>
                  <a:pt x="7560" y="19146"/>
                </a:cubicBezTo>
                <a:lnTo>
                  <a:pt x="7560" y="7785"/>
                </a:lnTo>
                <a:lnTo>
                  <a:pt x="20520" y="5972"/>
                </a:lnTo>
                <a:lnTo>
                  <a:pt x="20520" y="14248"/>
                </a:lnTo>
                <a:cubicBezTo>
                  <a:pt x="20068" y="13937"/>
                  <a:pt x="19511" y="13745"/>
                  <a:pt x="18900" y="13745"/>
                </a:cubicBezTo>
                <a:lnTo>
                  <a:pt x="16740" y="13745"/>
                </a:lnTo>
                <a:cubicBezTo>
                  <a:pt x="15249" y="13745"/>
                  <a:pt x="14040" y="14845"/>
                  <a:pt x="14040" y="16200"/>
                </a:cubicBezTo>
                <a:cubicBezTo>
                  <a:pt x="14040" y="17556"/>
                  <a:pt x="15249" y="18655"/>
                  <a:pt x="16740" y="18655"/>
                </a:cubicBezTo>
                <a:lnTo>
                  <a:pt x="18900" y="18655"/>
                </a:lnTo>
                <a:cubicBezTo>
                  <a:pt x="20392" y="18655"/>
                  <a:pt x="21600" y="17556"/>
                  <a:pt x="21600" y="16200"/>
                </a:cubicBezTo>
                <a:lnTo>
                  <a:pt x="21600" y="491"/>
                </a:lnTo>
                <a:cubicBezTo>
                  <a:pt x="21600" y="220"/>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8" name="Shape 2578"/>
          <p:cNvSpPr/>
          <p:nvPr/>
        </p:nvSpPr>
        <p:spPr>
          <a:xfrm>
            <a:off x="1898572" y="3831814"/>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5837"/>
                </a:moveTo>
                <a:lnTo>
                  <a:pt x="10800" y="4996"/>
                </a:lnTo>
                <a:lnTo>
                  <a:pt x="10800" y="1036"/>
                </a:lnTo>
                <a:lnTo>
                  <a:pt x="20057" y="1878"/>
                </a:lnTo>
                <a:cubicBezTo>
                  <a:pt x="20057" y="1878"/>
                  <a:pt x="20057" y="5837"/>
                  <a:pt x="20057" y="5837"/>
                </a:cubicBezTo>
                <a:close/>
                <a:moveTo>
                  <a:pt x="6943" y="20618"/>
                </a:moveTo>
                <a:lnTo>
                  <a:pt x="3857" y="20618"/>
                </a:lnTo>
                <a:cubicBezTo>
                  <a:pt x="2579" y="20618"/>
                  <a:pt x="1543" y="19959"/>
                  <a:pt x="1543" y="19146"/>
                </a:cubicBezTo>
                <a:cubicBezTo>
                  <a:pt x="1543" y="18332"/>
                  <a:pt x="2579" y="17673"/>
                  <a:pt x="3857" y="17673"/>
                </a:cubicBezTo>
                <a:lnTo>
                  <a:pt x="6943" y="17673"/>
                </a:lnTo>
                <a:cubicBezTo>
                  <a:pt x="8221" y="17673"/>
                  <a:pt x="9257" y="18332"/>
                  <a:pt x="9257" y="19146"/>
                </a:cubicBezTo>
                <a:cubicBezTo>
                  <a:pt x="9257" y="19959"/>
                  <a:pt x="8221" y="20618"/>
                  <a:pt x="6943" y="20618"/>
                </a:cubicBezTo>
                <a:moveTo>
                  <a:pt x="20829" y="982"/>
                </a:moveTo>
                <a:cubicBezTo>
                  <a:pt x="20788" y="982"/>
                  <a:pt x="20752" y="993"/>
                  <a:pt x="20714" y="997"/>
                </a:cubicBezTo>
                <a:lnTo>
                  <a:pt x="20711" y="988"/>
                </a:lnTo>
                <a:lnTo>
                  <a:pt x="10344" y="45"/>
                </a:lnTo>
                <a:cubicBezTo>
                  <a:pt x="10248" y="17"/>
                  <a:pt x="10141" y="0"/>
                  <a:pt x="10029" y="0"/>
                </a:cubicBezTo>
                <a:cubicBezTo>
                  <a:pt x="10002" y="0"/>
                  <a:pt x="9979" y="8"/>
                  <a:pt x="9954" y="10"/>
                </a:cubicBezTo>
                <a:lnTo>
                  <a:pt x="9911" y="6"/>
                </a:lnTo>
                <a:lnTo>
                  <a:pt x="9914" y="15"/>
                </a:lnTo>
                <a:cubicBezTo>
                  <a:pt x="9545" y="52"/>
                  <a:pt x="9257" y="246"/>
                  <a:pt x="9257" y="491"/>
                </a:cubicBezTo>
                <a:lnTo>
                  <a:pt x="9257" y="17193"/>
                </a:lnTo>
                <a:cubicBezTo>
                  <a:pt x="8612" y="16882"/>
                  <a:pt x="7815" y="16691"/>
                  <a:pt x="6943" y="16691"/>
                </a:cubicBezTo>
                <a:lnTo>
                  <a:pt x="3857" y="16691"/>
                </a:lnTo>
                <a:cubicBezTo>
                  <a:pt x="1727" y="16691"/>
                  <a:pt x="0" y="17790"/>
                  <a:pt x="0" y="19146"/>
                </a:cubicBezTo>
                <a:cubicBezTo>
                  <a:pt x="0" y="20501"/>
                  <a:pt x="1727" y="21600"/>
                  <a:pt x="3857" y="21600"/>
                </a:cubicBezTo>
                <a:lnTo>
                  <a:pt x="6943" y="21600"/>
                </a:lnTo>
                <a:cubicBezTo>
                  <a:pt x="9074" y="21600"/>
                  <a:pt x="10800" y="20501"/>
                  <a:pt x="10800" y="19146"/>
                </a:cubicBezTo>
                <a:lnTo>
                  <a:pt x="10800" y="5945"/>
                </a:lnTo>
                <a:lnTo>
                  <a:pt x="20513" y="6828"/>
                </a:lnTo>
                <a:cubicBezTo>
                  <a:pt x="20610" y="6855"/>
                  <a:pt x="20715" y="6873"/>
                  <a:pt x="20829" y="6873"/>
                </a:cubicBezTo>
                <a:cubicBezTo>
                  <a:pt x="20855" y="6873"/>
                  <a:pt x="20877" y="6865"/>
                  <a:pt x="20904" y="6864"/>
                </a:cubicBezTo>
                <a:lnTo>
                  <a:pt x="20946" y="6867"/>
                </a:lnTo>
                <a:lnTo>
                  <a:pt x="20943" y="6858"/>
                </a:lnTo>
                <a:cubicBezTo>
                  <a:pt x="21313" y="6822"/>
                  <a:pt x="21600" y="6627"/>
                  <a:pt x="21600" y="6382"/>
                </a:cubicBezTo>
                <a:lnTo>
                  <a:pt x="21600" y="1473"/>
                </a:lnTo>
                <a:cubicBezTo>
                  <a:pt x="21600" y="1202"/>
                  <a:pt x="21254" y="982"/>
                  <a:pt x="20829"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9" name="Shape 2579"/>
          <p:cNvSpPr/>
          <p:nvPr/>
        </p:nvSpPr>
        <p:spPr>
          <a:xfrm>
            <a:off x="226042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257" y="18984"/>
                </a:moveTo>
                <a:lnTo>
                  <a:pt x="11380" y="15408"/>
                </a:lnTo>
                <a:lnTo>
                  <a:pt x="10800" y="14983"/>
                </a:lnTo>
                <a:lnTo>
                  <a:pt x="10219" y="15408"/>
                </a:lnTo>
                <a:lnTo>
                  <a:pt x="5343" y="18984"/>
                </a:lnTo>
                <a:lnTo>
                  <a:pt x="7313" y="13075"/>
                </a:lnTo>
                <a:lnTo>
                  <a:pt x="7534" y="12411"/>
                </a:lnTo>
                <a:lnTo>
                  <a:pt x="6980" y="11985"/>
                </a:lnTo>
                <a:lnTo>
                  <a:pt x="2887" y="8836"/>
                </a:lnTo>
                <a:lnTo>
                  <a:pt x="8535" y="8836"/>
                </a:lnTo>
                <a:lnTo>
                  <a:pt x="8774" y="8199"/>
                </a:lnTo>
                <a:lnTo>
                  <a:pt x="10800" y="2796"/>
                </a:lnTo>
                <a:lnTo>
                  <a:pt x="12826" y="8199"/>
                </a:lnTo>
                <a:lnTo>
                  <a:pt x="13065" y="8836"/>
                </a:lnTo>
                <a:lnTo>
                  <a:pt x="18714" y="8836"/>
                </a:lnTo>
                <a:lnTo>
                  <a:pt x="14619" y="11985"/>
                </a:lnTo>
                <a:lnTo>
                  <a:pt x="14066" y="12411"/>
                </a:lnTo>
                <a:cubicBezTo>
                  <a:pt x="14066" y="12411"/>
                  <a:pt x="16257" y="18984"/>
                  <a:pt x="16257" y="18984"/>
                </a:cubicBezTo>
                <a:close/>
                <a:moveTo>
                  <a:pt x="21600" y="7855"/>
                </a:moveTo>
                <a:lnTo>
                  <a:pt x="13745" y="7855"/>
                </a:lnTo>
                <a:lnTo>
                  <a:pt x="10800" y="0"/>
                </a:lnTo>
                <a:lnTo>
                  <a:pt x="7855" y="7855"/>
                </a:lnTo>
                <a:lnTo>
                  <a:pt x="0" y="7855"/>
                </a:lnTo>
                <a:lnTo>
                  <a:pt x="6382" y="12764"/>
                </a:lnTo>
                <a:lnTo>
                  <a:pt x="3436" y="21600"/>
                </a:lnTo>
                <a:lnTo>
                  <a:pt x="10800" y="16200"/>
                </a:lnTo>
                <a:lnTo>
                  <a:pt x="18164" y="21600"/>
                </a:lnTo>
                <a:lnTo>
                  <a:pt x="15218" y="12764"/>
                </a:lnTo>
                <a:cubicBezTo>
                  <a:pt x="15218" y="12764"/>
                  <a:pt x="21600" y="7855"/>
                  <a:pt x="21600" y="78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0" name="Shape 2580"/>
          <p:cNvSpPr/>
          <p:nvPr/>
        </p:nvSpPr>
        <p:spPr>
          <a:xfrm>
            <a:off x="266037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445" y="15886"/>
                </a:moveTo>
                <a:lnTo>
                  <a:pt x="10478" y="18984"/>
                </a:lnTo>
                <a:lnTo>
                  <a:pt x="7944" y="17126"/>
                </a:lnTo>
                <a:lnTo>
                  <a:pt x="7364" y="16700"/>
                </a:lnTo>
                <a:lnTo>
                  <a:pt x="6783" y="17126"/>
                </a:lnTo>
                <a:lnTo>
                  <a:pt x="4249" y="18984"/>
                </a:lnTo>
                <a:lnTo>
                  <a:pt x="5283" y="15886"/>
                </a:lnTo>
                <a:lnTo>
                  <a:pt x="5505" y="15220"/>
                </a:lnTo>
                <a:lnTo>
                  <a:pt x="4946" y="14794"/>
                </a:lnTo>
                <a:lnTo>
                  <a:pt x="2908" y="13240"/>
                </a:lnTo>
                <a:lnTo>
                  <a:pt x="6037" y="13240"/>
                </a:lnTo>
                <a:lnTo>
                  <a:pt x="6275" y="12602"/>
                </a:lnTo>
                <a:lnTo>
                  <a:pt x="7364" y="9683"/>
                </a:lnTo>
                <a:lnTo>
                  <a:pt x="8452" y="12602"/>
                </a:lnTo>
                <a:lnTo>
                  <a:pt x="8690" y="13240"/>
                </a:lnTo>
                <a:lnTo>
                  <a:pt x="11820" y="13240"/>
                </a:lnTo>
                <a:lnTo>
                  <a:pt x="9781" y="14794"/>
                </a:lnTo>
                <a:lnTo>
                  <a:pt x="9223" y="15220"/>
                </a:lnTo>
                <a:cubicBezTo>
                  <a:pt x="9223" y="15220"/>
                  <a:pt x="9445" y="15886"/>
                  <a:pt x="9445" y="15886"/>
                </a:cubicBezTo>
                <a:close/>
                <a:moveTo>
                  <a:pt x="9372" y="12259"/>
                </a:moveTo>
                <a:lnTo>
                  <a:pt x="7364" y="6873"/>
                </a:lnTo>
                <a:lnTo>
                  <a:pt x="5355" y="12259"/>
                </a:lnTo>
                <a:lnTo>
                  <a:pt x="0" y="12259"/>
                </a:lnTo>
                <a:lnTo>
                  <a:pt x="4351" y="15575"/>
                </a:lnTo>
                <a:lnTo>
                  <a:pt x="2343" y="21600"/>
                </a:lnTo>
                <a:lnTo>
                  <a:pt x="7364" y="17918"/>
                </a:lnTo>
                <a:lnTo>
                  <a:pt x="12384" y="21600"/>
                </a:lnTo>
                <a:lnTo>
                  <a:pt x="10376" y="15575"/>
                </a:lnTo>
                <a:lnTo>
                  <a:pt x="14727" y="12259"/>
                </a:lnTo>
                <a:cubicBezTo>
                  <a:pt x="14727" y="12259"/>
                  <a:pt x="9372" y="12259"/>
                  <a:pt x="9372" y="12259"/>
                </a:cubicBezTo>
                <a:close/>
                <a:moveTo>
                  <a:pt x="16781" y="7308"/>
                </a:moveTo>
                <a:lnTo>
                  <a:pt x="16200" y="6883"/>
                </a:lnTo>
                <a:lnTo>
                  <a:pt x="15619" y="7308"/>
                </a:lnTo>
                <a:lnTo>
                  <a:pt x="14426" y="8184"/>
                </a:lnTo>
                <a:lnTo>
                  <a:pt x="14922" y="6693"/>
                </a:lnTo>
                <a:lnTo>
                  <a:pt x="15143" y="6031"/>
                </a:lnTo>
                <a:lnTo>
                  <a:pt x="14590" y="5605"/>
                </a:lnTo>
                <a:lnTo>
                  <a:pt x="13682" y="4905"/>
                </a:lnTo>
                <a:lnTo>
                  <a:pt x="15408" y="4905"/>
                </a:lnTo>
                <a:lnTo>
                  <a:pt x="15647" y="4267"/>
                </a:lnTo>
                <a:lnTo>
                  <a:pt x="16200" y="2793"/>
                </a:lnTo>
                <a:lnTo>
                  <a:pt x="16754" y="4267"/>
                </a:lnTo>
                <a:lnTo>
                  <a:pt x="16992" y="4905"/>
                </a:lnTo>
                <a:lnTo>
                  <a:pt x="18718" y="4905"/>
                </a:lnTo>
                <a:lnTo>
                  <a:pt x="17810" y="5605"/>
                </a:lnTo>
                <a:lnTo>
                  <a:pt x="17257" y="6031"/>
                </a:lnTo>
                <a:lnTo>
                  <a:pt x="17478" y="6693"/>
                </a:lnTo>
                <a:lnTo>
                  <a:pt x="17975" y="8184"/>
                </a:lnTo>
                <a:cubicBezTo>
                  <a:pt x="17975" y="8184"/>
                  <a:pt x="16781" y="7308"/>
                  <a:pt x="16781" y="7308"/>
                </a:cubicBezTo>
                <a:close/>
                <a:moveTo>
                  <a:pt x="21600" y="3922"/>
                </a:moveTo>
                <a:lnTo>
                  <a:pt x="17673" y="3922"/>
                </a:lnTo>
                <a:lnTo>
                  <a:pt x="16200" y="0"/>
                </a:lnTo>
                <a:lnTo>
                  <a:pt x="14727" y="3922"/>
                </a:lnTo>
                <a:lnTo>
                  <a:pt x="10800" y="3922"/>
                </a:lnTo>
                <a:lnTo>
                  <a:pt x="13991" y="6382"/>
                </a:lnTo>
                <a:lnTo>
                  <a:pt x="12518" y="10800"/>
                </a:lnTo>
                <a:lnTo>
                  <a:pt x="16200" y="8100"/>
                </a:lnTo>
                <a:lnTo>
                  <a:pt x="19882" y="10800"/>
                </a:lnTo>
                <a:lnTo>
                  <a:pt x="18409" y="6382"/>
                </a:lnTo>
                <a:cubicBezTo>
                  <a:pt x="18409" y="6382"/>
                  <a:pt x="21600" y="3922"/>
                  <a:pt x="21600" y="392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1" name="Shape 2581"/>
          <p:cNvSpPr/>
          <p:nvPr/>
        </p:nvSpPr>
        <p:spPr>
          <a:xfrm>
            <a:off x="306032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33" y="11950"/>
                </a:moveTo>
                <a:lnTo>
                  <a:pt x="12831" y="14044"/>
                </a:lnTo>
                <a:lnTo>
                  <a:pt x="11135" y="12801"/>
                </a:lnTo>
                <a:lnTo>
                  <a:pt x="10555" y="12375"/>
                </a:lnTo>
                <a:lnTo>
                  <a:pt x="9974" y="12801"/>
                </a:lnTo>
                <a:lnTo>
                  <a:pt x="8277" y="14044"/>
                </a:lnTo>
                <a:lnTo>
                  <a:pt x="8976" y="11950"/>
                </a:lnTo>
                <a:lnTo>
                  <a:pt x="9195" y="11291"/>
                </a:lnTo>
                <a:lnTo>
                  <a:pt x="8647" y="10864"/>
                </a:lnTo>
                <a:lnTo>
                  <a:pt x="7280" y="9801"/>
                </a:lnTo>
                <a:lnTo>
                  <a:pt x="9560" y="9801"/>
                </a:lnTo>
                <a:lnTo>
                  <a:pt x="9799" y="9167"/>
                </a:lnTo>
                <a:lnTo>
                  <a:pt x="10555" y="7167"/>
                </a:lnTo>
                <a:lnTo>
                  <a:pt x="11310" y="9167"/>
                </a:lnTo>
                <a:lnTo>
                  <a:pt x="11549" y="9801"/>
                </a:lnTo>
                <a:lnTo>
                  <a:pt x="13829" y="9801"/>
                </a:lnTo>
                <a:lnTo>
                  <a:pt x="12462" y="10864"/>
                </a:lnTo>
                <a:lnTo>
                  <a:pt x="11914" y="11291"/>
                </a:lnTo>
                <a:cubicBezTo>
                  <a:pt x="11914" y="11291"/>
                  <a:pt x="12133" y="11950"/>
                  <a:pt x="12133" y="11950"/>
                </a:cubicBezTo>
                <a:close/>
                <a:moveTo>
                  <a:pt x="12228" y="8820"/>
                </a:moveTo>
                <a:lnTo>
                  <a:pt x="10555" y="4388"/>
                </a:lnTo>
                <a:lnTo>
                  <a:pt x="8881" y="8820"/>
                </a:lnTo>
                <a:lnTo>
                  <a:pt x="4418" y="8820"/>
                </a:lnTo>
                <a:lnTo>
                  <a:pt x="8044" y="11639"/>
                </a:lnTo>
                <a:lnTo>
                  <a:pt x="6371" y="16660"/>
                </a:lnTo>
                <a:lnTo>
                  <a:pt x="10555" y="13592"/>
                </a:lnTo>
                <a:lnTo>
                  <a:pt x="14738" y="16660"/>
                </a:lnTo>
                <a:lnTo>
                  <a:pt x="13065" y="11639"/>
                </a:lnTo>
                <a:lnTo>
                  <a:pt x="16691" y="8820"/>
                </a:lnTo>
                <a:cubicBezTo>
                  <a:pt x="16691" y="8820"/>
                  <a:pt x="12228" y="8820"/>
                  <a:pt x="12228" y="8820"/>
                </a:cubicBezTo>
                <a:close/>
                <a:moveTo>
                  <a:pt x="10800" y="20618"/>
                </a:moveTo>
                <a:cubicBezTo>
                  <a:pt x="5378" y="20618"/>
                  <a:pt x="982" y="16223"/>
                  <a:pt x="982" y="10800"/>
                </a:cubicBezTo>
                <a:cubicBezTo>
                  <a:pt x="982" y="5377"/>
                  <a:pt x="5378"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2" name="Shape 2582"/>
          <p:cNvSpPr/>
          <p:nvPr/>
        </p:nvSpPr>
        <p:spPr>
          <a:xfrm>
            <a:off x="3460265"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1"/>
                  <a:pt x="9056" y="5400"/>
                  <a:pt x="9327" y="5400"/>
                </a:cubicBezTo>
                <a:lnTo>
                  <a:pt x="18164" y="5400"/>
                </a:lnTo>
                <a:cubicBezTo>
                  <a:pt x="18435" y="5400"/>
                  <a:pt x="18655" y="5181"/>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2"/>
                  <a:pt x="9056" y="11291"/>
                  <a:pt x="9327" y="11291"/>
                </a:cubicBezTo>
                <a:lnTo>
                  <a:pt x="18164" y="11291"/>
                </a:lnTo>
                <a:cubicBezTo>
                  <a:pt x="18435" y="11291"/>
                  <a:pt x="18655" y="11072"/>
                  <a:pt x="18655" y="10800"/>
                </a:cubicBezTo>
                <a:cubicBezTo>
                  <a:pt x="18655" y="10529"/>
                  <a:pt x="18435" y="10310"/>
                  <a:pt x="18164" y="10310"/>
                </a:cubicBezTo>
                <a:moveTo>
                  <a:pt x="5445" y="16155"/>
                </a:moveTo>
                <a:lnTo>
                  <a:pt x="4909" y="14728"/>
                </a:lnTo>
                <a:lnTo>
                  <a:pt x="4374" y="16155"/>
                </a:lnTo>
                <a:lnTo>
                  <a:pt x="2945" y="16155"/>
                </a:lnTo>
                <a:lnTo>
                  <a:pt x="4106" y="17048"/>
                </a:lnTo>
                <a:lnTo>
                  <a:pt x="3571" y="18655"/>
                </a:lnTo>
                <a:lnTo>
                  <a:pt x="4909" y="17673"/>
                </a:lnTo>
                <a:lnTo>
                  <a:pt x="6248" y="18655"/>
                </a:lnTo>
                <a:lnTo>
                  <a:pt x="5713" y="17048"/>
                </a:lnTo>
                <a:lnTo>
                  <a:pt x="6873" y="16155"/>
                </a:lnTo>
                <a:cubicBezTo>
                  <a:pt x="6873" y="16155"/>
                  <a:pt x="5445" y="16155"/>
                  <a:pt x="5445" y="16155"/>
                </a:cubicBezTo>
                <a:close/>
                <a:moveTo>
                  <a:pt x="4909" y="8836"/>
                </a:moveTo>
                <a:lnTo>
                  <a:pt x="4374" y="10265"/>
                </a:lnTo>
                <a:lnTo>
                  <a:pt x="2945" y="10265"/>
                </a:lnTo>
                <a:lnTo>
                  <a:pt x="4106" y="11157"/>
                </a:lnTo>
                <a:lnTo>
                  <a:pt x="3571" y="12764"/>
                </a:lnTo>
                <a:lnTo>
                  <a:pt x="4909" y="11782"/>
                </a:lnTo>
                <a:lnTo>
                  <a:pt x="6248" y="12764"/>
                </a:lnTo>
                <a:lnTo>
                  <a:pt x="5713" y="11157"/>
                </a:lnTo>
                <a:lnTo>
                  <a:pt x="6873" y="10265"/>
                </a:lnTo>
                <a:lnTo>
                  <a:pt x="5445" y="10265"/>
                </a:lnTo>
                <a:cubicBezTo>
                  <a:pt x="5445" y="10265"/>
                  <a:pt x="4909" y="8836"/>
                  <a:pt x="4909" y="8836"/>
                </a:cubicBezTo>
                <a:close/>
                <a:moveTo>
                  <a:pt x="4909" y="2945"/>
                </a:moveTo>
                <a:lnTo>
                  <a:pt x="4374" y="4374"/>
                </a:lnTo>
                <a:lnTo>
                  <a:pt x="2945" y="4374"/>
                </a:lnTo>
                <a:lnTo>
                  <a:pt x="4106" y="5266"/>
                </a:lnTo>
                <a:lnTo>
                  <a:pt x="3571" y="6873"/>
                </a:lnTo>
                <a:lnTo>
                  <a:pt x="4909" y="5891"/>
                </a:lnTo>
                <a:lnTo>
                  <a:pt x="6248" y="6873"/>
                </a:lnTo>
                <a:lnTo>
                  <a:pt x="5713" y="5266"/>
                </a:lnTo>
                <a:lnTo>
                  <a:pt x="6873" y="4374"/>
                </a:lnTo>
                <a:lnTo>
                  <a:pt x="5445" y="4374"/>
                </a:lnTo>
                <a:cubicBezTo>
                  <a:pt x="5445" y="4374"/>
                  <a:pt x="4909" y="2945"/>
                  <a:pt x="4909" y="2945"/>
                </a:cubicBezTo>
                <a:close/>
                <a:moveTo>
                  <a:pt x="18164" y="16200"/>
                </a:moveTo>
                <a:lnTo>
                  <a:pt x="9327" y="16200"/>
                </a:lnTo>
                <a:cubicBezTo>
                  <a:pt x="9056" y="16200"/>
                  <a:pt x="8836" y="16420"/>
                  <a:pt x="8836" y="16691"/>
                </a:cubicBezTo>
                <a:cubicBezTo>
                  <a:pt x="8836" y="16962"/>
                  <a:pt x="9056" y="17182"/>
                  <a:pt x="9327" y="17182"/>
                </a:cubicBezTo>
                <a:lnTo>
                  <a:pt x="18164" y="17182"/>
                </a:lnTo>
                <a:cubicBezTo>
                  <a:pt x="18435" y="17182"/>
                  <a:pt x="18655" y="16962"/>
                  <a:pt x="18655" y="16691"/>
                </a:cubicBezTo>
                <a:cubicBezTo>
                  <a:pt x="18655" y="16420"/>
                  <a:pt x="18435" y="16200"/>
                  <a:pt x="18164"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3" name="Shape 2583"/>
          <p:cNvSpPr/>
          <p:nvPr/>
        </p:nvSpPr>
        <p:spPr>
          <a:xfrm>
            <a:off x="3860211"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4" name="Shape 2584"/>
          <p:cNvSpPr/>
          <p:nvPr/>
        </p:nvSpPr>
        <p:spPr>
          <a:xfrm>
            <a:off x="426015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5" name="Shape 2585"/>
          <p:cNvSpPr/>
          <p:nvPr/>
        </p:nvSpPr>
        <p:spPr>
          <a:xfrm>
            <a:off x="4707714"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000" y="14727"/>
                </a:moveTo>
                <a:lnTo>
                  <a:pt x="5400" y="14727"/>
                </a:lnTo>
                <a:cubicBezTo>
                  <a:pt x="5069" y="14727"/>
                  <a:pt x="4800" y="14947"/>
                  <a:pt x="4800" y="15218"/>
                </a:cubicBezTo>
                <a:cubicBezTo>
                  <a:pt x="4800" y="15490"/>
                  <a:pt x="5069" y="15709"/>
                  <a:pt x="5400" y="15709"/>
                </a:cubicBezTo>
                <a:lnTo>
                  <a:pt x="9000" y="15709"/>
                </a:lnTo>
                <a:cubicBezTo>
                  <a:pt x="9331" y="15709"/>
                  <a:pt x="9600" y="15490"/>
                  <a:pt x="9600" y="15218"/>
                </a:cubicBezTo>
                <a:cubicBezTo>
                  <a:pt x="9600" y="14947"/>
                  <a:pt x="9331" y="14727"/>
                  <a:pt x="9000" y="14727"/>
                </a:cubicBezTo>
                <a:moveTo>
                  <a:pt x="20400" y="2579"/>
                </a:moveTo>
                <a:cubicBezTo>
                  <a:pt x="18840" y="3757"/>
                  <a:pt x="15638" y="4614"/>
                  <a:pt x="12466" y="4845"/>
                </a:cubicBezTo>
                <a:cubicBezTo>
                  <a:pt x="12197" y="4307"/>
                  <a:pt x="11554" y="3927"/>
                  <a:pt x="10800" y="3927"/>
                </a:cubicBezTo>
                <a:cubicBezTo>
                  <a:pt x="10046" y="3927"/>
                  <a:pt x="9403" y="4307"/>
                  <a:pt x="9135" y="4845"/>
                </a:cubicBezTo>
                <a:cubicBezTo>
                  <a:pt x="5962" y="4614"/>
                  <a:pt x="2760" y="3757"/>
                  <a:pt x="1200" y="2579"/>
                </a:cubicBezTo>
                <a:lnTo>
                  <a:pt x="1200" y="1964"/>
                </a:lnTo>
                <a:cubicBezTo>
                  <a:pt x="1200" y="1422"/>
                  <a:pt x="1738" y="982"/>
                  <a:pt x="2400" y="982"/>
                </a:cubicBezTo>
                <a:lnTo>
                  <a:pt x="19200" y="982"/>
                </a:lnTo>
                <a:cubicBezTo>
                  <a:pt x="19862" y="982"/>
                  <a:pt x="20400" y="1422"/>
                  <a:pt x="20400" y="1964"/>
                </a:cubicBezTo>
                <a:cubicBezTo>
                  <a:pt x="20400" y="1964"/>
                  <a:pt x="20400" y="2579"/>
                  <a:pt x="20400" y="2579"/>
                </a:cubicBezTo>
                <a:close/>
                <a:moveTo>
                  <a:pt x="10200" y="5400"/>
                </a:moveTo>
                <a:cubicBezTo>
                  <a:pt x="10200" y="5129"/>
                  <a:pt x="10469" y="4909"/>
                  <a:pt x="10800" y="4909"/>
                </a:cubicBezTo>
                <a:cubicBezTo>
                  <a:pt x="11131" y="4909"/>
                  <a:pt x="11400" y="5129"/>
                  <a:pt x="11400" y="5400"/>
                </a:cubicBezTo>
                <a:cubicBezTo>
                  <a:pt x="11400" y="5672"/>
                  <a:pt x="11131" y="5891"/>
                  <a:pt x="10800" y="5891"/>
                </a:cubicBezTo>
                <a:cubicBezTo>
                  <a:pt x="10469" y="5891"/>
                  <a:pt x="10200" y="5672"/>
                  <a:pt x="10200" y="5400"/>
                </a:cubicBezTo>
                <a:moveTo>
                  <a:pt x="20400" y="19636"/>
                </a:moveTo>
                <a:cubicBezTo>
                  <a:pt x="20400" y="20178"/>
                  <a:pt x="19862" y="20619"/>
                  <a:pt x="19200" y="20619"/>
                </a:cubicBezTo>
                <a:lnTo>
                  <a:pt x="2400" y="20619"/>
                </a:lnTo>
                <a:cubicBezTo>
                  <a:pt x="1738" y="20619"/>
                  <a:pt x="1200" y="20178"/>
                  <a:pt x="1200" y="19636"/>
                </a:cubicBezTo>
                <a:lnTo>
                  <a:pt x="1200" y="3859"/>
                </a:lnTo>
                <a:cubicBezTo>
                  <a:pt x="3007" y="4894"/>
                  <a:pt x="6118" y="5617"/>
                  <a:pt x="9086" y="5827"/>
                </a:cubicBezTo>
                <a:cubicBezTo>
                  <a:pt x="9311" y="6431"/>
                  <a:pt x="9988" y="6873"/>
                  <a:pt x="10800" y="6873"/>
                </a:cubicBezTo>
                <a:cubicBezTo>
                  <a:pt x="11611" y="6873"/>
                  <a:pt x="12289" y="6431"/>
                  <a:pt x="12514" y="5827"/>
                </a:cubicBezTo>
                <a:cubicBezTo>
                  <a:pt x="15482" y="5617"/>
                  <a:pt x="18593" y="4894"/>
                  <a:pt x="20400" y="3859"/>
                </a:cubicBezTo>
                <a:cubicBezTo>
                  <a:pt x="20400" y="3859"/>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7800" y="16691"/>
                </a:moveTo>
                <a:lnTo>
                  <a:pt x="5400" y="16691"/>
                </a:lnTo>
                <a:cubicBezTo>
                  <a:pt x="5069" y="16691"/>
                  <a:pt x="4800" y="16911"/>
                  <a:pt x="4800" y="17182"/>
                </a:cubicBezTo>
                <a:cubicBezTo>
                  <a:pt x="4800" y="17453"/>
                  <a:pt x="5069" y="17673"/>
                  <a:pt x="5400" y="17673"/>
                </a:cubicBezTo>
                <a:lnTo>
                  <a:pt x="7800" y="17673"/>
                </a:lnTo>
                <a:cubicBezTo>
                  <a:pt x="8131" y="17673"/>
                  <a:pt x="8400" y="17453"/>
                  <a:pt x="8400" y="17182"/>
                </a:cubicBezTo>
                <a:cubicBezTo>
                  <a:pt x="8400" y="16911"/>
                  <a:pt x="8131" y="16691"/>
                  <a:pt x="78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6" name="Shape 2586"/>
          <p:cNvSpPr/>
          <p:nvPr/>
        </p:nvSpPr>
        <p:spPr>
          <a:xfrm>
            <a:off x="5107660"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600" y="6076"/>
                </a:moveTo>
                <a:cubicBezTo>
                  <a:pt x="14428" y="7109"/>
                  <a:pt x="12685" y="7649"/>
                  <a:pt x="10071" y="7803"/>
                </a:cubicBezTo>
                <a:cubicBezTo>
                  <a:pt x="9806" y="7259"/>
                  <a:pt x="9160" y="6873"/>
                  <a:pt x="8400" y="6873"/>
                </a:cubicBezTo>
                <a:cubicBezTo>
                  <a:pt x="7640" y="6873"/>
                  <a:pt x="6994" y="7259"/>
                  <a:pt x="6729" y="7803"/>
                </a:cubicBezTo>
                <a:cubicBezTo>
                  <a:pt x="4115" y="7649"/>
                  <a:pt x="2372" y="7109"/>
                  <a:pt x="1200" y="6076"/>
                </a:cubicBezTo>
                <a:lnTo>
                  <a:pt x="1200" y="5891"/>
                </a:lnTo>
                <a:cubicBezTo>
                  <a:pt x="1200" y="5349"/>
                  <a:pt x="1738" y="4909"/>
                  <a:pt x="2400" y="4909"/>
                </a:cubicBezTo>
                <a:lnTo>
                  <a:pt x="14400" y="4909"/>
                </a:lnTo>
                <a:cubicBezTo>
                  <a:pt x="15062" y="4909"/>
                  <a:pt x="15600" y="5349"/>
                  <a:pt x="15600" y="5891"/>
                </a:cubicBezTo>
                <a:cubicBezTo>
                  <a:pt x="15600" y="5891"/>
                  <a:pt x="15600" y="6076"/>
                  <a:pt x="15600" y="6076"/>
                </a:cubicBezTo>
                <a:close/>
                <a:moveTo>
                  <a:pt x="7800" y="8346"/>
                </a:moveTo>
                <a:cubicBezTo>
                  <a:pt x="7800" y="8074"/>
                  <a:pt x="8069" y="7855"/>
                  <a:pt x="8400" y="7855"/>
                </a:cubicBezTo>
                <a:cubicBezTo>
                  <a:pt x="8731" y="7855"/>
                  <a:pt x="9000" y="8074"/>
                  <a:pt x="9000" y="8346"/>
                </a:cubicBezTo>
                <a:cubicBezTo>
                  <a:pt x="9000" y="8617"/>
                  <a:pt x="8731" y="8836"/>
                  <a:pt x="8400" y="8836"/>
                </a:cubicBezTo>
                <a:cubicBezTo>
                  <a:pt x="8069" y="8836"/>
                  <a:pt x="7800" y="8617"/>
                  <a:pt x="7800" y="8346"/>
                </a:cubicBezTo>
                <a:moveTo>
                  <a:pt x="15600" y="19636"/>
                </a:moveTo>
                <a:cubicBezTo>
                  <a:pt x="15600" y="20179"/>
                  <a:pt x="15062" y="20619"/>
                  <a:pt x="14400" y="20619"/>
                </a:cubicBezTo>
                <a:lnTo>
                  <a:pt x="2400" y="20619"/>
                </a:lnTo>
                <a:cubicBezTo>
                  <a:pt x="1738" y="20619"/>
                  <a:pt x="1200" y="20179"/>
                  <a:pt x="1200" y="19636"/>
                </a:cubicBezTo>
                <a:lnTo>
                  <a:pt x="1200" y="7318"/>
                </a:lnTo>
                <a:cubicBezTo>
                  <a:pt x="2658" y="8244"/>
                  <a:pt x="4301" y="8666"/>
                  <a:pt x="6693" y="8790"/>
                </a:cubicBezTo>
                <a:cubicBezTo>
                  <a:pt x="6924" y="9385"/>
                  <a:pt x="7597" y="9819"/>
                  <a:pt x="8400" y="9819"/>
                </a:cubicBezTo>
                <a:cubicBezTo>
                  <a:pt x="9203" y="9819"/>
                  <a:pt x="9875" y="9385"/>
                  <a:pt x="10108" y="8790"/>
                </a:cubicBezTo>
                <a:cubicBezTo>
                  <a:pt x="12499" y="8666"/>
                  <a:pt x="14142" y="8244"/>
                  <a:pt x="15600" y="7318"/>
                </a:cubicBezTo>
                <a:cubicBezTo>
                  <a:pt x="15600" y="7318"/>
                  <a:pt x="15600" y="19636"/>
                  <a:pt x="15600" y="19636"/>
                </a:cubicBezTo>
                <a:close/>
                <a:moveTo>
                  <a:pt x="14400" y="3927"/>
                </a:moveTo>
                <a:lnTo>
                  <a:pt x="2400" y="3927"/>
                </a:lnTo>
                <a:cubicBezTo>
                  <a:pt x="1075" y="3927"/>
                  <a:pt x="0" y="4806"/>
                  <a:pt x="0" y="5891"/>
                </a:cubicBezTo>
                <a:lnTo>
                  <a:pt x="0" y="19636"/>
                </a:lnTo>
                <a:cubicBezTo>
                  <a:pt x="0" y="20721"/>
                  <a:pt x="1075" y="21600"/>
                  <a:pt x="2400" y="21600"/>
                </a:cubicBezTo>
                <a:lnTo>
                  <a:pt x="14400" y="21600"/>
                </a:lnTo>
                <a:cubicBezTo>
                  <a:pt x="15725" y="21600"/>
                  <a:pt x="16800" y="20721"/>
                  <a:pt x="16800" y="19636"/>
                </a:cubicBezTo>
                <a:lnTo>
                  <a:pt x="16800" y="5891"/>
                </a:lnTo>
                <a:cubicBezTo>
                  <a:pt x="16800" y="4806"/>
                  <a:pt x="15725" y="3927"/>
                  <a:pt x="14400" y="3927"/>
                </a:cubicBezTo>
                <a:moveTo>
                  <a:pt x="5400" y="17673"/>
                </a:moveTo>
                <a:lnTo>
                  <a:pt x="4200" y="17673"/>
                </a:lnTo>
                <a:cubicBezTo>
                  <a:pt x="3869" y="17673"/>
                  <a:pt x="3600" y="17893"/>
                  <a:pt x="3600" y="18164"/>
                </a:cubicBezTo>
                <a:cubicBezTo>
                  <a:pt x="3600" y="18435"/>
                  <a:pt x="3869" y="18655"/>
                  <a:pt x="4200" y="18655"/>
                </a:cubicBezTo>
                <a:lnTo>
                  <a:pt x="5400" y="18655"/>
                </a:lnTo>
                <a:cubicBezTo>
                  <a:pt x="5731" y="18655"/>
                  <a:pt x="6000" y="18435"/>
                  <a:pt x="6000" y="18164"/>
                </a:cubicBezTo>
                <a:cubicBezTo>
                  <a:pt x="6000" y="17893"/>
                  <a:pt x="5731" y="17673"/>
                  <a:pt x="5400" y="17673"/>
                </a:cubicBezTo>
                <a:moveTo>
                  <a:pt x="6600" y="15709"/>
                </a:moveTo>
                <a:lnTo>
                  <a:pt x="4200" y="15709"/>
                </a:lnTo>
                <a:cubicBezTo>
                  <a:pt x="3869" y="15709"/>
                  <a:pt x="3600" y="15929"/>
                  <a:pt x="3600" y="16200"/>
                </a:cubicBezTo>
                <a:cubicBezTo>
                  <a:pt x="3600" y="16472"/>
                  <a:pt x="3869" y="16691"/>
                  <a:pt x="4200" y="16691"/>
                </a:cubicBezTo>
                <a:lnTo>
                  <a:pt x="6600" y="16691"/>
                </a:lnTo>
                <a:cubicBezTo>
                  <a:pt x="6931" y="16691"/>
                  <a:pt x="7200" y="16472"/>
                  <a:pt x="7200" y="16200"/>
                </a:cubicBezTo>
                <a:cubicBezTo>
                  <a:pt x="7200" y="15929"/>
                  <a:pt x="6931" y="15709"/>
                  <a:pt x="6600" y="15709"/>
                </a:cubicBezTo>
                <a:moveTo>
                  <a:pt x="19200" y="0"/>
                </a:moveTo>
                <a:lnTo>
                  <a:pt x="7200" y="0"/>
                </a:lnTo>
                <a:cubicBezTo>
                  <a:pt x="5875" y="0"/>
                  <a:pt x="4800" y="879"/>
                  <a:pt x="4800" y="1964"/>
                </a:cubicBezTo>
                <a:lnTo>
                  <a:pt x="4800" y="2455"/>
                </a:lnTo>
                <a:cubicBezTo>
                  <a:pt x="4800" y="2726"/>
                  <a:pt x="5069" y="2945"/>
                  <a:pt x="5400" y="2945"/>
                </a:cubicBezTo>
                <a:cubicBezTo>
                  <a:pt x="5731" y="2945"/>
                  <a:pt x="6000" y="2726"/>
                  <a:pt x="6000" y="2455"/>
                </a:cubicBezTo>
                <a:lnTo>
                  <a:pt x="6000" y="1964"/>
                </a:lnTo>
                <a:cubicBezTo>
                  <a:pt x="6000" y="1422"/>
                  <a:pt x="6538" y="982"/>
                  <a:pt x="7200" y="982"/>
                </a:cubicBezTo>
                <a:lnTo>
                  <a:pt x="19200" y="982"/>
                </a:lnTo>
                <a:cubicBezTo>
                  <a:pt x="19862" y="982"/>
                  <a:pt x="20400" y="1422"/>
                  <a:pt x="20400" y="1964"/>
                </a:cubicBezTo>
                <a:lnTo>
                  <a:pt x="20400" y="15709"/>
                </a:lnTo>
                <a:cubicBezTo>
                  <a:pt x="20400" y="16252"/>
                  <a:pt x="19862" y="16691"/>
                  <a:pt x="19200" y="16691"/>
                </a:cubicBezTo>
                <a:lnTo>
                  <a:pt x="18600" y="16691"/>
                </a:lnTo>
                <a:cubicBezTo>
                  <a:pt x="18269" y="16691"/>
                  <a:pt x="18000" y="16911"/>
                  <a:pt x="18000" y="17182"/>
                </a:cubicBezTo>
                <a:cubicBezTo>
                  <a:pt x="18000" y="17453"/>
                  <a:pt x="18269" y="17673"/>
                  <a:pt x="18600" y="17673"/>
                </a:cubicBezTo>
                <a:lnTo>
                  <a:pt x="19200" y="17673"/>
                </a:lnTo>
                <a:cubicBezTo>
                  <a:pt x="20525" y="17673"/>
                  <a:pt x="21600" y="16794"/>
                  <a:pt x="21600" y="15709"/>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7" name="Shape 2587"/>
          <p:cNvSpPr/>
          <p:nvPr/>
        </p:nvSpPr>
        <p:spPr>
          <a:xfrm>
            <a:off x="5488562"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8" name="Shape 2588"/>
          <p:cNvSpPr/>
          <p:nvPr/>
        </p:nvSpPr>
        <p:spPr>
          <a:xfrm>
            <a:off x="5888507"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9" name="Shape 2589"/>
          <p:cNvSpPr/>
          <p:nvPr/>
        </p:nvSpPr>
        <p:spPr>
          <a:xfrm>
            <a:off x="6288453"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6382" y="15119"/>
                </a:moveTo>
                <a:cubicBezTo>
                  <a:pt x="7195" y="15119"/>
                  <a:pt x="7855" y="14394"/>
                  <a:pt x="7855" y="13500"/>
                </a:cubicBezTo>
                <a:cubicBezTo>
                  <a:pt x="7855" y="12605"/>
                  <a:pt x="7195" y="11880"/>
                  <a:pt x="6382" y="11880"/>
                </a:cubicBezTo>
                <a:cubicBezTo>
                  <a:pt x="5568" y="11880"/>
                  <a:pt x="4909" y="12605"/>
                  <a:pt x="4909" y="13500"/>
                </a:cubicBezTo>
                <a:cubicBezTo>
                  <a:pt x="4909" y="14394"/>
                  <a:pt x="5568" y="15119"/>
                  <a:pt x="6382" y="15119"/>
                </a:cubicBezTo>
                <a:moveTo>
                  <a:pt x="2455" y="3240"/>
                </a:moveTo>
                <a:cubicBezTo>
                  <a:pt x="2725" y="3240"/>
                  <a:pt x="2945" y="2999"/>
                  <a:pt x="2945" y="2700"/>
                </a:cubicBezTo>
                <a:cubicBezTo>
                  <a:pt x="2945" y="2402"/>
                  <a:pt x="2725" y="2160"/>
                  <a:pt x="2455" y="2160"/>
                </a:cubicBezTo>
                <a:cubicBezTo>
                  <a:pt x="2184" y="2160"/>
                  <a:pt x="1964" y="2402"/>
                  <a:pt x="1964" y="2700"/>
                </a:cubicBezTo>
                <a:cubicBezTo>
                  <a:pt x="1964" y="2999"/>
                  <a:pt x="2184" y="3240"/>
                  <a:pt x="2455" y="3240"/>
                </a:cubicBezTo>
                <a:moveTo>
                  <a:pt x="3927" y="8100"/>
                </a:moveTo>
                <a:cubicBezTo>
                  <a:pt x="3927" y="6609"/>
                  <a:pt x="5026" y="5400"/>
                  <a:pt x="6382" y="5400"/>
                </a:cubicBezTo>
                <a:cubicBezTo>
                  <a:pt x="7738" y="5400"/>
                  <a:pt x="8836" y="6609"/>
                  <a:pt x="8836" y="8100"/>
                </a:cubicBezTo>
                <a:lnTo>
                  <a:pt x="8836" y="13500"/>
                </a:lnTo>
                <a:cubicBezTo>
                  <a:pt x="8836" y="14991"/>
                  <a:pt x="7738" y="16199"/>
                  <a:pt x="6382" y="16199"/>
                </a:cubicBezTo>
                <a:cubicBezTo>
                  <a:pt x="5026" y="16199"/>
                  <a:pt x="3927" y="14991"/>
                  <a:pt x="3927" y="13500"/>
                </a:cubicBezTo>
                <a:cubicBezTo>
                  <a:pt x="3927" y="13500"/>
                  <a:pt x="3927" y="8100"/>
                  <a:pt x="3927" y="8100"/>
                </a:cubicBezTo>
                <a:close/>
                <a:moveTo>
                  <a:pt x="2945" y="13500"/>
                </a:moveTo>
                <a:cubicBezTo>
                  <a:pt x="2945" y="15587"/>
                  <a:pt x="4484" y="17279"/>
                  <a:pt x="6382" y="17279"/>
                </a:cubicBezTo>
                <a:cubicBezTo>
                  <a:pt x="8280" y="17279"/>
                  <a:pt x="9818" y="15587"/>
                  <a:pt x="9818" y="13500"/>
                </a:cubicBezTo>
                <a:lnTo>
                  <a:pt x="9818" y="8100"/>
                </a:lnTo>
                <a:cubicBezTo>
                  <a:pt x="9818" y="6012"/>
                  <a:pt x="8280" y="4320"/>
                  <a:pt x="6382" y="4320"/>
                </a:cubicBezTo>
                <a:cubicBezTo>
                  <a:pt x="4484" y="4320"/>
                  <a:pt x="2945" y="6012"/>
                  <a:pt x="2945" y="8100"/>
                </a:cubicBezTo>
                <a:cubicBezTo>
                  <a:pt x="2945" y="8100"/>
                  <a:pt x="2945" y="13500"/>
                  <a:pt x="2945" y="13500"/>
                </a:cubicBezTo>
                <a:close/>
                <a:moveTo>
                  <a:pt x="2455" y="19439"/>
                </a:moveTo>
                <a:cubicBezTo>
                  <a:pt x="2725" y="19439"/>
                  <a:pt x="2945" y="19198"/>
                  <a:pt x="2945" y="18899"/>
                </a:cubicBezTo>
                <a:cubicBezTo>
                  <a:pt x="2945" y="18601"/>
                  <a:pt x="2725" y="18359"/>
                  <a:pt x="2455" y="18359"/>
                </a:cubicBezTo>
                <a:cubicBezTo>
                  <a:pt x="2184" y="18359"/>
                  <a:pt x="1964" y="18601"/>
                  <a:pt x="1964" y="18899"/>
                </a:cubicBezTo>
                <a:cubicBezTo>
                  <a:pt x="1964" y="19198"/>
                  <a:pt x="2184" y="19439"/>
                  <a:pt x="2455" y="19439"/>
                </a:cubicBezTo>
                <a:moveTo>
                  <a:pt x="20618" y="20519"/>
                </a:moveTo>
                <a:lnTo>
                  <a:pt x="982" y="20519"/>
                </a:lnTo>
                <a:lnTo>
                  <a:pt x="982" y="1080"/>
                </a:lnTo>
                <a:lnTo>
                  <a:pt x="20618" y="1080"/>
                </a:lnTo>
                <a:cubicBezTo>
                  <a:pt x="20618" y="1080"/>
                  <a:pt x="20618" y="20519"/>
                  <a:pt x="20618" y="20519"/>
                </a:cubicBezTo>
                <a:close/>
                <a:moveTo>
                  <a:pt x="20618" y="0"/>
                </a:moveTo>
                <a:lnTo>
                  <a:pt x="982" y="0"/>
                </a:lnTo>
                <a:cubicBezTo>
                  <a:pt x="440" y="0"/>
                  <a:pt x="0" y="484"/>
                  <a:pt x="0" y="1080"/>
                </a:cubicBezTo>
                <a:lnTo>
                  <a:pt x="0" y="20519"/>
                </a:lnTo>
                <a:cubicBezTo>
                  <a:pt x="0" y="21115"/>
                  <a:pt x="440" y="21600"/>
                  <a:pt x="982" y="21600"/>
                </a:cubicBezTo>
                <a:lnTo>
                  <a:pt x="20618" y="21600"/>
                </a:lnTo>
                <a:cubicBezTo>
                  <a:pt x="21160" y="21600"/>
                  <a:pt x="21600" y="21115"/>
                  <a:pt x="21600" y="20519"/>
                </a:cubicBezTo>
                <a:lnTo>
                  <a:pt x="21600" y="1080"/>
                </a:lnTo>
                <a:cubicBezTo>
                  <a:pt x="21600" y="484"/>
                  <a:pt x="21160" y="0"/>
                  <a:pt x="20618" y="0"/>
                </a:cubicBezTo>
                <a:moveTo>
                  <a:pt x="19145" y="3240"/>
                </a:moveTo>
                <a:cubicBezTo>
                  <a:pt x="19416" y="3240"/>
                  <a:pt x="19636" y="2999"/>
                  <a:pt x="19636" y="2700"/>
                </a:cubicBezTo>
                <a:cubicBezTo>
                  <a:pt x="19636" y="2402"/>
                  <a:pt x="19416" y="2160"/>
                  <a:pt x="19145" y="2160"/>
                </a:cubicBezTo>
                <a:cubicBezTo>
                  <a:pt x="18875" y="2160"/>
                  <a:pt x="18655" y="2402"/>
                  <a:pt x="18655" y="2700"/>
                </a:cubicBezTo>
                <a:cubicBezTo>
                  <a:pt x="18655" y="2999"/>
                  <a:pt x="18875" y="3240"/>
                  <a:pt x="19145" y="3240"/>
                </a:cubicBezTo>
                <a:moveTo>
                  <a:pt x="12764" y="8100"/>
                </a:moveTo>
                <a:cubicBezTo>
                  <a:pt x="12764" y="6609"/>
                  <a:pt x="13863" y="5400"/>
                  <a:pt x="15218" y="5400"/>
                </a:cubicBezTo>
                <a:cubicBezTo>
                  <a:pt x="16574" y="5400"/>
                  <a:pt x="17673" y="6609"/>
                  <a:pt x="17673" y="8100"/>
                </a:cubicBezTo>
                <a:lnTo>
                  <a:pt x="17673" y="13500"/>
                </a:lnTo>
                <a:cubicBezTo>
                  <a:pt x="17673" y="14991"/>
                  <a:pt x="16574" y="16199"/>
                  <a:pt x="15218" y="16199"/>
                </a:cubicBezTo>
                <a:cubicBezTo>
                  <a:pt x="13863" y="16199"/>
                  <a:pt x="12764" y="14991"/>
                  <a:pt x="12764" y="13500"/>
                </a:cubicBezTo>
                <a:cubicBezTo>
                  <a:pt x="12764" y="13500"/>
                  <a:pt x="12764" y="8100"/>
                  <a:pt x="12764" y="8100"/>
                </a:cubicBezTo>
                <a:close/>
                <a:moveTo>
                  <a:pt x="15218" y="17279"/>
                </a:moveTo>
                <a:cubicBezTo>
                  <a:pt x="17116" y="17279"/>
                  <a:pt x="18655" y="15587"/>
                  <a:pt x="18655" y="13500"/>
                </a:cubicBezTo>
                <a:lnTo>
                  <a:pt x="18655" y="8100"/>
                </a:lnTo>
                <a:cubicBezTo>
                  <a:pt x="18655" y="6012"/>
                  <a:pt x="17116" y="4320"/>
                  <a:pt x="15218" y="4320"/>
                </a:cubicBezTo>
                <a:cubicBezTo>
                  <a:pt x="13320" y="4320"/>
                  <a:pt x="11782" y="6012"/>
                  <a:pt x="11782" y="8100"/>
                </a:cubicBezTo>
                <a:lnTo>
                  <a:pt x="11782" y="13500"/>
                </a:lnTo>
                <a:cubicBezTo>
                  <a:pt x="11782" y="15587"/>
                  <a:pt x="13320" y="17279"/>
                  <a:pt x="15218" y="17279"/>
                </a:cubicBezTo>
                <a:moveTo>
                  <a:pt x="15218" y="9720"/>
                </a:moveTo>
                <a:cubicBezTo>
                  <a:pt x="16032" y="9720"/>
                  <a:pt x="16691" y="8995"/>
                  <a:pt x="16691" y="8100"/>
                </a:cubicBezTo>
                <a:cubicBezTo>
                  <a:pt x="16691" y="7206"/>
                  <a:pt x="16032" y="6480"/>
                  <a:pt x="15218" y="6480"/>
                </a:cubicBezTo>
                <a:cubicBezTo>
                  <a:pt x="14405" y="6480"/>
                  <a:pt x="13745" y="7206"/>
                  <a:pt x="13745" y="8100"/>
                </a:cubicBezTo>
                <a:cubicBezTo>
                  <a:pt x="13745" y="8995"/>
                  <a:pt x="14405" y="9720"/>
                  <a:pt x="15218" y="9720"/>
                </a:cubicBezTo>
                <a:moveTo>
                  <a:pt x="19145" y="18359"/>
                </a:moveTo>
                <a:cubicBezTo>
                  <a:pt x="18875" y="18359"/>
                  <a:pt x="18655" y="18601"/>
                  <a:pt x="18655" y="18899"/>
                </a:cubicBezTo>
                <a:cubicBezTo>
                  <a:pt x="18655" y="19198"/>
                  <a:pt x="18875" y="19439"/>
                  <a:pt x="19145" y="19439"/>
                </a:cubicBezTo>
                <a:cubicBezTo>
                  <a:pt x="19416" y="19439"/>
                  <a:pt x="19636" y="19198"/>
                  <a:pt x="19636" y="18899"/>
                </a:cubicBezTo>
                <a:cubicBezTo>
                  <a:pt x="19636" y="18601"/>
                  <a:pt x="19416" y="18359"/>
                  <a:pt x="19145"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0" name="Shape 2590"/>
          <p:cNvSpPr/>
          <p:nvPr/>
        </p:nvSpPr>
        <p:spPr>
          <a:xfrm>
            <a:off x="6688399"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9"/>
                  <a:pt x="19636" y="20619"/>
                </a:cubicBezTo>
                <a:lnTo>
                  <a:pt x="1964" y="20619"/>
                </a:lnTo>
                <a:cubicBezTo>
                  <a:pt x="1422" y="20619"/>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5" y="6382"/>
                </a:moveTo>
                <a:cubicBezTo>
                  <a:pt x="7313" y="6382"/>
                  <a:pt x="6873" y="5943"/>
                  <a:pt x="6873" y="5400"/>
                </a:cubicBezTo>
                <a:cubicBezTo>
                  <a:pt x="6873" y="4858"/>
                  <a:pt x="7313" y="4418"/>
                  <a:pt x="7855" y="4418"/>
                </a:cubicBezTo>
                <a:cubicBezTo>
                  <a:pt x="8396" y="4418"/>
                  <a:pt x="8836" y="4858"/>
                  <a:pt x="8836" y="5400"/>
                </a:cubicBezTo>
                <a:cubicBezTo>
                  <a:pt x="8836" y="5943"/>
                  <a:pt x="8396" y="6382"/>
                  <a:pt x="7855" y="6382"/>
                </a:cubicBezTo>
                <a:moveTo>
                  <a:pt x="18164" y="4909"/>
                </a:moveTo>
                <a:lnTo>
                  <a:pt x="9749" y="4909"/>
                </a:lnTo>
                <a:cubicBezTo>
                  <a:pt x="9530" y="4064"/>
                  <a:pt x="8768" y="3436"/>
                  <a:pt x="7855" y="3436"/>
                </a:cubicBezTo>
                <a:cubicBezTo>
                  <a:pt x="6941" y="3436"/>
                  <a:pt x="6180" y="4064"/>
                  <a:pt x="5960" y="4909"/>
                </a:cubicBezTo>
                <a:lnTo>
                  <a:pt x="3436" y="4909"/>
                </a:lnTo>
                <a:cubicBezTo>
                  <a:pt x="3165" y="4909"/>
                  <a:pt x="2945" y="5129"/>
                  <a:pt x="2945" y="5400"/>
                </a:cubicBezTo>
                <a:cubicBezTo>
                  <a:pt x="2945" y="5672"/>
                  <a:pt x="3165" y="5891"/>
                  <a:pt x="3436" y="5891"/>
                </a:cubicBezTo>
                <a:lnTo>
                  <a:pt x="5960" y="5891"/>
                </a:lnTo>
                <a:cubicBezTo>
                  <a:pt x="6180" y="6737"/>
                  <a:pt x="6941" y="7364"/>
                  <a:pt x="7855" y="7364"/>
                </a:cubicBezTo>
                <a:cubicBezTo>
                  <a:pt x="8768" y="7364"/>
                  <a:pt x="9530" y="6737"/>
                  <a:pt x="9749" y="5891"/>
                </a:cubicBezTo>
                <a:lnTo>
                  <a:pt x="18164" y="5891"/>
                </a:lnTo>
                <a:cubicBezTo>
                  <a:pt x="18435" y="5891"/>
                  <a:pt x="18655" y="5672"/>
                  <a:pt x="18655" y="5400"/>
                </a:cubicBezTo>
                <a:cubicBezTo>
                  <a:pt x="18655" y="5129"/>
                  <a:pt x="18435" y="4909"/>
                  <a:pt x="18164" y="4909"/>
                </a:cubicBezTo>
                <a:moveTo>
                  <a:pt x="14727" y="11782"/>
                </a:moveTo>
                <a:cubicBezTo>
                  <a:pt x="14186" y="11782"/>
                  <a:pt x="13745" y="11342"/>
                  <a:pt x="13745" y="10800"/>
                </a:cubicBezTo>
                <a:cubicBezTo>
                  <a:pt x="13745" y="10258"/>
                  <a:pt x="14186" y="9818"/>
                  <a:pt x="14727" y="9818"/>
                </a:cubicBezTo>
                <a:cubicBezTo>
                  <a:pt x="15269" y="9818"/>
                  <a:pt x="15709" y="10258"/>
                  <a:pt x="15709" y="10800"/>
                </a:cubicBezTo>
                <a:cubicBezTo>
                  <a:pt x="15709" y="11342"/>
                  <a:pt x="15269" y="11782"/>
                  <a:pt x="14727" y="11782"/>
                </a:cubicBezTo>
                <a:moveTo>
                  <a:pt x="18164" y="10310"/>
                </a:moveTo>
                <a:lnTo>
                  <a:pt x="16621" y="10310"/>
                </a:lnTo>
                <a:cubicBezTo>
                  <a:pt x="16402" y="9464"/>
                  <a:pt x="15641" y="8836"/>
                  <a:pt x="14727" y="8836"/>
                </a:cubicBezTo>
                <a:cubicBezTo>
                  <a:pt x="13814" y="8836"/>
                  <a:pt x="13052" y="9464"/>
                  <a:pt x="12833" y="10310"/>
                </a:cubicBezTo>
                <a:lnTo>
                  <a:pt x="3436" y="10310"/>
                </a:lnTo>
                <a:cubicBezTo>
                  <a:pt x="3165" y="10310"/>
                  <a:pt x="2945" y="10529"/>
                  <a:pt x="2945" y="10800"/>
                </a:cubicBezTo>
                <a:cubicBezTo>
                  <a:pt x="2945" y="11072"/>
                  <a:pt x="3165" y="11291"/>
                  <a:pt x="3436" y="11291"/>
                </a:cubicBezTo>
                <a:lnTo>
                  <a:pt x="12833" y="11291"/>
                </a:lnTo>
                <a:cubicBezTo>
                  <a:pt x="13052" y="12137"/>
                  <a:pt x="13814" y="12764"/>
                  <a:pt x="14727" y="12764"/>
                </a:cubicBezTo>
                <a:cubicBezTo>
                  <a:pt x="15641" y="12764"/>
                  <a:pt x="16402" y="12137"/>
                  <a:pt x="16621" y="11291"/>
                </a:cubicBezTo>
                <a:lnTo>
                  <a:pt x="18164" y="11291"/>
                </a:lnTo>
                <a:cubicBezTo>
                  <a:pt x="18435" y="11291"/>
                  <a:pt x="18655" y="11072"/>
                  <a:pt x="18655" y="10800"/>
                </a:cubicBezTo>
                <a:cubicBezTo>
                  <a:pt x="18655" y="10529"/>
                  <a:pt x="18435" y="10310"/>
                  <a:pt x="18164" y="10310"/>
                </a:cubicBezTo>
                <a:moveTo>
                  <a:pt x="9818" y="17182"/>
                </a:moveTo>
                <a:cubicBezTo>
                  <a:pt x="9276" y="17182"/>
                  <a:pt x="8836" y="16743"/>
                  <a:pt x="8836" y="16200"/>
                </a:cubicBezTo>
                <a:cubicBezTo>
                  <a:pt x="8836" y="15658"/>
                  <a:pt x="9276" y="15218"/>
                  <a:pt x="9818" y="15218"/>
                </a:cubicBezTo>
                <a:cubicBezTo>
                  <a:pt x="10360" y="15218"/>
                  <a:pt x="10800" y="15658"/>
                  <a:pt x="10800" y="16200"/>
                </a:cubicBezTo>
                <a:cubicBezTo>
                  <a:pt x="10800" y="16743"/>
                  <a:pt x="10360" y="17182"/>
                  <a:pt x="9818" y="17182"/>
                </a:cubicBezTo>
                <a:moveTo>
                  <a:pt x="18164" y="15709"/>
                </a:moveTo>
                <a:lnTo>
                  <a:pt x="11712" y="15709"/>
                </a:lnTo>
                <a:cubicBezTo>
                  <a:pt x="11493" y="14863"/>
                  <a:pt x="10732" y="14237"/>
                  <a:pt x="9818" y="14237"/>
                </a:cubicBezTo>
                <a:cubicBezTo>
                  <a:pt x="8904" y="14237"/>
                  <a:pt x="8143" y="14863"/>
                  <a:pt x="7924" y="15709"/>
                </a:cubicBezTo>
                <a:lnTo>
                  <a:pt x="3436" y="15709"/>
                </a:lnTo>
                <a:cubicBezTo>
                  <a:pt x="3165" y="15709"/>
                  <a:pt x="2945" y="15929"/>
                  <a:pt x="2945" y="16200"/>
                </a:cubicBezTo>
                <a:cubicBezTo>
                  <a:pt x="2945" y="16472"/>
                  <a:pt x="3165" y="16691"/>
                  <a:pt x="3436" y="16691"/>
                </a:cubicBezTo>
                <a:lnTo>
                  <a:pt x="7924" y="16691"/>
                </a:lnTo>
                <a:cubicBezTo>
                  <a:pt x="8143" y="17537"/>
                  <a:pt x="8904" y="18164"/>
                  <a:pt x="9818" y="18164"/>
                </a:cubicBezTo>
                <a:cubicBezTo>
                  <a:pt x="10732" y="18164"/>
                  <a:pt x="11493" y="17537"/>
                  <a:pt x="11712" y="16691"/>
                </a:cubicBezTo>
                <a:lnTo>
                  <a:pt x="18164" y="16691"/>
                </a:lnTo>
                <a:cubicBezTo>
                  <a:pt x="18435" y="16691"/>
                  <a:pt x="18655" y="16472"/>
                  <a:pt x="18655" y="16200"/>
                </a:cubicBezTo>
                <a:cubicBezTo>
                  <a:pt x="18655" y="15929"/>
                  <a:pt x="18435" y="15709"/>
                  <a:pt x="18164"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1" name="Shape 2591"/>
          <p:cNvSpPr/>
          <p:nvPr/>
        </p:nvSpPr>
        <p:spPr>
          <a:xfrm>
            <a:off x="7088345"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2" name="Shape 2592"/>
          <p:cNvSpPr/>
          <p:nvPr/>
        </p:nvSpPr>
        <p:spPr>
          <a:xfrm>
            <a:off x="7488291"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012"/>
                </a:moveTo>
                <a:cubicBezTo>
                  <a:pt x="20614" y="12014"/>
                  <a:pt x="20611" y="12016"/>
                  <a:pt x="20607" y="12016"/>
                </a:cubicBezTo>
                <a:lnTo>
                  <a:pt x="19602" y="12268"/>
                </a:lnTo>
                <a:cubicBezTo>
                  <a:pt x="19256" y="12354"/>
                  <a:pt x="18984" y="12622"/>
                  <a:pt x="18892" y="12966"/>
                </a:cubicBezTo>
                <a:cubicBezTo>
                  <a:pt x="18703" y="13672"/>
                  <a:pt x="18421" y="14352"/>
                  <a:pt x="18053" y="14986"/>
                </a:cubicBezTo>
                <a:cubicBezTo>
                  <a:pt x="17873" y="15295"/>
                  <a:pt x="17876" y="15677"/>
                  <a:pt x="18060" y="15984"/>
                </a:cubicBezTo>
                <a:lnTo>
                  <a:pt x="18601" y="16885"/>
                </a:lnTo>
                <a:lnTo>
                  <a:pt x="16886" y="18600"/>
                </a:lnTo>
                <a:cubicBezTo>
                  <a:pt x="16882" y="18598"/>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8"/>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2"/>
                </a:cubicBezTo>
                <a:lnTo>
                  <a:pt x="982" y="9587"/>
                </a:lnTo>
                <a:lnTo>
                  <a:pt x="1998" y="9333"/>
                </a:lnTo>
                <a:cubicBezTo>
                  <a:pt x="2343" y="9246"/>
                  <a:pt x="2616" y="8979"/>
                  <a:pt x="2708" y="8634"/>
                </a:cubicBezTo>
                <a:cubicBezTo>
                  <a:pt x="2897" y="7929"/>
                  <a:pt x="3179" y="7249"/>
                  <a:pt x="3548" y="6615"/>
                </a:cubicBezTo>
                <a:cubicBezTo>
                  <a:pt x="3727" y="6305"/>
                  <a:pt x="3724" y="5923"/>
                  <a:pt x="3540" y="5617"/>
                </a:cubicBezTo>
                <a:lnTo>
                  <a:pt x="3005" y="4725"/>
                </a:lnTo>
                <a:cubicBezTo>
                  <a:pt x="3004" y="4722"/>
                  <a:pt x="3002" y="4719"/>
                  <a:pt x="3000" y="4715"/>
                </a:cubicBezTo>
                <a:lnTo>
                  <a:pt x="4715" y="3000"/>
                </a:lnTo>
                <a:lnTo>
                  <a:pt x="5621" y="3543"/>
                </a:lnTo>
                <a:cubicBezTo>
                  <a:pt x="5777" y="3637"/>
                  <a:pt x="5951" y="3683"/>
                  <a:pt x="6127" y="3683"/>
                </a:cubicBezTo>
                <a:cubicBezTo>
                  <a:pt x="6296" y="3683"/>
                  <a:pt x="6465" y="3639"/>
                  <a:pt x="6618" y="3552"/>
                </a:cubicBezTo>
                <a:cubicBezTo>
                  <a:pt x="7251" y="3185"/>
                  <a:pt x="7929" y="2904"/>
                  <a:pt x="8632" y="2717"/>
                </a:cubicBezTo>
                <a:cubicBezTo>
                  <a:pt x="8976" y="2624"/>
                  <a:pt x="9244" y="2352"/>
                  <a:pt x="9331" y="2006"/>
                </a:cubicBezTo>
                <a:lnTo>
                  <a:pt x="9587" y="982"/>
                </a:lnTo>
                <a:lnTo>
                  <a:pt x="12012" y="982"/>
                </a:lnTo>
                <a:cubicBezTo>
                  <a:pt x="12014" y="986"/>
                  <a:pt x="12015" y="989"/>
                  <a:pt x="12016" y="993"/>
                </a:cubicBezTo>
                <a:lnTo>
                  <a:pt x="12269" y="2006"/>
                </a:lnTo>
                <a:cubicBezTo>
                  <a:pt x="12356" y="2352"/>
                  <a:pt x="12624" y="2624"/>
                  <a:pt x="12968" y="2717"/>
                </a:cubicBezTo>
                <a:cubicBezTo>
                  <a:pt x="13671" y="2904"/>
                  <a:pt x="14348" y="3185"/>
                  <a:pt x="14982" y="3552"/>
                </a:cubicBezTo>
                <a:cubicBezTo>
                  <a:pt x="15134" y="3639"/>
                  <a:pt x="15304" y="3683"/>
                  <a:pt x="15473" y="3683"/>
                </a:cubicBezTo>
                <a:cubicBezTo>
                  <a:pt x="15648" y="3683"/>
                  <a:pt x="15822" y="3637"/>
                  <a:pt x="15978" y="3543"/>
                </a:cubicBezTo>
                <a:lnTo>
                  <a:pt x="16884" y="3000"/>
                </a:lnTo>
                <a:lnTo>
                  <a:pt x="18600" y="4715"/>
                </a:lnTo>
                <a:cubicBezTo>
                  <a:pt x="18598" y="4719"/>
                  <a:pt x="18597" y="4722"/>
                  <a:pt x="18595" y="4725"/>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2"/>
                  <a:pt x="20618" y="12012"/>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9"/>
                  <a:pt x="17136" y="1968"/>
                  <a:pt x="16975" y="1968"/>
                </a:cubicBezTo>
                <a:cubicBezTo>
                  <a:pt x="16778" y="1968"/>
                  <a:pt x="16572" y="2043"/>
                  <a:pt x="16400" y="2145"/>
                </a:cubicBezTo>
                <a:lnTo>
                  <a:pt x="15473" y="2701"/>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1"/>
                </a:cubicBezTo>
                <a:lnTo>
                  <a:pt x="5200" y="2145"/>
                </a:lnTo>
                <a:cubicBezTo>
                  <a:pt x="5028" y="2043"/>
                  <a:pt x="4822" y="1968"/>
                  <a:pt x="4625" y="1968"/>
                </a:cubicBezTo>
                <a:cubicBezTo>
                  <a:pt x="4464" y="1968"/>
                  <a:pt x="4308" y="2019"/>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2"/>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3"/>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3"/>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2"/>
                  <a:pt x="21233" y="8730"/>
                  <a:pt x="20880" y="8641"/>
                </a:cubicBezTo>
                <a:moveTo>
                  <a:pt x="15709" y="10800"/>
                </a:moveTo>
                <a:cubicBezTo>
                  <a:pt x="15709" y="13346"/>
                  <a:pt x="13771" y="15438"/>
                  <a:pt x="11291" y="15685"/>
                </a:cubicBezTo>
                <a:lnTo>
                  <a:pt x="11291" y="12694"/>
                </a:lnTo>
                <a:cubicBezTo>
                  <a:pt x="12137" y="12476"/>
                  <a:pt x="12764" y="11714"/>
                  <a:pt x="12764" y="10800"/>
                </a:cubicBezTo>
                <a:cubicBezTo>
                  <a:pt x="12764" y="10630"/>
                  <a:pt x="12735" y="10468"/>
                  <a:pt x="12694" y="10310"/>
                </a:cubicBezTo>
                <a:lnTo>
                  <a:pt x="15308" y="8857"/>
                </a:lnTo>
                <a:cubicBezTo>
                  <a:pt x="15565" y="9453"/>
                  <a:pt x="15709" y="10110"/>
                  <a:pt x="15709" y="10800"/>
                </a:cubicBezTo>
                <a:moveTo>
                  <a:pt x="9818" y="10800"/>
                </a:moveTo>
                <a:cubicBezTo>
                  <a:pt x="9818" y="10258"/>
                  <a:pt x="10258" y="9818"/>
                  <a:pt x="10800" y="9818"/>
                </a:cubicBezTo>
                <a:cubicBezTo>
                  <a:pt x="11342" y="9818"/>
                  <a:pt x="11782" y="10258"/>
                  <a:pt x="11782" y="10800"/>
                </a:cubicBezTo>
                <a:cubicBezTo>
                  <a:pt x="11782" y="11342"/>
                  <a:pt x="11342" y="11782"/>
                  <a:pt x="10800" y="11782"/>
                </a:cubicBezTo>
                <a:cubicBezTo>
                  <a:pt x="10258" y="11782"/>
                  <a:pt x="9818" y="11342"/>
                  <a:pt x="9818" y="10800"/>
                </a:cubicBezTo>
                <a:moveTo>
                  <a:pt x="10309" y="15685"/>
                </a:moveTo>
                <a:cubicBezTo>
                  <a:pt x="7829" y="15438"/>
                  <a:pt x="5891" y="13346"/>
                  <a:pt x="5891" y="10800"/>
                </a:cubicBezTo>
                <a:cubicBezTo>
                  <a:pt x="5891" y="10110"/>
                  <a:pt x="6035" y="9453"/>
                  <a:pt x="6292" y="8857"/>
                </a:cubicBezTo>
                <a:lnTo>
                  <a:pt x="8906" y="10310"/>
                </a:lnTo>
                <a:cubicBezTo>
                  <a:pt x="8865" y="10468"/>
                  <a:pt x="8836" y="10630"/>
                  <a:pt x="8836" y="10800"/>
                </a:cubicBezTo>
                <a:cubicBezTo>
                  <a:pt x="8836" y="11714"/>
                  <a:pt x="9463" y="12476"/>
                  <a:pt x="10309" y="12694"/>
                </a:cubicBezTo>
                <a:cubicBezTo>
                  <a:pt x="10309" y="12694"/>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3" name="Shape 2593"/>
          <p:cNvSpPr/>
          <p:nvPr/>
        </p:nvSpPr>
        <p:spPr>
          <a:xfrm>
            <a:off x="7888237"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8095"/>
                </a:moveTo>
                <a:lnTo>
                  <a:pt x="20091" y="8640"/>
                </a:lnTo>
                <a:cubicBezTo>
                  <a:pt x="19294" y="8426"/>
                  <a:pt x="18482" y="8322"/>
                  <a:pt x="17675" y="8322"/>
                </a:cubicBezTo>
                <a:lnTo>
                  <a:pt x="17150" y="7377"/>
                </a:lnTo>
                <a:cubicBezTo>
                  <a:pt x="17052" y="7203"/>
                  <a:pt x="16911" y="7035"/>
                  <a:pt x="16741" y="6937"/>
                </a:cubicBezTo>
                <a:cubicBezTo>
                  <a:pt x="16601" y="6856"/>
                  <a:pt x="16442" y="6822"/>
                  <a:pt x="16268" y="6868"/>
                </a:cubicBezTo>
                <a:lnTo>
                  <a:pt x="13487" y="7613"/>
                </a:lnTo>
                <a:cubicBezTo>
                  <a:pt x="13102" y="7716"/>
                  <a:pt x="12995" y="8125"/>
                  <a:pt x="12977" y="8495"/>
                </a:cubicBezTo>
                <a:lnTo>
                  <a:pt x="12996" y="9570"/>
                </a:lnTo>
                <a:cubicBezTo>
                  <a:pt x="12293" y="9973"/>
                  <a:pt x="11639" y="10471"/>
                  <a:pt x="11053" y="11057"/>
                </a:cubicBezTo>
                <a:lnTo>
                  <a:pt x="10023" y="10762"/>
                </a:lnTo>
                <a:cubicBezTo>
                  <a:pt x="9673" y="10664"/>
                  <a:pt x="9239" y="10682"/>
                  <a:pt x="9040" y="11026"/>
                </a:cubicBezTo>
                <a:lnTo>
                  <a:pt x="7600" y="13520"/>
                </a:lnTo>
                <a:cubicBezTo>
                  <a:pt x="7401" y="13864"/>
                  <a:pt x="7614" y="14229"/>
                  <a:pt x="7863" y="14504"/>
                </a:cubicBezTo>
                <a:lnTo>
                  <a:pt x="8633" y="15248"/>
                </a:lnTo>
                <a:cubicBezTo>
                  <a:pt x="8419" y="16049"/>
                  <a:pt x="8315" y="16864"/>
                  <a:pt x="8317" y="17674"/>
                </a:cubicBezTo>
                <a:lnTo>
                  <a:pt x="7377" y="18196"/>
                </a:lnTo>
                <a:cubicBezTo>
                  <a:pt x="7060" y="18373"/>
                  <a:pt x="6765" y="18693"/>
                  <a:pt x="6868" y="19077"/>
                </a:cubicBezTo>
                <a:lnTo>
                  <a:pt x="7281" y="20619"/>
                </a:lnTo>
                <a:lnTo>
                  <a:pt x="1964" y="20619"/>
                </a:lnTo>
                <a:cubicBezTo>
                  <a:pt x="1422" y="20619"/>
                  <a:pt x="982" y="20178"/>
                  <a:pt x="982" y="19636"/>
                </a:cubicBezTo>
                <a:lnTo>
                  <a:pt x="982" y="11291"/>
                </a:lnTo>
                <a:lnTo>
                  <a:pt x="1931" y="11291"/>
                </a:lnTo>
                <a:cubicBezTo>
                  <a:pt x="2328" y="11291"/>
                  <a:pt x="2538" y="10924"/>
                  <a:pt x="2651" y="10571"/>
                </a:cubicBezTo>
                <a:lnTo>
                  <a:pt x="2913" y="9523"/>
                </a:lnTo>
                <a:cubicBezTo>
                  <a:pt x="3711" y="9310"/>
                  <a:pt x="4466" y="8993"/>
                  <a:pt x="5164" y="8590"/>
                </a:cubicBezTo>
                <a:lnTo>
                  <a:pt x="6091" y="9146"/>
                </a:lnTo>
                <a:cubicBezTo>
                  <a:pt x="6275" y="9241"/>
                  <a:pt x="6484" y="9317"/>
                  <a:pt x="6681" y="9317"/>
                </a:cubicBezTo>
                <a:cubicBezTo>
                  <a:pt x="6837" y="9317"/>
                  <a:pt x="6985" y="9270"/>
                  <a:pt x="7110" y="9146"/>
                </a:cubicBezTo>
                <a:lnTo>
                  <a:pt x="9146" y="7109"/>
                </a:lnTo>
                <a:cubicBezTo>
                  <a:pt x="9427" y="6828"/>
                  <a:pt x="9332" y="6404"/>
                  <a:pt x="9146" y="6091"/>
                </a:cubicBezTo>
                <a:lnTo>
                  <a:pt x="8593" y="5169"/>
                </a:lnTo>
                <a:cubicBezTo>
                  <a:pt x="8999" y="4469"/>
                  <a:pt x="9317" y="3711"/>
                  <a:pt x="9531" y="2911"/>
                </a:cubicBezTo>
                <a:lnTo>
                  <a:pt x="10571" y="2651"/>
                </a:lnTo>
                <a:cubicBezTo>
                  <a:pt x="10924" y="2538"/>
                  <a:pt x="11291" y="2328"/>
                  <a:pt x="11291" y="1931"/>
                </a:cubicBezTo>
                <a:lnTo>
                  <a:pt x="11291" y="982"/>
                </a:lnTo>
                <a:lnTo>
                  <a:pt x="19636" y="982"/>
                </a:lnTo>
                <a:cubicBezTo>
                  <a:pt x="20178" y="982"/>
                  <a:pt x="20618" y="1421"/>
                  <a:pt x="20618" y="1964"/>
                </a:cubicBezTo>
                <a:cubicBezTo>
                  <a:pt x="20618" y="1964"/>
                  <a:pt x="20618" y="8095"/>
                  <a:pt x="20618" y="8095"/>
                </a:cubicBezTo>
                <a:close/>
                <a:moveTo>
                  <a:pt x="20618" y="12594"/>
                </a:moveTo>
                <a:cubicBezTo>
                  <a:pt x="19750" y="12088"/>
                  <a:pt x="18750" y="11782"/>
                  <a:pt x="17673" y="11782"/>
                </a:cubicBezTo>
                <a:cubicBezTo>
                  <a:pt x="14419" y="11782"/>
                  <a:pt x="11782" y="14419"/>
                  <a:pt x="11782" y="17673"/>
                </a:cubicBezTo>
                <a:cubicBezTo>
                  <a:pt x="11782" y="18751"/>
                  <a:pt x="12088" y="19750"/>
                  <a:pt x="12594" y="20619"/>
                </a:cubicBezTo>
                <a:lnTo>
                  <a:pt x="8298" y="20619"/>
                </a:lnTo>
                <a:lnTo>
                  <a:pt x="7875" y="19042"/>
                </a:lnTo>
                <a:lnTo>
                  <a:pt x="8794" y="18532"/>
                </a:lnTo>
                <a:cubicBezTo>
                  <a:pt x="9106" y="18358"/>
                  <a:pt x="9299" y="18028"/>
                  <a:pt x="9299" y="17671"/>
                </a:cubicBezTo>
                <a:cubicBezTo>
                  <a:pt x="9298" y="16938"/>
                  <a:pt x="9392" y="16208"/>
                  <a:pt x="9582" y="15502"/>
                </a:cubicBezTo>
                <a:cubicBezTo>
                  <a:pt x="9674" y="15158"/>
                  <a:pt x="9572" y="14791"/>
                  <a:pt x="9316" y="14543"/>
                </a:cubicBezTo>
                <a:lnTo>
                  <a:pt x="8572" y="13823"/>
                </a:lnTo>
                <a:cubicBezTo>
                  <a:pt x="8569" y="13820"/>
                  <a:pt x="8566" y="13817"/>
                  <a:pt x="8564" y="13813"/>
                </a:cubicBezTo>
                <a:lnTo>
                  <a:pt x="9776" y="11713"/>
                </a:lnTo>
                <a:lnTo>
                  <a:pt x="10783" y="12001"/>
                </a:lnTo>
                <a:cubicBezTo>
                  <a:pt x="11126" y="12099"/>
                  <a:pt x="11495" y="12003"/>
                  <a:pt x="11748" y="11751"/>
                </a:cubicBezTo>
                <a:cubicBezTo>
                  <a:pt x="12264" y="11234"/>
                  <a:pt x="12848" y="10787"/>
                  <a:pt x="13485" y="10421"/>
                </a:cubicBezTo>
                <a:cubicBezTo>
                  <a:pt x="13794" y="10243"/>
                  <a:pt x="13983" y="9911"/>
                  <a:pt x="13977" y="9554"/>
                </a:cubicBezTo>
                <a:lnTo>
                  <a:pt x="13960" y="8514"/>
                </a:lnTo>
                <a:lnTo>
                  <a:pt x="13960" y="8503"/>
                </a:lnTo>
                <a:lnTo>
                  <a:pt x="16304" y="7875"/>
                </a:lnTo>
                <a:lnTo>
                  <a:pt x="16817" y="8799"/>
                </a:lnTo>
                <a:cubicBezTo>
                  <a:pt x="16905" y="8958"/>
                  <a:pt x="17032" y="9085"/>
                  <a:pt x="17184" y="9172"/>
                </a:cubicBezTo>
                <a:cubicBezTo>
                  <a:pt x="17330" y="9257"/>
                  <a:pt x="17499" y="9304"/>
                  <a:pt x="17675" y="9304"/>
                </a:cubicBezTo>
                <a:cubicBezTo>
                  <a:pt x="18407" y="9304"/>
                  <a:pt x="19135" y="9399"/>
                  <a:pt x="19837" y="9589"/>
                </a:cubicBezTo>
                <a:cubicBezTo>
                  <a:pt x="20106" y="9660"/>
                  <a:pt x="20389" y="9611"/>
                  <a:pt x="20618" y="9464"/>
                </a:cubicBezTo>
                <a:cubicBezTo>
                  <a:pt x="20618" y="9464"/>
                  <a:pt x="20618" y="12594"/>
                  <a:pt x="20618" y="12594"/>
                </a:cubicBezTo>
                <a:close/>
                <a:moveTo>
                  <a:pt x="20618" y="15475"/>
                </a:moveTo>
                <a:lnTo>
                  <a:pt x="19093" y="16323"/>
                </a:lnTo>
                <a:cubicBezTo>
                  <a:pt x="18735" y="15946"/>
                  <a:pt x="18233" y="15709"/>
                  <a:pt x="17673" y="15709"/>
                </a:cubicBezTo>
                <a:cubicBezTo>
                  <a:pt x="17113" y="15709"/>
                  <a:pt x="16610" y="15946"/>
                  <a:pt x="16253" y="16323"/>
                </a:cubicBezTo>
                <a:lnTo>
                  <a:pt x="13643" y="14873"/>
                </a:lnTo>
                <a:cubicBezTo>
                  <a:pt x="14530" y="13599"/>
                  <a:pt x="16003" y="12764"/>
                  <a:pt x="17673" y="12764"/>
                </a:cubicBezTo>
                <a:cubicBezTo>
                  <a:pt x="18783" y="12764"/>
                  <a:pt x="19798" y="13141"/>
                  <a:pt x="20618" y="13764"/>
                </a:cubicBezTo>
                <a:cubicBezTo>
                  <a:pt x="20618" y="13764"/>
                  <a:pt x="20618" y="15475"/>
                  <a:pt x="20618" y="15475"/>
                </a:cubicBezTo>
                <a:close/>
                <a:moveTo>
                  <a:pt x="20618" y="19636"/>
                </a:moveTo>
                <a:cubicBezTo>
                  <a:pt x="20618" y="20178"/>
                  <a:pt x="20178" y="20619"/>
                  <a:pt x="19636" y="20619"/>
                </a:cubicBezTo>
                <a:lnTo>
                  <a:pt x="18164" y="20619"/>
                </a:lnTo>
                <a:lnTo>
                  <a:pt x="18164" y="19567"/>
                </a:lnTo>
                <a:cubicBezTo>
                  <a:pt x="19009" y="19348"/>
                  <a:pt x="19636" y="18587"/>
                  <a:pt x="19636" y="17673"/>
                </a:cubicBezTo>
                <a:cubicBezTo>
                  <a:pt x="19636" y="17502"/>
                  <a:pt x="19608" y="17339"/>
                  <a:pt x="19567" y="17182"/>
                </a:cubicBezTo>
                <a:lnTo>
                  <a:pt x="20618" y="16598"/>
                </a:lnTo>
                <a:cubicBezTo>
                  <a:pt x="20618" y="16598"/>
                  <a:pt x="20618" y="19636"/>
                  <a:pt x="20618" y="19636"/>
                </a:cubicBezTo>
                <a:close/>
                <a:moveTo>
                  <a:pt x="16691" y="17673"/>
                </a:moveTo>
                <a:cubicBezTo>
                  <a:pt x="16691" y="17131"/>
                  <a:pt x="17131" y="16691"/>
                  <a:pt x="17673" y="16691"/>
                </a:cubicBezTo>
                <a:cubicBezTo>
                  <a:pt x="18214" y="16691"/>
                  <a:pt x="18655" y="17131"/>
                  <a:pt x="18655" y="17673"/>
                </a:cubicBezTo>
                <a:cubicBezTo>
                  <a:pt x="18655" y="18215"/>
                  <a:pt x="18214" y="18655"/>
                  <a:pt x="17673" y="18655"/>
                </a:cubicBezTo>
                <a:cubicBezTo>
                  <a:pt x="17131" y="18655"/>
                  <a:pt x="16691" y="18215"/>
                  <a:pt x="16691" y="17673"/>
                </a:cubicBezTo>
                <a:moveTo>
                  <a:pt x="17182" y="20619"/>
                </a:moveTo>
                <a:lnTo>
                  <a:pt x="13757" y="20619"/>
                </a:lnTo>
                <a:cubicBezTo>
                  <a:pt x="13138" y="19797"/>
                  <a:pt x="12764" y="18781"/>
                  <a:pt x="12764" y="17673"/>
                </a:cubicBezTo>
                <a:cubicBezTo>
                  <a:pt x="12764" y="16982"/>
                  <a:pt x="12907" y="16326"/>
                  <a:pt x="13165" y="15730"/>
                </a:cubicBezTo>
                <a:lnTo>
                  <a:pt x="15779" y="17182"/>
                </a:lnTo>
                <a:cubicBezTo>
                  <a:pt x="15738" y="17339"/>
                  <a:pt x="15709" y="17502"/>
                  <a:pt x="15709" y="17673"/>
                </a:cubicBezTo>
                <a:cubicBezTo>
                  <a:pt x="15709" y="18587"/>
                  <a:pt x="16336" y="19348"/>
                  <a:pt x="17182" y="19567"/>
                </a:cubicBezTo>
                <a:cubicBezTo>
                  <a:pt x="17182" y="19567"/>
                  <a:pt x="17182" y="20619"/>
                  <a:pt x="17182" y="20619"/>
                </a:cubicBezTo>
                <a:close/>
                <a:moveTo>
                  <a:pt x="982" y="5376"/>
                </a:moveTo>
                <a:cubicBezTo>
                  <a:pt x="3301" y="5145"/>
                  <a:pt x="5145" y="3301"/>
                  <a:pt x="5375" y="982"/>
                </a:cubicBezTo>
                <a:lnTo>
                  <a:pt x="10309" y="982"/>
                </a:lnTo>
                <a:lnTo>
                  <a:pt x="10309" y="1703"/>
                </a:lnTo>
                <a:cubicBezTo>
                  <a:pt x="10305" y="1705"/>
                  <a:pt x="10302" y="1706"/>
                  <a:pt x="10298" y="1707"/>
                </a:cubicBezTo>
                <a:lnTo>
                  <a:pt x="9293" y="1958"/>
                </a:lnTo>
                <a:cubicBezTo>
                  <a:pt x="8947" y="2045"/>
                  <a:pt x="8675" y="2313"/>
                  <a:pt x="8583" y="2657"/>
                </a:cubicBezTo>
                <a:cubicBezTo>
                  <a:pt x="8394" y="3363"/>
                  <a:pt x="8112" y="4042"/>
                  <a:pt x="7744" y="4676"/>
                </a:cubicBezTo>
                <a:cubicBezTo>
                  <a:pt x="7564" y="4986"/>
                  <a:pt x="7567" y="5368"/>
                  <a:pt x="7751" y="5674"/>
                </a:cubicBezTo>
                <a:lnTo>
                  <a:pt x="8292" y="6575"/>
                </a:lnTo>
                <a:lnTo>
                  <a:pt x="6576" y="8291"/>
                </a:lnTo>
                <a:cubicBezTo>
                  <a:pt x="6573" y="8290"/>
                  <a:pt x="6569" y="8288"/>
                  <a:pt x="6566" y="8286"/>
                </a:cubicBezTo>
                <a:lnTo>
                  <a:pt x="5669" y="7748"/>
                </a:lnTo>
                <a:cubicBezTo>
                  <a:pt x="5513" y="7655"/>
                  <a:pt x="5339" y="7608"/>
                  <a:pt x="5164" y="7608"/>
                </a:cubicBezTo>
                <a:cubicBezTo>
                  <a:pt x="4995" y="7608"/>
                  <a:pt x="4825" y="7652"/>
                  <a:pt x="4673" y="7739"/>
                </a:cubicBezTo>
                <a:cubicBezTo>
                  <a:pt x="4039" y="8106"/>
                  <a:pt x="3362" y="8387"/>
                  <a:pt x="2659" y="8575"/>
                </a:cubicBezTo>
                <a:cubicBezTo>
                  <a:pt x="2315" y="8666"/>
                  <a:pt x="2047" y="8938"/>
                  <a:pt x="1960" y="9285"/>
                </a:cubicBezTo>
                <a:lnTo>
                  <a:pt x="1707" y="10298"/>
                </a:lnTo>
                <a:cubicBezTo>
                  <a:pt x="1706" y="10302"/>
                  <a:pt x="1705" y="10305"/>
                  <a:pt x="1703" y="10310"/>
                </a:cubicBezTo>
                <a:lnTo>
                  <a:pt x="982" y="10310"/>
                </a:lnTo>
                <a:cubicBezTo>
                  <a:pt x="982" y="10310"/>
                  <a:pt x="982" y="5376"/>
                  <a:pt x="982" y="5376"/>
                </a:cubicBezTo>
                <a:close/>
                <a:moveTo>
                  <a:pt x="982" y="1964"/>
                </a:moveTo>
                <a:cubicBezTo>
                  <a:pt x="982" y="1421"/>
                  <a:pt x="1422" y="982"/>
                  <a:pt x="1964" y="982"/>
                </a:cubicBezTo>
                <a:lnTo>
                  <a:pt x="4384" y="982"/>
                </a:lnTo>
                <a:cubicBezTo>
                  <a:pt x="4162" y="2758"/>
                  <a:pt x="2758" y="4162"/>
                  <a:pt x="982" y="4384"/>
                </a:cubicBezTo>
                <a:cubicBezTo>
                  <a:pt x="982" y="4384"/>
                  <a:pt x="982" y="1964"/>
                  <a:pt x="982" y="1964"/>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4" name="Shape 2594"/>
          <p:cNvSpPr/>
          <p:nvPr/>
        </p:nvSpPr>
        <p:spPr>
          <a:xfrm>
            <a:off x="8288182" y="185113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3436" y="8400"/>
                </a:moveTo>
                <a:lnTo>
                  <a:pt x="18164" y="8400"/>
                </a:lnTo>
                <a:cubicBezTo>
                  <a:pt x="18435" y="8400"/>
                  <a:pt x="18655" y="8132"/>
                  <a:pt x="18655" y="7800"/>
                </a:cubicBezTo>
                <a:cubicBezTo>
                  <a:pt x="18655" y="7468"/>
                  <a:pt x="18435" y="7200"/>
                  <a:pt x="18164" y="7200"/>
                </a:cubicBezTo>
                <a:lnTo>
                  <a:pt x="3436" y="7200"/>
                </a:lnTo>
                <a:cubicBezTo>
                  <a:pt x="3165" y="7200"/>
                  <a:pt x="2945" y="7468"/>
                  <a:pt x="2945" y="7800"/>
                </a:cubicBezTo>
                <a:cubicBezTo>
                  <a:pt x="2945" y="8132"/>
                  <a:pt x="3165" y="8400"/>
                  <a:pt x="3436" y="8400"/>
                </a:cubicBezTo>
                <a:moveTo>
                  <a:pt x="3436" y="10800"/>
                </a:moveTo>
                <a:lnTo>
                  <a:pt x="18164" y="10800"/>
                </a:lnTo>
                <a:cubicBezTo>
                  <a:pt x="18435" y="10800"/>
                  <a:pt x="18655" y="10532"/>
                  <a:pt x="18655" y="10200"/>
                </a:cubicBezTo>
                <a:cubicBezTo>
                  <a:pt x="18655" y="9868"/>
                  <a:pt x="18435" y="9600"/>
                  <a:pt x="18164" y="9600"/>
                </a:cubicBezTo>
                <a:lnTo>
                  <a:pt x="3436" y="9600"/>
                </a:lnTo>
                <a:cubicBezTo>
                  <a:pt x="3165" y="9600"/>
                  <a:pt x="2945" y="9868"/>
                  <a:pt x="2945" y="10200"/>
                </a:cubicBezTo>
                <a:cubicBezTo>
                  <a:pt x="2945" y="10532"/>
                  <a:pt x="3165" y="10800"/>
                  <a:pt x="3436" y="10800"/>
                </a:cubicBezTo>
                <a:moveTo>
                  <a:pt x="3436" y="13200"/>
                </a:moveTo>
                <a:lnTo>
                  <a:pt x="13255" y="13200"/>
                </a:lnTo>
                <a:cubicBezTo>
                  <a:pt x="13526" y="13200"/>
                  <a:pt x="13745" y="12931"/>
                  <a:pt x="13745" y="12601"/>
                </a:cubicBezTo>
                <a:cubicBezTo>
                  <a:pt x="13745" y="12268"/>
                  <a:pt x="13526" y="12000"/>
                  <a:pt x="13255" y="12000"/>
                </a:cubicBezTo>
                <a:lnTo>
                  <a:pt x="3436" y="12000"/>
                </a:lnTo>
                <a:cubicBezTo>
                  <a:pt x="3165" y="12000"/>
                  <a:pt x="2945" y="12268"/>
                  <a:pt x="2945" y="12601"/>
                </a:cubicBezTo>
                <a:cubicBezTo>
                  <a:pt x="2945" y="12931"/>
                  <a:pt x="3165" y="13200"/>
                  <a:pt x="3436" y="13200"/>
                </a:cubicBezTo>
                <a:moveTo>
                  <a:pt x="20618" y="19200"/>
                </a:moveTo>
                <a:lnTo>
                  <a:pt x="18114" y="19200"/>
                </a:lnTo>
                <a:cubicBezTo>
                  <a:pt x="17887" y="17831"/>
                  <a:pt x="16897" y="16800"/>
                  <a:pt x="15709" y="16800"/>
                </a:cubicBezTo>
                <a:cubicBezTo>
                  <a:pt x="14522" y="16800"/>
                  <a:pt x="13532" y="17831"/>
                  <a:pt x="13304" y="19200"/>
                </a:cubicBezTo>
                <a:lnTo>
                  <a:pt x="8296" y="19200"/>
                </a:lnTo>
                <a:cubicBezTo>
                  <a:pt x="8068" y="17831"/>
                  <a:pt x="7078" y="16800"/>
                  <a:pt x="5891" y="16800"/>
                </a:cubicBezTo>
                <a:cubicBezTo>
                  <a:pt x="4703" y="16800"/>
                  <a:pt x="3713" y="17831"/>
                  <a:pt x="3486" y="19200"/>
                </a:cubicBezTo>
                <a:lnTo>
                  <a:pt x="982" y="19200"/>
                </a:lnTo>
                <a:lnTo>
                  <a:pt x="982" y="1200"/>
                </a:lnTo>
                <a:lnTo>
                  <a:pt x="20618" y="1200"/>
                </a:lnTo>
                <a:cubicBezTo>
                  <a:pt x="20618" y="1200"/>
                  <a:pt x="20618" y="19200"/>
                  <a:pt x="20618" y="19200"/>
                </a:cubicBezTo>
                <a:close/>
                <a:moveTo>
                  <a:pt x="20618" y="0"/>
                </a:moveTo>
                <a:lnTo>
                  <a:pt x="982" y="0"/>
                </a:lnTo>
                <a:cubicBezTo>
                  <a:pt x="440" y="0"/>
                  <a:pt x="0" y="538"/>
                  <a:pt x="0" y="1200"/>
                </a:cubicBezTo>
                <a:lnTo>
                  <a:pt x="0" y="19200"/>
                </a:lnTo>
                <a:cubicBezTo>
                  <a:pt x="0" y="19862"/>
                  <a:pt x="440" y="20400"/>
                  <a:pt x="982" y="20400"/>
                </a:cubicBezTo>
                <a:lnTo>
                  <a:pt x="3927" y="20400"/>
                </a:lnTo>
                <a:cubicBezTo>
                  <a:pt x="4199" y="20400"/>
                  <a:pt x="4418" y="20132"/>
                  <a:pt x="4418" y="19800"/>
                </a:cubicBezTo>
                <a:cubicBezTo>
                  <a:pt x="4418" y="18807"/>
                  <a:pt x="5078" y="18000"/>
                  <a:pt x="5891" y="18000"/>
                </a:cubicBezTo>
                <a:cubicBezTo>
                  <a:pt x="6704" y="18000"/>
                  <a:pt x="7364" y="18807"/>
                  <a:pt x="7364" y="19800"/>
                </a:cubicBezTo>
                <a:cubicBezTo>
                  <a:pt x="7364" y="20132"/>
                  <a:pt x="7583" y="20400"/>
                  <a:pt x="7855" y="20400"/>
                </a:cubicBezTo>
                <a:lnTo>
                  <a:pt x="13745" y="20400"/>
                </a:lnTo>
                <a:cubicBezTo>
                  <a:pt x="14017" y="20400"/>
                  <a:pt x="14236" y="20132"/>
                  <a:pt x="14236" y="19800"/>
                </a:cubicBezTo>
                <a:cubicBezTo>
                  <a:pt x="14236" y="18807"/>
                  <a:pt x="14896" y="18000"/>
                  <a:pt x="15709" y="18000"/>
                </a:cubicBezTo>
                <a:cubicBezTo>
                  <a:pt x="16523" y="18000"/>
                  <a:pt x="17182" y="18807"/>
                  <a:pt x="17182" y="19800"/>
                </a:cubicBezTo>
                <a:cubicBezTo>
                  <a:pt x="17182" y="20132"/>
                  <a:pt x="17401" y="20400"/>
                  <a:pt x="17673" y="20400"/>
                </a:cubicBezTo>
                <a:lnTo>
                  <a:pt x="20618" y="20400"/>
                </a:lnTo>
                <a:cubicBezTo>
                  <a:pt x="21160" y="20400"/>
                  <a:pt x="21600" y="19862"/>
                  <a:pt x="21600" y="19200"/>
                </a:cubicBezTo>
                <a:lnTo>
                  <a:pt x="21600" y="1200"/>
                </a:lnTo>
                <a:cubicBezTo>
                  <a:pt x="21600" y="538"/>
                  <a:pt x="21160" y="0"/>
                  <a:pt x="20618" y="0"/>
                </a:cubicBezTo>
                <a:moveTo>
                  <a:pt x="5891" y="19200"/>
                </a:moveTo>
                <a:cubicBezTo>
                  <a:pt x="5620" y="19200"/>
                  <a:pt x="5400" y="19468"/>
                  <a:pt x="5400" y="19800"/>
                </a:cubicBezTo>
                <a:lnTo>
                  <a:pt x="5400" y="21000"/>
                </a:lnTo>
                <a:cubicBezTo>
                  <a:pt x="5400" y="21332"/>
                  <a:pt x="5620" y="21600"/>
                  <a:pt x="5891" y="21600"/>
                </a:cubicBezTo>
                <a:cubicBezTo>
                  <a:pt x="6162" y="21600"/>
                  <a:pt x="6382" y="21332"/>
                  <a:pt x="6382" y="21000"/>
                </a:cubicBezTo>
                <a:lnTo>
                  <a:pt x="6382" y="19800"/>
                </a:lnTo>
                <a:cubicBezTo>
                  <a:pt x="6382" y="19468"/>
                  <a:pt x="6162" y="19200"/>
                  <a:pt x="5891" y="19200"/>
                </a:cubicBezTo>
                <a:moveTo>
                  <a:pt x="3436" y="6000"/>
                </a:moveTo>
                <a:lnTo>
                  <a:pt x="18164" y="6000"/>
                </a:lnTo>
                <a:cubicBezTo>
                  <a:pt x="18435" y="6000"/>
                  <a:pt x="18655" y="5732"/>
                  <a:pt x="18655" y="5400"/>
                </a:cubicBezTo>
                <a:cubicBezTo>
                  <a:pt x="18655" y="5069"/>
                  <a:pt x="18435" y="4800"/>
                  <a:pt x="18164" y="4800"/>
                </a:cubicBezTo>
                <a:lnTo>
                  <a:pt x="3436" y="4800"/>
                </a:lnTo>
                <a:cubicBezTo>
                  <a:pt x="3165" y="4800"/>
                  <a:pt x="2945" y="5069"/>
                  <a:pt x="2945" y="5400"/>
                </a:cubicBezTo>
                <a:cubicBezTo>
                  <a:pt x="2945" y="5732"/>
                  <a:pt x="3165" y="6000"/>
                  <a:pt x="3436" y="6000"/>
                </a:cubicBezTo>
                <a:moveTo>
                  <a:pt x="15709" y="19200"/>
                </a:moveTo>
                <a:cubicBezTo>
                  <a:pt x="15438" y="19200"/>
                  <a:pt x="15218" y="19468"/>
                  <a:pt x="15218" y="19800"/>
                </a:cubicBezTo>
                <a:lnTo>
                  <a:pt x="15218" y="21000"/>
                </a:lnTo>
                <a:cubicBezTo>
                  <a:pt x="15218" y="21332"/>
                  <a:pt x="15438" y="21600"/>
                  <a:pt x="15709" y="21600"/>
                </a:cubicBezTo>
                <a:cubicBezTo>
                  <a:pt x="15980" y="21600"/>
                  <a:pt x="16200" y="21332"/>
                  <a:pt x="16200" y="21000"/>
                </a:cubicBezTo>
                <a:lnTo>
                  <a:pt x="16200" y="19800"/>
                </a:lnTo>
                <a:cubicBezTo>
                  <a:pt x="16200" y="19468"/>
                  <a:pt x="15980" y="19200"/>
                  <a:pt x="15709" y="19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5" name="Shape 2595"/>
          <p:cNvSpPr/>
          <p:nvPr/>
        </p:nvSpPr>
        <p:spPr>
          <a:xfrm>
            <a:off x="4688671"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364" y="14040"/>
                </a:moveTo>
                <a:lnTo>
                  <a:pt x="14236" y="14040"/>
                </a:lnTo>
                <a:cubicBezTo>
                  <a:pt x="14507" y="14040"/>
                  <a:pt x="14727" y="13799"/>
                  <a:pt x="14727" y="13500"/>
                </a:cubicBezTo>
                <a:cubicBezTo>
                  <a:pt x="14727" y="13202"/>
                  <a:pt x="14507" y="12960"/>
                  <a:pt x="14236" y="12960"/>
                </a:cubicBezTo>
                <a:lnTo>
                  <a:pt x="7364" y="12960"/>
                </a:lnTo>
                <a:cubicBezTo>
                  <a:pt x="7093" y="12960"/>
                  <a:pt x="6873" y="13202"/>
                  <a:pt x="6873" y="13500"/>
                </a:cubicBezTo>
                <a:cubicBezTo>
                  <a:pt x="6873" y="13799"/>
                  <a:pt x="7093" y="14040"/>
                  <a:pt x="7364" y="14040"/>
                </a:cubicBezTo>
                <a:moveTo>
                  <a:pt x="7364" y="11880"/>
                </a:moveTo>
                <a:lnTo>
                  <a:pt x="18164" y="11880"/>
                </a:lnTo>
                <a:cubicBezTo>
                  <a:pt x="18434" y="11880"/>
                  <a:pt x="18655" y="11639"/>
                  <a:pt x="18655" y="11340"/>
                </a:cubicBezTo>
                <a:cubicBezTo>
                  <a:pt x="18655" y="11042"/>
                  <a:pt x="18434" y="10800"/>
                  <a:pt x="18164" y="10800"/>
                </a:cubicBezTo>
                <a:lnTo>
                  <a:pt x="7364" y="10800"/>
                </a:lnTo>
                <a:cubicBezTo>
                  <a:pt x="7093" y="10800"/>
                  <a:pt x="6873" y="11042"/>
                  <a:pt x="6873" y="11340"/>
                </a:cubicBezTo>
                <a:cubicBezTo>
                  <a:pt x="6873" y="11639"/>
                  <a:pt x="7093" y="11880"/>
                  <a:pt x="7364" y="11880"/>
                </a:cubicBezTo>
                <a:moveTo>
                  <a:pt x="20618" y="19440"/>
                </a:moveTo>
                <a:lnTo>
                  <a:pt x="18605" y="19440"/>
                </a:lnTo>
                <a:cubicBezTo>
                  <a:pt x="18378" y="18208"/>
                  <a:pt x="17387" y="17280"/>
                  <a:pt x="16200" y="17280"/>
                </a:cubicBezTo>
                <a:cubicBezTo>
                  <a:pt x="15013" y="17280"/>
                  <a:pt x="14022" y="18208"/>
                  <a:pt x="13795" y="19440"/>
                </a:cubicBezTo>
                <a:lnTo>
                  <a:pt x="11732" y="19440"/>
                </a:lnTo>
                <a:cubicBezTo>
                  <a:pt x="11505" y="18208"/>
                  <a:pt x="10515" y="17280"/>
                  <a:pt x="9327" y="17280"/>
                </a:cubicBezTo>
                <a:cubicBezTo>
                  <a:pt x="8140" y="17280"/>
                  <a:pt x="7150" y="18208"/>
                  <a:pt x="6922" y="19440"/>
                </a:cubicBezTo>
                <a:lnTo>
                  <a:pt x="4909" y="19440"/>
                </a:lnTo>
                <a:lnTo>
                  <a:pt x="4909" y="5400"/>
                </a:lnTo>
                <a:lnTo>
                  <a:pt x="20618" y="5400"/>
                </a:lnTo>
                <a:cubicBezTo>
                  <a:pt x="20618" y="5400"/>
                  <a:pt x="20618" y="19440"/>
                  <a:pt x="20618" y="19440"/>
                </a:cubicBezTo>
                <a:close/>
                <a:moveTo>
                  <a:pt x="20618" y="4320"/>
                </a:moveTo>
                <a:lnTo>
                  <a:pt x="4909" y="4320"/>
                </a:lnTo>
                <a:cubicBezTo>
                  <a:pt x="4367" y="4320"/>
                  <a:pt x="3927" y="4804"/>
                  <a:pt x="3927" y="5400"/>
                </a:cubicBezTo>
                <a:lnTo>
                  <a:pt x="3927" y="19440"/>
                </a:lnTo>
                <a:cubicBezTo>
                  <a:pt x="3927" y="20036"/>
                  <a:pt x="4367" y="20520"/>
                  <a:pt x="4909" y="20520"/>
                </a:cubicBezTo>
                <a:lnTo>
                  <a:pt x="7364" y="20520"/>
                </a:lnTo>
                <a:cubicBezTo>
                  <a:pt x="7634" y="20520"/>
                  <a:pt x="7855" y="20279"/>
                  <a:pt x="7855" y="19980"/>
                </a:cubicBezTo>
                <a:cubicBezTo>
                  <a:pt x="7855" y="19085"/>
                  <a:pt x="8514" y="18360"/>
                  <a:pt x="9327" y="18360"/>
                </a:cubicBezTo>
                <a:cubicBezTo>
                  <a:pt x="10141" y="18360"/>
                  <a:pt x="10800" y="19085"/>
                  <a:pt x="10800" y="19980"/>
                </a:cubicBezTo>
                <a:cubicBezTo>
                  <a:pt x="10800" y="20279"/>
                  <a:pt x="11020" y="20520"/>
                  <a:pt x="11291" y="20520"/>
                </a:cubicBezTo>
                <a:lnTo>
                  <a:pt x="14236" y="20520"/>
                </a:lnTo>
                <a:cubicBezTo>
                  <a:pt x="14507" y="20520"/>
                  <a:pt x="14727" y="20279"/>
                  <a:pt x="14727" y="19980"/>
                </a:cubicBezTo>
                <a:cubicBezTo>
                  <a:pt x="14727" y="19085"/>
                  <a:pt x="15386" y="18360"/>
                  <a:pt x="16200" y="18360"/>
                </a:cubicBezTo>
                <a:cubicBezTo>
                  <a:pt x="17014" y="18360"/>
                  <a:pt x="17673" y="19085"/>
                  <a:pt x="17673" y="19980"/>
                </a:cubicBezTo>
                <a:cubicBezTo>
                  <a:pt x="17673" y="20279"/>
                  <a:pt x="17893" y="20520"/>
                  <a:pt x="18164" y="20520"/>
                </a:cubicBezTo>
                <a:lnTo>
                  <a:pt x="20618" y="20520"/>
                </a:lnTo>
                <a:cubicBezTo>
                  <a:pt x="21160" y="20520"/>
                  <a:pt x="21600" y="20036"/>
                  <a:pt x="21600" y="19440"/>
                </a:cubicBezTo>
                <a:lnTo>
                  <a:pt x="21600" y="5400"/>
                </a:lnTo>
                <a:cubicBezTo>
                  <a:pt x="21600" y="4804"/>
                  <a:pt x="21160" y="4320"/>
                  <a:pt x="20618" y="4320"/>
                </a:cubicBezTo>
                <a:moveTo>
                  <a:pt x="7364" y="9720"/>
                </a:moveTo>
                <a:lnTo>
                  <a:pt x="18164" y="9720"/>
                </a:lnTo>
                <a:cubicBezTo>
                  <a:pt x="18434" y="9720"/>
                  <a:pt x="18655" y="9479"/>
                  <a:pt x="18655" y="9180"/>
                </a:cubicBezTo>
                <a:cubicBezTo>
                  <a:pt x="18655" y="8882"/>
                  <a:pt x="18434" y="8640"/>
                  <a:pt x="18164" y="8640"/>
                </a:cubicBezTo>
                <a:lnTo>
                  <a:pt x="7364" y="8640"/>
                </a:lnTo>
                <a:cubicBezTo>
                  <a:pt x="7093" y="8640"/>
                  <a:pt x="6873" y="8882"/>
                  <a:pt x="6873" y="9180"/>
                </a:cubicBezTo>
                <a:cubicBezTo>
                  <a:pt x="6873" y="9479"/>
                  <a:pt x="7093" y="9720"/>
                  <a:pt x="7364" y="9720"/>
                </a:cubicBezTo>
                <a:moveTo>
                  <a:pt x="9327" y="19440"/>
                </a:moveTo>
                <a:cubicBezTo>
                  <a:pt x="9056" y="19440"/>
                  <a:pt x="8836" y="19682"/>
                  <a:pt x="8836" y="19980"/>
                </a:cubicBezTo>
                <a:lnTo>
                  <a:pt x="8836" y="21060"/>
                </a:lnTo>
                <a:cubicBezTo>
                  <a:pt x="8836" y="21359"/>
                  <a:pt x="9056" y="21600"/>
                  <a:pt x="9327" y="21600"/>
                </a:cubicBezTo>
                <a:cubicBezTo>
                  <a:pt x="9598" y="21600"/>
                  <a:pt x="9818" y="21359"/>
                  <a:pt x="9818" y="21060"/>
                </a:cubicBezTo>
                <a:lnTo>
                  <a:pt x="9818" y="19980"/>
                </a:lnTo>
                <a:cubicBezTo>
                  <a:pt x="9818" y="19682"/>
                  <a:pt x="9598" y="19440"/>
                  <a:pt x="9327" y="19440"/>
                </a:cubicBezTo>
                <a:moveTo>
                  <a:pt x="2455" y="15120"/>
                </a:moveTo>
                <a:lnTo>
                  <a:pt x="982" y="15120"/>
                </a:lnTo>
                <a:lnTo>
                  <a:pt x="982" y="1080"/>
                </a:lnTo>
                <a:lnTo>
                  <a:pt x="16691" y="1080"/>
                </a:lnTo>
                <a:lnTo>
                  <a:pt x="16691" y="2700"/>
                </a:lnTo>
                <a:cubicBezTo>
                  <a:pt x="16691" y="2999"/>
                  <a:pt x="16911" y="3240"/>
                  <a:pt x="17182" y="3240"/>
                </a:cubicBezTo>
                <a:cubicBezTo>
                  <a:pt x="17453" y="3240"/>
                  <a:pt x="17673" y="2999"/>
                  <a:pt x="17673" y="2700"/>
                </a:cubicBezTo>
                <a:lnTo>
                  <a:pt x="17673" y="1080"/>
                </a:lnTo>
                <a:cubicBezTo>
                  <a:pt x="17673" y="484"/>
                  <a:pt x="17233" y="0"/>
                  <a:pt x="16691" y="0"/>
                </a:cubicBezTo>
                <a:lnTo>
                  <a:pt x="982" y="0"/>
                </a:lnTo>
                <a:cubicBezTo>
                  <a:pt x="440" y="0"/>
                  <a:pt x="0" y="484"/>
                  <a:pt x="0" y="1080"/>
                </a:cubicBezTo>
                <a:lnTo>
                  <a:pt x="0" y="15120"/>
                </a:lnTo>
                <a:cubicBezTo>
                  <a:pt x="0" y="15716"/>
                  <a:pt x="440" y="16201"/>
                  <a:pt x="982" y="16201"/>
                </a:cubicBezTo>
                <a:lnTo>
                  <a:pt x="2455" y="16201"/>
                </a:lnTo>
                <a:cubicBezTo>
                  <a:pt x="2725" y="16201"/>
                  <a:pt x="2945" y="15959"/>
                  <a:pt x="2945" y="15660"/>
                </a:cubicBezTo>
                <a:cubicBezTo>
                  <a:pt x="2945" y="15362"/>
                  <a:pt x="2725" y="15120"/>
                  <a:pt x="2455" y="15120"/>
                </a:cubicBezTo>
                <a:moveTo>
                  <a:pt x="16200" y="19440"/>
                </a:moveTo>
                <a:cubicBezTo>
                  <a:pt x="15929" y="19440"/>
                  <a:pt x="15709" y="19682"/>
                  <a:pt x="15709" y="19980"/>
                </a:cubicBezTo>
                <a:lnTo>
                  <a:pt x="15709" y="21060"/>
                </a:lnTo>
                <a:cubicBezTo>
                  <a:pt x="15709" y="21359"/>
                  <a:pt x="15929" y="21600"/>
                  <a:pt x="16200" y="21600"/>
                </a:cubicBezTo>
                <a:cubicBezTo>
                  <a:pt x="16471" y="21600"/>
                  <a:pt x="16691" y="21359"/>
                  <a:pt x="16691" y="21060"/>
                </a:cubicBezTo>
                <a:lnTo>
                  <a:pt x="16691" y="19980"/>
                </a:lnTo>
                <a:cubicBezTo>
                  <a:pt x="16691" y="19682"/>
                  <a:pt x="16471" y="19440"/>
                  <a:pt x="16200" y="194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6" name="Shape 2596"/>
          <p:cNvSpPr/>
          <p:nvPr/>
        </p:nvSpPr>
        <p:spPr>
          <a:xfrm>
            <a:off x="5088616" y="226060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5400"/>
                </a:moveTo>
                <a:lnTo>
                  <a:pt x="9327" y="5400"/>
                </a:lnTo>
                <a:cubicBezTo>
                  <a:pt x="9598" y="5400"/>
                  <a:pt x="9818" y="5098"/>
                  <a:pt x="9818" y="4725"/>
                </a:cubicBezTo>
                <a:cubicBezTo>
                  <a:pt x="9818" y="4353"/>
                  <a:pt x="9598" y="4050"/>
                  <a:pt x="9327" y="4050"/>
                </a:cubicBezTo>
                <a:lnTo>
                  <a:pt x="3436" y="4050"/>
                </a:lnTo>
                <a:cubicBezTo>
                  <a:pt x="3166" y="4050"/>
                  <a:pt x="2945" y="4353"/>
                  <a:pt x="2945" y="4725"/>
                </a:cubicBezTo>
                <a:cubicBezTo>
                  <a:pt x="2945" y="5098"/>
                  <a:pt x="3166" y="5400"/>
                  <a:pt x="3436" y="5400"/>
                </a:cubicBezTo>
                <a:moveTo>
                  <a:pt x="3436" y="8100"/>
                </a:moveTo>
                <a:lnTo>
                  <a:pt x="7364" y="8100"/>
                </a:lnTo>
                <a:cubicBezTo>
                  <a:pt x="7634" y="8100"/>
                  <a:pt x="7855" y="7798"/>
                  <a:pt x="7855" y="7425"/>
                </a:cubicBezTo>
                <a:cubicBezTo>
                  <a:pt x="7855" y="7053"/>
                  <a:pt x="7634" y="6750"/>
                  <a:pt x="7364" y="6750"/>
                </a:cubicBezTo>
                <a:lnTo>
                  <a:pt x="3436" y="6750"/>
                </a:lnTo>
                <a:cubicBezTo>
                  <a:pt x="3166" y="6750"/>
                  <a:pt x="2945" y="7053"/>
                  <a:pt x="2945" y="7425"/>
                </a:cubicBezTo>
                <a:cubicBezTo>
                  <a:pt x="2945" y="7798"/>
                  <a:pt x="3166" y="8100"/>
                  <a:pt x="3436" y="8100"/>
                </a:cubicBezTo>
                <a:moveTo>
                  <a:pt x="3436" y="10800"/>
                </a:moveTo>
                <a:lnTo>
                  <a:pt x="9327" y="10800"/>
                </a:lnTo>
                <a:cubicBezTo>
                  <a:pt x="9598" y="10800"/>
                  <a:pt x="9818" y="10498"/>
                  <a:pt x="9818" y="10125"/>
                </a:cubicBezTo>
                <a:cubicBezTo>
                  <a:pt x="9818" y="9753"/>
                  <a:pt x="9598" y="9450"/>
                  <a:pt x="9327" y="9450"/>
                </a:cubicBezTo>
                <a:lnTo>
                  <a:pt x="3436" y="9450"/>
                </a:lnTo>
                <a:cubicBezTo>
                  <a:pt x="3166" y="9450"/>
                  <a:pt x="2945" y="9753"/>
                  <a:pt x="2945" y="10125"/>
                </a:cubicBezTo>
                <a:cubicBezTo>
                  <a:pt x="2945" y="10498"/>
                  <a:pt x="3166" y="10800"/>
                  <a:pt x="3436" y="10800"/>
                </a:cubicBezTo>
                <a:moveTo>
                  <a:pt x="20618" y="20250"/>
                </a:moveTo>
                <a:lnTo>
                  <a:pt x="15709" y="20250"/>
                </a:lnTo>
                <a:lnTo>
                  <a:pt x="15709" y="17551"/>
                </a:lnTo>
                <a:lnTo>
                  <a:pt x="16691" y="17551"/>
                </a:lnTo>
                <a:cubicBezTo>
                  <a:pt x="16962" y="17551"/>
                  <a:pt x="17182" y="17248"/>
                  <a:pt x="17182" y="16875"/>
                </a:cubicBezTo>
                <a:cubicBezTo>
                  <a:pt x="17182" y="16503"/>
                  <a:pt x="16962" y="16200"/>
                  <a:pt x="16691" y="16200"/>
                </a:cubicBezTo>
                <a:lnTo>
                  <a:pt x="13745" y="16200"/>
                </a:lnTo>
                <a:cubicBezTo>
                  <a:pt x="13475" y="16200"/>
                  <a:pt x="13255" y="16503"/>
                  <a:pt x="13255" y="16875"/>
                </a:cubicBezTo>
                <a:cubicBezTo>
                  <a:pt x="13255" y="17248"/>
                  <a:pt x="13475" y="17551"/>
                  <a:pt x="13745" y="17551"/>
                </a:cubicBezTo>
                <a:lnTo>
                  <a:pt x="14727" y="17551"/>
                </a:lnTo>
                <a:lnTo>
                  <a:pt x="14727" y="20250"/>
                </a:lnTo>
                <a:lnTo>
                  <a:pt x="6873" y="20250"/>
                </a:lnTo>
                <a:lnTo>
                  <a:pt x="6873" y="17551"/>
                </a:lnTo>
                <a:lnTo>
                  <a:pt x="7855" y="17551"/>
                </a:lnTo>
                <a:cubicBezTo>
                  <a:pt x="8125" y="17551"/>
                  <a:pt x="8345" y="17248"/>
                  <a:pt x="8345" y="16875"/>
                </a:cubicBezTo>
                <a:cubicBezTo>
                  <a:pt x="8345" y="16503"/>
                  <a:pt x="8125" y="16200"/>
                  <a:pt x="7855" y="16200"/>
                </a:cubicBezTo>
                <a:lnTo>
                  <a:pt x="4909" y="16200"/>
                </a:lnTo>
                <a:cubicBezTo>
                  <a:pt x="4638" y="16200"/>
                  <a:pt x="4418" y="16503"/>
                  <a:pt x="4418" y="16875"/>
                </a:cubicBezTo>
                <a:cubicBezTo>
                  <a:pt x="4418" y="17248"/>
                  <a:pt x="4638" y="17551"/>
                  <a:pt x="4909" y="17551"/>
                </a:cubicBezTo>
                <a:lnTo>
                  <a:pt x="5891" y="17551"/>
                </a:lnTo>
                <a:lnTo>
                  <a:pt x="5891" y="20250"/>
                </a:lnTo>
                <a:lnTo>
                  <a:pt x="982" y="20250"/>
                </a:lnTo>
                <a:lnTo>
                  <a:pt x="982" y="1350"/>
                </a:lnTo>
                <a:lnTo>
                  <a:pt x="20618" y="1350"/>
                </a:lnTo>
                <a:cubicBezTo>
                  <a:pt x="20618" y="13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3436" y="13500"/>
                </a:moveTo>
                <a:lnTo>
                  <a:pt x="7364" y="13500"/>
                </a:lnTo>
                <a:cubicBezTo>
                  <a:pt x="7634" y="13500"/>
                  <a:pt x="7855" y="13198"/>
                  <a:pt x="7855" y="12825"/>
                </a:cubicBezTo>
                <a:cubicBezTo>
                  <a:pt x="7855" y="12452"/>
                  <a:pt x="7634" y="12150"/>
                  <a:pt x="7364" y="12150"/>
                </a:cubicBezTo>
                <a:lnTo>
                  <a:pt x="3436" y="12150"/>
                </a:lnTo>
                <a:cubicBezTo>
                  <a:pt x="3166" y="12150"/>
                  <a:pt x="2945" y="12452"/>
                  <a:pt x="2945" y="12825"/>
                </a:cubicBezTo>
                <a:cubicBezTo>
                  <a:pt x="2945" y="13198"/>
                  <a:pt x="3166" y="13500"/>
                  <a:pt x="3436" y="13500"/>
                </a:cubicBezTo>
                <a:moveTo>
                  <a:pt x="12273" y="5400"/>
                </a:moveTo>
                <a:lnTo>
                  <a:pt x="16200" y="5400"/>
                </a:lnTo>
                <a:cubicBezTo>
                  <a:pt x="16471" y="5400"/>
                  <a:pt x="16691" y="5098"/>
                  <a:pt x="16691" y="4725"/>
                </a:cubicBezTo>
                <a:cubicBezTo>
                  <a:pt x="16691" y="4353"/>
                  <a:pt x="16471" y="4050"/>
                  <a:pt x="16200" y="4050"/>
                </a:cubicBezTo>
                <a:lnTo>
                  <a:pt x="12273" y="4050"/>
                </a:lnTo>
                <a:cubicBezTo>
                  <a:pt x="12002" y="4050"/>
                  <a:pt x="11782" y="4353"/>
                  <a:pt x="11782" y="4725"/>
                </a:cubicBezTo>
                <a:cubicBezTo>
                  <a:pt x="11782" y="5098"/>
                  <a:pt x="12002" y="5400"/>
                  <a:pt x="12273" y="5400"/>
                </a:cubicBezTo>
                <a:moveTo>
                  <a:pt x="12273" y="10800"/>
                </a:moveTo>
                <a:lnTo>
                  <a:pt x="16200" y="10800"/>
                </a:lnTo>
                <a:cubicBezTo>
                  <a:pt x="16471" y="10800"/>
                  <a:pt x="16691" y="10498"/>
                  <a:pt x="16691" y="10125"/>
                </a:cubicBezTo>
                <a:cubicBezTo>
                  <a:pt x="16691" y="9753"/>
                  <a:pt x="16471" y="9450"/>
                  <a:pt x="16200" y="9450"/>
                </a:cubicBezTo>
                <a:lnTo>
                  <a:pt x="12273" y="9450"/>
                </a:lnTo>
                <a:cubicBezTo>
                  <a:pt x="12002" y="9450"/>
                  <a:pt x="11782" y="9753"/>
                  <a:pt x="11782" y="10125"/>
                </a:cubicBezTo>
                <a:cubicBezTo>
                  <a:pt x="11782" y="10498"/>
                  <a:pt x="12002" y="10800"/>
                  <a:pt x="12273" y="10800"/>
                </a:cubicBezTo>
                <a:moveTo>
                  <a:pt x="12273" y="13500"/>
                </a:moveTo>
                <a:lnTo>
                  <a:pt x="18164" y="13500"/>
                </a:lnTo>
                <a:cubicBezTo>
                  <a:pt x="18434" y="13500"/>
                  <a:pt x="18655" y="13198"/>
                  <a:pt x="18655" y="12825"/>
                </a:cubicBezTo>
                <a:cubicBezTo>
                  <a:pt x="18655" y="12452"/>
                  <a:pt x="18434" y="12150"/>
                  <a:pt x="18164" y="12150"/>
                </a:cubicBezTo>
                <a:lnTo>
                  <a:pt x="12273" y="12150"/>
                </a:lnTo>
                <a:cubicBezTo>
                  <a:pt x="12002" y="12150"/>
                  <a:pt x="11782" y="12452"/>
                  <a:pt x="11782" y="12825"/>
                </a:cubicBezTo>
                <a:cubicBezTo>
                  <a:pt x="11782" y="13198"/>
                  <a:pt x="12002" y="13500"/>
                  <a:pt x="12273" y="13500"/>
                </a:cubicBezTo>
                <a:moveTo>
                  <a:pt x="12273" y="8100"/>
                </a:moveTo>
                <a:lnTo>
                  <a:pt x="18164" y="8100"/>
                </a:lnTo>
                <a:cubicBezTo>
                  <a:pt x="18434" y="8100"/>
                  <a:pt x="18655" y="7798"/>
                  <a:pt x="18655" y="7425"/>
                </a:cubicBezTo>
                <a:cubicBezTo>
                  <a:pt x="18655" y="7053"/>
                  <a:pt x="18434" y="6750"/>
                  <a:pt x="18164" y="6750"/>
                </a:cubicBezTo>
                <a:lnTo>
                  <a:pt x="12273" y="6750"/>
                </a:lnTo>
                <a:cubicBezTo>
                  <a:pt x="12002" y="6750"/>
                  <a:pt x="11782" y="7053"/>
                  <a:pt x="11782" y="7425"/>
                </a:cubicBezTo>
                <a:cubicBezTo>
                  <a:pt x="11782" y="7798"/>
                  <a:pt x="12002" y="8100"/>
                  <a:pt x="12273"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7" name="Shape 2597"/>
          <p:cNvSpPr/>
          <p:nvPr/>
        </p:nvSpPr>
        <p:spPr>
          <a:xfrm>
            <a:off x="548856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8" name="Shape 2598"/>
          <p:cNvSpPr/>
          <p:nvPr/>
        </p:nvSpPr>
        <p:spPr>
          <a:xfrm>
            <a:off x="5888507"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6873" y="8400"/>
                </a:moveTo>
                <a:lnTo>
                  <a:pt x="10800" y="8400"/>
                </a:lnTo>
                <a:lnTo>
                  <a:pt x="10800" y="12001"/>
                </a:lnTo>
                <a:lnTo>
                  <a:pt x="6873" y="12001"/>
                </a:lnTo>
                <a:cubicBezTo>
                  <a:pt x="6873" y="12001"/>
                  <a:pt x="6873" y="8400"/>
                  <a:pt x="6873" y="8400"/>
                </a:cubicBezTo>
                <a:close/>
                <a:moveTo>
                  <a:pt x="6382" y="13200"/>
                </a:moveTo>
                <a:lnTo>
                  <a:pt x="11291" y="13200"/>
                </a:lnTo>
                <a:cubicBezTo>
                  <a:pt x="11562" y="13200"/>
                  <a:pt x="11782" y="12932"/>
                  <a:pt x="11782" y="12600"/>
                </a:cubicBezTo>
                <a:lnTo>
                  <a:pt x="11782" y="7800"/>
                </a:lnTo>
                <a:cubicBezTo>
                  <a:pt x="11782" y="7469"/>
                  <a:pt x="11562" y="7200"/>
                  <a:pt x="11291" y="7200"/>
                </a:cubicBezTo>
                <a:lnTo>
                  <a:pt x="6382" y="7200"/>
                </a:lnTo>
                <a:cubicBezTo>
                  <a:pt x="6111" y="7200"/>
                  <a:pt x="5891" y="7469"/>
                  <a:pt x="5891" y="7800"/>
                </a:cubicBezTo>
                <a:lnTo>
                  <a:pt x="5891" y="12600"/>
                </a:lnTo>
                <a:cubicBezTo>
                  <a:pt x="5891" y="12932"/>
                  <a:pt x="6111" y="13200"/>
                  <a:pt x="6382" y="13200"/>
                </a:cubicBezTo>
                <a:moveTo>
                  <a:pt x="6382" y="4800"/>
                </a:moveTo>
                <a:cubicBezTo>
                  <a:pt x="6653" y="4800"/>
                  <a:pt x="6873" y="4531"/>
                  <a:pt x="6873" y="4200"/>
                </a:cubicBezTo>
                <a:cubicBezTo>
                  <a:pt x="6873" y="3868"/>
                  <a:pt x="6653" y="3600"/>
                  <a:pt x="6382" y="3600"/>
                </a:cubicBezTo>
                <a:cubicBezTo>
                  <a:pt x="6111" y="3600"/>
                  <a:pt x="5891" y="3868"/>
                  <a:pt x="5891" y="4200"/>
                </a:cubicBezTo>
                <a:cubicBezTo>
                  <a:pt x="5891" y="4531"/>
                  <a:pt x="6111" y="4800"/>
                  <a:pt x="6382" y="4800"/>
                </a:cubicBezTo>
                <a:moveTo>
                  <a:pt x="20618" y="20400"/>
                </a:moveTo>
                <a:lnTo>
                  <a:pt x="2945" y="20400"/>
                </a:lnTo>
                <a:cubicBezTo>
                  <a:pt x="1861" y="20400"/>
                  <a:pt x="982" y="19325"/>
                  <a:pt x="982" y="18000"/>
                </a:cubicBezTo>
                <a:lnTo>
                  <a:pt x="982" y="4800"/>
                </a:lnTo>
                <a:lnTo>
                  <a:pt x="2945" y="4800"/>
                </a:lnTo>
                <a:lnTo>
                  <a:pt x="2945" y="17400"/>
                </a:lnTo>
                <a:cubicBezTo>
                  <a:pt x="2945" y="17732"/>
                  <a:pt x="3166" y="18000"/>
                  <a:pt x="3436" y="18000"/>
                </a:cubicBezTo>
                <a:cubicBezTo>
                  <a:pt x="3707" y="18000"/>
                  <a:pt x="3927" y="17732"/>
                  <a:pt x="3927" y="17400"/>
                </a:cubicBezTo>
                <a:lnTo>
                  <a:pt x="3927" y="1200"/>
                </a:lnTo>
                <a:lnTo>
                  <a:pt x="20618" y="1200"/>
                </a:lnTo>
                <a:cubicBezTo>
                  <a:pt x="20618" y="1200"/>
                  <a:pt x="20618" y="20400"/>
                  <a:pt x="20618" y="20400"/>
                </a:cubicBezTo>
                <a:close/>
                <a:moveTo>
                  <a:pt x="20618" y="0"/>
                </a:moveTo>
                <a:lnTo>
                  <a:pt x="3927" y="0"/>
                </a:lnTo>
                <a:cubicBezTo>
                  <a:pt x="3385" y="0"/>
                  <a:pt x="2945" y="538"/>
                  <a:pt x="2945" y="1200"/>
                </a:cubicBezTo>
                <a:lnTo>
                  <a:pt x="2945" y="3600"/>
                </a:lnTo>
                <a:lnTo>
                  <a:pt x="982" y="3600"/>
                </a:lnTo>
                <a:cubicBezTo>
                  <a:pt x="440" y="3600"/>
                  <a:pt x="0" y="4138"/>
                  <a:pt x="0" y="4800"/>
                </a:cubicBezTo>
                <a:lnTo>
                  <a:pt x="0" y="18000"/>
                </a:lnTo>
                <a:cubicBezTo>
                  <a:pt x="0" y="19988"/>
                  <a:pt x="1319" y="21600"/>
                  <a:pt x="2945" y="21600"/>
                </a:cubicBezTo>
                <a:lnTo>
                  <a:pt x="20618" y="21600"/>
                </a:lnTo>
                <a:cubicBezTo>
                  <a:pt x="21160" y="21600"/>
                  <a:pt x="21600" y="21062"/>
                  <a:pt x="21600" y="20400"/>
                </a:cubicBezTo>
                <a:lnTo>
                  <a:pt x="21600" y="1200"/>
                </a:lnTo>
                <a:cubicBezTo>
                  <a:pt x="21600" y="538"/>
                  <a:pt x="21160" y="0"/>
                  <a:pt x="20618" y="0"/>
                </a:cubicBezTo>
                <a:moveTo>
                  <a:pt x="6382" y="18000"/>
                </a:moveTo>
                <a:lnTo>
                  <a:pt x="18164" y="18000"/>
                </a:lnTo>
                <a:cubicBezTo>
                  <a:pt x="18434" y="18000"/>
                  <a:pt x="18655" y="17732"/>
                  <a:pt x="18655" y="17400"/>
                </a:cubicBezTo>
                <a:cubicBezTo>
                  <a:pt x="18655" y="17068"/>
                  <a:pt x="18434" y="16801"/>
                  <a:pt x="18164" y="16801"/>
                </a:cubicBezTo>
                <a:lnTo>
                  <a:pt x="6382" y="16801"/>
                </a:lnTo>
                <a:cubicBezTo>
                  <a:pt x="6111" y="16801"/>
                  <a:pt x="5891" y="17068"/>
                  <a:pt x="5891" y="17400"/>
                </a:cubicBezTo>
                <a:cubicBezTo>
                  <a:pt x="5891" y="17732"/>
                  <a:pt x="6111" y="18000"/>
                  <a:pt x="6382" y="18000"/>
                </a:cubicBezTo>
                <a:moveTo>
                  <a:pt x="6382" y="15600"/>
                </a:moveTo>
                <a:lnTo>
                  <a:pt x="18164" y="15600"/>
                </a:lnTo>
                <a:cubicBezTo>
                  <a:pt x="18434" y="15600"/>
                  <a:pt x="18655" y="15332"/>
                  <a:pt x="18655" y="15000"/>
                </a:cubicBezTo>
                <a:cubicBezTo>
                  <a:pt x="18655" y="14668"/>
                  <a:pt x="18434" y="14401"/>
                  <a:pt x="18164" y="14401"/>
                </a:cubicBezTo>
                <a:lnTo>
                  <a:pt x="6382" y="14401"/>
                </a:lnTo>
                <a:cubicBezTo>
                  <a:pt x="6111" y="14401"/>
                  <a:pt x="5891" y="14668"/>
                  <a:pt x="5891" y="15000"/>
                </a:cubicBezTo>
                <a:cubicBezTo>
                  <a:pt x="5891" y="15332"/>
                  <a:pt x="6111" y="15600"/>
                  <a:pt x="6382" y="15600"/>
                </a:cubicBezTo>
                <a:moveTo>
                  <a:pt x="8345" y="4800"/>
                </a:moveTo>
                <a:cubicBezTo>
                  <a:pt x="8616" y="4800"/>
                  <a:pt x="8836" y="4531"/>
                  <a:pt x="8836" y="4200"/>
                </a:cubicBezTo>
                <a:cubicBezTo>
                  <a:pt x="8836" y="3868"/>
                  <a:pt x="8616" y="3600"/>
                  <a:pt x="8345" y="3600"/>
                </a:cubicBezTo>
                <a:cubicBezTo>
                  <a:pt x="8075" y="3600"/>
                  <a:pt x="7855" y="3868"/>
                  <a:pt x="7855" y="4200"/>
                </a:cubicBezTo>
                <a:cubicBezTo>
                  <a:pt x="7855" y="4531"/>
                  <a:pt x="8075" y="4800"/>
                  <a:pt x="8345" y="4800"/>
                </a:cubicBezTo>
                <a:moveTo>
                  <a:pt x="18164" y="7200"/>
                </a:moveTo>
                <a:lnTo>
                  <a:pt x="14236" y="7200"/>
                </a:lnTo>
                <a:cubicBezTo>
                  <a:pt x="13966" y="7200"/>
                  <a:pt x="13745" y="7469"/>
                  <a:pt x="13745" y="7800"/>
                </a:cubicBezTo>
                <a:cubicBezTo>
                  <a:pt x="13745" y="8132"/>
                  <a:pt x="13966" y="8400"/>
                  <a:pt x="14236" y="8400"/>
                </a:cubicBezTo>
                <a:lnTo>
                  <a:pt x="18164" y="8400"/>
                </a:lnTo>
                <a:cubicBezTo>
                  <a:pt x="18434" y="8400"/>
                  <a:pt x="18655" y="8132"/>
                  <a:pt x="18655" y="7800"/>
                </a:cubicBezTo>
                <a:cubicBezTo>
                  <a:pt x="18655" y="7469"/>
                  <a:pt x="18434" y="7200"/>
                  <a:pt x="18164" y="7200"/>
                </a:cubicBezTo>
                <a:moveTo>
                  <a:pt x="18164" y="12001"/>
                </a:moveTo>
                <a:lnTo>
                  <a:pt x="14236" y="12001"/>
                </a:lnTo>
                <a:cubicBezTo>
                  <a:pt x="13966" y="12001"/>
                  <a:pt x="13745" y="12268"/>
                  <a:pt x="13745" y="12600"/>
                </a:cubicBezTo>
                <a:cubicBezTo>
                  <a:pt x="13745" y="12932"/>
                  <a:pt x="13966" y="13200"/>
                  <a:pt x="14236" y="13200"/>
                </a:cubicBezTo>
                <a:lnTo>
                  <a:pt x="18164" y="13200"/>
                </a:lnTo>
                <a:cubicBezTo>
                  <a:pt x="18434" y="13200"/>
                  <a:pt x="18655" y="12932"/>
                  <a:pt x="18655" y="12600"/>
                </a:cubicBezTo>
                <a:cubicBezTo>
                  <a:pt x="18655" y="12268"/>
                  <a:pt x="18434" y="12001"/>
                  <a:pt x="18164" y="12001"/>
                </a:cubicBezTo>
                <a:moveTo>
                  <a:pt x="18164" y="9600"/>
                </a:moveTo>
                <a:lnTo>
                  <a:pt x="14236" y="9600"/>
                </a:lnTo>
                <a:cubicBezTo>
                  <a:pt x="13966" y="9600"/>
                  <a:pt x="13745" y="9869"/>
                  <a:pt x="13745" y="10200"/>
                </a:cubicBezTo>
                <a:cubicBezTo>
                  <a:pt x="13745" y="10532"/>
                  <a:pt x="13966" y="10800"/>
                  <a:pt x="14236" y="10800"/>
                </a:cubicBezTo>
                <a:lnTo>
                  <a:pt x="18164" y="10800"/>
                </a:lnTo>
                <a:cubicBezTo>
                  <a:pt x="18434" y="10800"/>
                  <a:pt x="18655" y="10532"/>
                  <a:pt x="18655" y="10200"/>
                </a:cubicBezTo>
                <a:cubicBezTo>
                  <a:pt x="18655" y="9869"/>
                  <a:pt x="18434" y="9600"/>
                  <a:pt x="18164" y="9600"/>
                </a:cubicBezTo>
                <a:moveTo>
                  <a:pt x="18164" y="4800"/>
                </a:moveTo>
                <a:cubicBezTo>
                  <a:pt x="18434" y="4800"/>
                  <a:pt x="18655" y="4531"/>
                  <a:pt x="18655" y="4200"/>
                </a:cubicBezTo>
                <a:cubicBezTo>
                  <a:pt x="18655" y="3868"/>
                  <a:pt x="18434" y="3600"/>
                  <a:pt x="18164" y="3600"/>
                </a:cubicBezTo>
                <a:cubicBezTo>
                  <a:pt x="17893" y="3600"/>
                  <a:pt x="17673" y="3868"/>
                  <a:pt x="17673" y="4200"/>
                </a:cubicBezTo>
                <a:cubicBezTo>
                  <a:pt x="17673" y="4531"/>
                  <a:pt x="17893" y="4800"/>
                  <a:pt x="18164" y="4800"/>
                </a:cubicBezTo>
                <a:moveTo>
                  <a:pt x="16200" y="4800"/>
                </a:moveTo>
                <a:cubicBezTo>
                  <a:pt x="16471" y="4800"/>
                  <a:pt x="16691" y="4531"/>
                  <a:pt x="16691" y="4200"/>
                </a:cubicBezTo>
                <a:cubicBezTo>
                  <a:pt x="16691" y="3868"/>
                  <a:pt x="16471" y="3600"/>
                  <a:pt x="16200" y="3600"/>
                </a:cubicBezTo>
                <a:cubicBezTo>
                  <a:pt x="15929" y="3600"/>
                  <a:pt x="15709" y="3868"/>
                  <a:pt x="15709" y="4200"/>
                </a:cubicBezTo>
                <a:cubicBezTo>
                  <a:pt x="15709" y="4531"/>
                  <a:pt x="15929" y="4800"/>
                  <a:pt x="16200" y="4800"/>
                </a:cubicBezTo>
                <a:moveTo>
                  <a:pt x="10309" y="4800"/>
                </a:moveTo>
                <a:lnTo>
                  <a:pt x="14236" y="4800"/>
                </a:lnTo>
                <a:cubicBezTo>
                  <a:pt x="14507" y="4800"/>
                  <a:pt x="14727" y="4531"/>
                  <a:pt x="14727" y="4200"/>
                </a:cubicBezTo>
                <a:cubicBezTo>
                  <a:pt x="14727" y="3868"/>
                  <a:pt x="14507" y="3600"/>
                  <a:pt x="14236" y="3600"/>
                </a:cubicBezTo>
                <a:lnTo>
                  <a:pt x="10309" y="3600"/>
                </a:lnTo>
                <a:cubicBezTo>
                  <a:pt x="10038" y="3600"/>
                  <a:pt x="9818" y="3868"/>
                  <a:pt x="9818" y="4200"/>
                </a:cubicBezTo>
                <a:cubicBezTo>
                  <a:pt x="9818" y="4531"/>
                  <a:pt x="10038" y="4800"/>
                  <a:pt x="10309"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9" name="Shape 2599"/>
          <p:cNvSpPr/>
          <p:nvPr/>
        </p:nvSpPr>
        <p:spPr>
          <a:xfrm>
            <a:off x="6288453"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7855"/>
                </a:moveTo>
                <a:cubicBezTo>
                  <a:pt x="6653" y="7855"/>
                  <a:pt x="6873" y="7635"/>
                  <a:pt x="6873" y="7364"/>
                </a:cubicBezTo>
                <a:cubicBezTo>
                  <a:pt x="6873" y="7092"/>
                  <a:pt x="6653" y="6873"/>
                  <a:pt x="6382" y="6873"/>
                </a:cubicBezTo>
                <a:cubicBezTo>
                  <a:pt x="6111" y="6873"/>
                  <a:pt x="5891" y="7092"/>
                  <a:pt x="5891" y="7364"/>
                </a:cubicBezTo>
                <a:cubicBezTo>
                  <a:pt x="5891" y="7635"/>
                  <a:pt x="6111" y="7855"/>
                  <a:pt x="6382" y="7855"/>
                </a:cubicBezTo>
                <a:moveTo>
                  <a:pt x="6873" y="10800"/>
                </a:moveTo>
                <a:lnTo>
                  <a:pt x="10800" y="10800"/>
                </a:lnTo>
                <a:lnTo>
                  <a:pt x="10800" y="13746"/>
                </a:lnTo>
                <a:lnTo>
                  <a:pt x="6873" y="13746"/>
                </a:lnTo>
                <a:cubicBezTo>
                  <a:pt x="6873" y="13746"/>
                  <a:pt x="6873" y="10800"/>
                  <a:pt x="6873" y="10800"/>
                </a:cubicBezTo>
                <a:close/>
                <a:moveTo>
                  <a:pt x="6382" y="14727"/>
                </a:moveTo>
                <a:lnTo>
                  <a:pt x="11291" y="14727"/>
                </a:lnTo>
                <a:cubicBezTo>
                  <a:pt x="11562" y="14727"/>
                  <a:pt x="11782" y="14508"/>
                  <a:pt x="11782" y="14236"/>
                </a:cubicBezTo>
                <a:lnTo>
                  <a:pt x="11782" y="10309"/>
                </a:lnTo>
                <a:cubicBezTo>
                  <a:pt x="11782" y="10038"/>
                  <a:pt x="11562" y="9818"/>
                  <a:pt x="11291" y="9818"/>
                </a:cubicBezTo>
                <a:lnTo>
                  <a:pt x="6382" y="9818"/>
                </a:lnTo>
                <a:cubicBezTo>
                  <a:pt x="6111" y="9818"/>
                  <a:pt x="5891" y="10038"/>
                  <a:pt x="5891" y="10309"/>
                </a:cubicBezTo>
                <a:lnTo>
                  <a:pt x="5891" y="14236"/>
                </a:lnTo>
                <a:cubicBezTo>
                  <a:pt x="5891" y="14508"/>
                  <a:pt x="6111" y="14727"/>
                  <a:pt x="6382" y="14727"/>
                </a:cubicBezTo>
                <a:moveTo>
                  <a:pt x="8345" y="7855"/>
                </a:moveTo>
                <a:cubicBezTo>
                  <a:pt x="8616" y="7855"/>
                  <a:pt x="8836" y="7635"/>
                  <a:pt x="8836" y="7364"/>
                </a:cubicBezTo>
                <a:cubicBezTo>
                  <a:pt x="8836" y="7092"/>
                  <a:pt x="8616" y="6873"/>
                  <a:pt x="8345" y="6873"/>
                </a:cubicBezTo>
                <a:cubicBezTo>
                  <a:pt x="8075" y="6873"/>
                  <a:pt x="7855" y="7092"/>
                  <a:pt x="7855" y="7364"/>
                </a:cubicBezTo>
                <a:cubicBezTo>
                  <a:pt x="7855" y="7635"/>
                  <a:pt x="8075" y="7855"/>
                  <a:pt x="8345" y="7855"/>
                </a:cubicBezTo>
                <a:moveTo>
                  <a:pt x="20618" y="20618"/>
                </a:moveTo>
                <a:lnTo>
                  <a:pt x="2945" y="20618"/>
                </a:lnTo>
                <a:cubicBezTo>
                  <a:pt x="1861" y="20618"/>
                  <a:pt x="982" y="19739"/>
                  <a:pt x="982" y="18655"/>
                </a:cubicBezTo>
                <a:lnTo>
                  <a:pt x="982" y="7855"/>
                </a:lnTo>
                <a:lnTo>
                  <a:pt x="2945" y="7855"/>
                </a:lnTo>
                <a:lnTo>
                  <a:pt x="2945" y="18164"/>
                </a:lnTo>
                <a:cubicBezTo>
                  <a:pt x="2945" y="18435"/>
                  <a:pt x="3166" y="18655"/>
                  <a:pt x="3436" y="18655"/>
                </a:cubicBezTo>
                <a:cubicBezTo>
                  <a:pt x="3707" y="18655"/>
                  <a:pt x="3927" y="18435"/>
                  <a:pt x="3927" y="18164"/>
                </a:cubicBezTo>
                <a:lnTo>
                  <a:pt x="3927" y="4909"/>
                </a:lnTo>
                <a:lnTo>
                  <a:pt x="20618" y="4909"/>
                </a:lnTo>
                <a:cubicBezTo>
                  <a:pt x="20618" y="4909"/>
                  <a:pt x="20618" y="20618"/>
                  <a:pt x="20618" y="20618"/>
                </a:cubicBezTo>
                <a:close/>
                <a:moveTo>
                  <a:pt x="20618" y="3927"/>
                </a:moveTo>
                <a:lnTo>
                  <a:pt x="3927" y="3927"/>
                </a:lnTo>
                <a:cubicBezTo>
                  <a:pt x="3385" y="3927"/>
                  <a:pt x="2945" y="4367"/>
                  <a:pt x="2945" y="4909"/>
                </a:cubicBezTo>
                <a:lnTo>
                  <a:pt x="2945" y="6873"/>
                </a:lnTo>
                <a:lnTo>
                  <a:pt x="982" y="6873"/>
                </a:lnTo>
                <a:cubicBezTo>
                  <a:pt x="440" y="6873"/>
                  <a:pt x="0" y="7313"/>
                  <a:pt x="0" y="7855"/>
                </a:cubicBezTo>
                <a:lnTo>
                  <a:pt x="0" y="18655"/>
                </a:lnTo>
                <a:cubicBezTo>
                  <a:pt x="0" y="20282"/>
                  <a:pt x="1319" y="21600"/>
                  <a:pt x="2945" y="21600"/>
                </a:cubicBezTo>
                <a:lnTo>
                  <a:pt x="20618" y="21600"/>
                </a:lnTo>
                <a:cubicBezTo>
                  <a:pt x="21160" y="21600"/>
                  <a:pt x="21600" y="21160"/>
                  <a:pt x="21600" y="20618"/>
                </a:cubicBezTo>
                <a:lnTo>
                  <a:pt x="21600" y="4909"/>
                </a:lnTo>
                <a:cubicBezTo>
                  <a:pt x="21600" y="4367"/>
                  <a:pt x="21160" y="3927"/>
                  <a:pt x="20618" y="3927"/>
                </a:cubicBezTo>
                <a:moveTo>
                  <a:pt x="6382" y="16691"/>
                </a:moveTo>
                <a:lnTo>
                  <a:pt x="18164" y="16691"/>
                </a:lnTo>
                <a:cubicBezTo>
                  <a:pt x="18434" y="16691"/>
                  <a:pt x="18655" y="16472"/>
                  <a:pt x="18655" y="16200"/>
                </a:cubicBezTo>
                <a:cubicBezTo>
                  <a:pt x="18655" y="15929"/>
                  <a:pt x="18434" y="15710"/>
                  <a:pt x="18164" y="15710"/>
                </a:cubicBezTo>
                <a:lnTo>
                  <a:pt x="6382" y="15710"/>
                </a:lnTo>
                <a:cubicBezTo>
                  <a:pt x="6111" y="15710"/>
                  <a:pt x="5891" y="15929"/>
                  <a:pt x="5891" y="16200"/>
                </a:cubicBezTo>
                <a:cubicBezTo>
                  <a:pt x="5891" y="16472"/>
                  <a:pt x="6111" y="16691"/>
                  <a:pt x="6382" y="16691"/>
                </a:cubicBezTo>
                <a:moveTo>
                  <a:pt x="10309" y="7855"/>
                </a:moveTo>
                <a:lnTo>
                  <a:pt x="14236" y="7855"/>
                </a:lnTo>
                <a:cubicBezTo>
                  <a:pt x="14507" y="7855"/>
                  <a:pt x="14727" y="7635"/>
                  <a:pt x="14727" y="7364"/>
                </a:cubicBezTo>
                <a:cubicBezTo>
                  <a:pt x="14727" y="7092"/>
                  <a:pt x="14507" y="6873"/>
                  <a:pt x="14236" y="6873"/>
                </a:cubicBezTo>
                <a:lnTo>
                  <a:pt x="10309" y="6873"/>
                </a:lnTo>
                <a:cubicBezTo>
                  <a:pt x="10038" y="6873"/>
                  <a:pt x="9818" y="7092"/>
                  <a:pt x="9818" y="7364"/>
                </a:cubicBezTo>
                <a:cubicBezTo>
                  <a:pt x="9818" y="7635"/>
                  <a:pt x="10038" y="7855"/>
                  <a:pt x="10309" y="7855"/>
                </a:cubicBezTo>
                <a:moveTo>
                  <a:pt x="6382" y="18655"/>
                </a:moveTo>
                <a:lnTo>
                  <a:pt x="18164" y="18655"/>
                </a:lnTo>
                <a:cubicBezTo>
                  <a:pt x="18434" y="18655"/>
                  <a:pt x="18655" y="18435"/>
                  <a:pt x="18655" y="18164"/>
                </a:cubicBezTo>
                <a:cubicBezTo>
                  <a:pt x="18655" y="17893"/>
                  <a:pt x="18434" y="17673"/>
                  <a:pt x="18164" y="17673"/>
                </a:cubicBezTo>
                <a:lnTo>
                  <a:pt x="6382" y="17673"/>
                </a:lnTo>
                <a:cubicBezTo>
                  <a:pt x="6111" y="17673"/>
                  <a:pt x="5891" y="17893"/>
                  <a:pt x="5891" y="18164"/>
                </a:cubicBezTo>
                <a:cubicBezTo>
                  <a:pt x="5891" y="18435"/>
                  <a:pt x="6111" y="18655"/>
                  <a:pt x="6382" y="18655"/>
                </a:cubicBezTo>
                <a:moveTo>
                  <a:pt x="4909" y="2945"/>
                </a:moveTo>
                <a:lnTo>
                  <a:pt x="20127" y="2945"/>
                </a:lnTo>
                <a:cubicBezTo>
                  <a:pt x="20398" y="2945"/>
                  <a:pt x="20618" y="2726"/>
                  <a:pt x="20618" y="2455"/>
                </a:cubicBezTo>
                <a:cubicBezTo>
                  <a:pt x="20618" y="2184"/>
                  <a:pt x="20398" y="1964"/>
                  <a:pt x="20127" y="1964"/>
                </a:cubicBezTo>
                <a:lnTo>
                  <a:pt x="4909" y="1964"/>
                </a:lnTo>
                <a:cubicBezTo>
                  <a:pt x="4638" y="1964"/>
                  <a:pt x="4418" y="2184"/>
                  <a:pt x="4418" y="2455"/>
                </a:cubicBezTo>
                <a:cubicBezTo>
                  <a:pt x="4418" y="2726"/>
                  <a:pt x="4638" y="2945"/>
                  <a:pt x="4909" y="2945"/>
                </a:cubicBezTo>
                <a:moveTo>
                  <a:pt x="18164" y="11783"/>
                </a:moveTo>
                <a:lnTo>
                  <a:pt x="14236" y="11783"/>
                </a:lnTo>
                <a:cubicBezTo>
                  <a:pt x="13966" y="11783"/>
                  <a:pt x="13745" y="12001"/>
                  <a:pt x="13745" y="12273"/>
                </a:cubicBezTo>
                <a:cubicBezTo>
                  <a:pt x="13745" y="12544"/>
                  <a:pt x="13966" y="12764"/>
                  <a:pt x="14236" y="12764"/>
                </a:cubicBezTo>
                <a:lnTo>
                  <a:pt x="18164" y="12764"/>
                </a:lnTo>
                <a:cubicBezTo>
                  <a:pt x="18434" y="12764"/>
                  <a:pt x="18655" y="12544"/>
                  <a:pt x="18655" y="12273"/>
                </a:cubicBezTo>
                <a:cubicBezTo>
                  <a:pt x="18655" y="12001"/>
                  <a:pt x="18434" y="11783"/>
                  <a:pt x="18164" y="11783"/>
                </a:cubicBezTo>
                <a:moveTo>
                  <a:pt x="6382" y="982"/>
                </a:moveTo>
                <a:lnTo>
                  <a:pt x="19145" y="982"/>
                </a:lnTo>
                <a:cubicBezTo>
                  <a:pt x="19416" y="982"/>
                  <a:pt x="19636" y="762"/>
                  <a:pt x="19636" y="491"/>
                </a:cubicBezTo>
                <a:cubicBezTo>
                  <a:pt x="19636" y="220"/>
                  <a:pt x="19416" y="0"/>
                  <a:pt x="19145" y="0"/>
                </a:cubicBezTo>
                <a:lnTo>
                  <a:pt x="6382" y="0"/>
                </a:lnTo>
                <a:cubicBezTo>
                  <a:pt x="6111" y="0"/>
                  <a:pt x="5891" y="220"/>
                  <a:pt x="5891" y="491"/>
                </a:cubicBezTo>
                <a:cubicBezTo>
                  <a:pt x="5891" y="762"/>
                  <a:pt x="6111" y="982"/>
                  <a:pt x="6382" y="982"/>
                </a:cubicBezTo>
                <a:moveTo>
                  <a:pt x="18164" y="13746"/>
                </a:moveTo>
                <a:lnTo>
                  <a:pt x="14236" y="13746"/>
                </a:lnTo>
                <a:cubicBezTo>
                  <a:pt x="13966" y="13746"/>
                  <a:pt x="13745" y="13965"/>
                  <a:pt x="13745" y="14236"/>
                </a:cubicBezTo>
                <a:cubicBezTo>
                  <a:pt x="13745" y="14508"/>
                  <a:pt x="13966" y="14727"/>
                  <a:pt x="14236" y="14727"/>
                </a:cubicBezTo>
                <a:lnTo>
                  <a:pt x="18164" y="14727"/>
                </a:lnTo>
                <a:cubicBezTo>
                  <a:pt x="18434" y="14727"/>
                  <a:pt x="18655" y="14508"/>
                  <a:pt x="18655" y="14236"/>
                </a:cubicBezTo>
                <a:cubicBezTo>
                  <a:pt x="18655" y="13965"/>
                  <a:pt x="18434" y="13746"/>
                  <a:pt x="18164" y="13746"/>
                </a:cubicBezTo>
                <a:moveTo>
                  <a:pt x="16200" y="7855"/>
                </a:moveTo>
                <a:cubicBezTo>
                  <a:pt x="16471" y="7855"/>
                  <a:pt x="16691" y="7635"/>
                  <a:pt x="16691" y="7364"/>
                </a:cubicBezTo>
                <a:cubicBezTo>
                  <a:pt x="16691" y="7092"/>
                  <a:pt x="16471" y="6873"/>
                  <a:pt x="16200" y="6873"/>
                </a:cubicBezTo>
                <a:cubicBezTo>
                  <a:pt x="15929" y="6873"/>
                  <a:pt x="15709" y="7092"/>
                  <a:pt x="15709" y="7364"/>
                </a:cubicBezTo>
                <a:cubicBezTo>
                  <a:pt x="15709" y="7635"/>
                  <a:pt x="15929" y="7855"/>
                  <a:pt x="16200" y="7855"/>
                </a:cubicBezTo>
                <a:moveTo>
                  <a:pt x="18164" y="7855"/>
                </a:moveTo>
                <a:cubicBezTo>
                  <a:pt x="18434" y="7855"/>
                  <a:pt x="18655" y="7635"/>
                  <a:pt x="18655" y="7364"/>
                </a:cubicBezTo>
                <a:cubicBezTo>
                  <a:pt x="18655" y="7092"/>
                  <a:pt x="18434" y="6873"/>
                  <a:pt x="18164" y="6873"/>
                </a:cubicBezTo>
                <a:cubicBezTo>
                  <a:pt x="17893" y="6873"/>
                  <a:pt x="17673" y="7092"/>
                  <a:pt x="17673" y="7364"/>
                </a:cubicBezTo>
                <a:cubicBezTo>
                  <a:pt x="17673" y="7635"/>
                  <a:pt x="17893" y="7855"/>
                  <a:pt x="18164" y="7855"/>
                </a:cubicBezTo>
                <a:moveTo>
                  <a:pt x="18164" y="9818"/>
                </a:moveTo>
                <a:lnTo>
                  <a:pt x="14236" y="9818"/>
                </a:lnTo>
                <a:cubicBezTo>
                  <a:pt x="13966" y="9818"/>
                  <a:pt x="13745" y="10038"/>
                  <a:pt x="13745" y="10309"/>
                </a:cubicBezTo>
                <a:cubicBezTo>
                  <a:pt x="13745" y="10581"/>
                  <a:pt x="13966" y="10800"/>
                  <a:pt x="14236" y="10800"/>
                </a:cubicBezTo>
                <a:lnTo>
                  <a:pt x="18164" y="10800"/>
                </a:lnTo>
                <a:cubicBezTo>
                  <a:pt x="18434" y="10800"/>
                  <a:pt x="18655" y="10581"/>
                  <a:pt x="18655" y="10309"/>
                </a:cubicBezTo>
                <a:cubicBezTo>
                  <a:pt x="18655" y="10038"/>
                  <a:pt x="18434" y="9818"/>
                  <a:pt x="18164"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0" name="Shape 2600"/>
          <p:cNvSpPr/>
          <p:nvPr/>
        </p:nvSpPr>
        <p:spPr>
          <a:xfrm>
            <a:off x="6688399"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11291" y="10309"/>
                </a:lnTo>
                <a:lnTo>
                  <a:pt x="11291" y="5401"/>
                </a:lnTo>
                <a:cubicBezTo>
                  <a:pt x="11291" y="5129"/>
                  <a:pt x="11071" y="4909"/>
                  <a:pt x="10800" y="4909"/>
                </a:cubicBezTo>
                <a:cubicBezTo>
                  <a:pt x="10529" y="4909"/>
                  <a:pt x="10309" y="5129"/>
                  <a:pt x="10309" y="5401"/>
                </a:cubicBezTo>
                <a:lnTo>
                  <a:pt x="10309" y="10309"/>
                </a:lnTo>
                <a:lnTo>
                  <a:pt x="5400" y="10309"/>
                </a:lnTo>
                <a:cubicBezTo>
                  <a:pt x="5129" y="10309"/>
                  <a:pt x="4909" y="10529"/>
                  <a:pt x="4909" y="10800"/>
                </a:cubicBezTo>
                <a:cubicBezTo>
                  <a:pt x="4909" y="11072"/>
                  <a:pt x="5129" y="11292"/>
                  <a:pt x="5400" y="11292"/>
                </a:cubicBezTo>
                <a:lnTo>
                  <a:pt x="10309" y="11292"/>
                </a:lnTo>
                <a:lnTo>
                  <a:pt x="10309" y="16200"/>
                </a:lnTo>
                <a:cubicBezTo>
                  <a:pt x="10309" y="16472"/>
                  <a:pt x="10529" y="16691"/>
                  <a:pt x="10800" y="16691"/>
                </a:cubicBezTo>
                <a:cubicBezTo>
                  <a:pt x="11071" y="16691"/>
                  <a:pt x="11291" y="16472"/>
                  <a:pt x="11291" y="16200"/>
                </a:cubicBezTo>
                <a:lnTo>
                  <a:pt x="11291" y="11292"/>
                </a:ln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1" name="Shape 2601"/>
          <p:cNvSpPr/>
          <p:nvPr/>
        </p:nvSpPr>
        <p:spPr>
          <a:xfrm>
            <a:off x="7088345"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5400" y="10309"/>
                </a:lnTo>
                <a:cubicBezTo>
                  <a:pt x="5129" y="10309"/>
                  <a:pt x="4909" y="10529"/>
                  <a:pt x="4909" y="10800"/>
                </a:cubicBezTo>
                <a:cubicBezTo>
                  <a:pt x="4909" y="11072"/>
                  <a:pt x="5129" y="11292"/>
                  <a:pt x="5400" y="11292"/>
                </a:cubicBez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2" name="Shape 2602"/>
          <p:cNvSpPr/>
          <p:nvPr/>
        </p:nvSpPr>
        <p:spPr>
          <a:xfrm>
            <a:off x="7488291"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69"/>
                  <a:pt x="8617" y="4800"/>
                  <a:pt x="8345" y="4800"/>
                </a:cubicBezTo>
                <a:lnTo>
                  <a:pt x="5400" y="4800"/>
                </a:lnTo>
                <a:cubicBezTo>
                  <a:pt x="5129" y="4800"/>
                  <a:pt x="4909" y="5069"/>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69"/>
                  <a:pt x="18926" y="16801"/>
                  <a:pt x="18655" y="16801"/>
                </a:cubicBezTo>
                <a:lnTo>
                  <a:pt x="18655" y="3601"/>
                </a:lnTo>
                <a:lnTo>
                  <a:pt x="20618" y="3601"/>
                </a:lnTo>
                <a:cubicBezTo>
                  <a:pt x="20618" y="3601"/>
                  <a:pt x="20618" y="20400"/>
                  <a:pt x="20618" y="20400"/>
                </a:cubicBezTo>
                <a:close/>
                <a:moveTo>
                  <a:pt x="17673" y="16801"/>
                </a:moveTo>
                <a:cubicBezTo>
                  <a:pt x="17401" y="16801"/>
                  <a:pt x="17182" y="17069"/>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69"/>
                  <a:pt x="4199" y="16801"/>
                  <a:pt x="3927" y="16801"/>
                </a:cubicBezTo>
                <a:lnTo>
                  <a:pt x="3927" y="3601"/>
                </a:lnTo>
                <a:lnTo>
                  <a:pt x="17673" y="3601"/>
                </a:lnTo>
                <a:cubicBezTo>
                  <a:pt x="17673" y="3601"/>
                  <a:pt x="17673" y="16801"/>
                  <a:pt x="17673" y="16801"/>
                </a:cubicBezTo>
                <a:close/>
                <a:moveTo>
                  <a:pt x="2945" y="16801"/>
                </a:moveTo>
                <a:cubicBezTo>
                  <a:pt x="2674" y="16801"/>
                  <a:pt x="2455" y="17069"/>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69"/>
                  <a:pt x="6653" y="7200"/>
                  <a:pt x="6382" y="7200"/>
                </a:cubicBezTo>
                <a:lnTo>
                  <a:pt x="5400" y="7200"/>
                </a:lnTo>
                <a:cubicBezTo>
                  <a:pt x="5129" y="7200"/>
                  <a:pt x="4909" y="7469"/>
                  <a:pt x="4909" y="7800"/>
                </a:cubicBezTo>
                <a:cubicBezTo>
                  <a:pt x="4909" y="8132"/>
                  <a:pt x="5129" y="8400"/>
                  <a:pt x="5400"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3" name="Shape 2603"/>
          <p:cNvSpPr/>
          <p:nvPr/>
        </p:nvSpPr>
        <p:spPr>
          <a:xfrm>
            <a:off x="7888237"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4" name="Shape 2604"/>
          <p:cNvSpPr/>
          <p:nvPr/>
        </p:nvSpPr>
        <p:spPr>
          <a:xfrm>
            <a:off x="828818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17673" y="9600"/>
                </a:lnTo>
                <a:lnTo>
                  <a:pt x="17673" y="8400"/>
                </a:lnTo>
                <a:cubicBezTo>
                  <a:pt x="17673" y="7738"/>
                  <a:pt x="17233" y="7200"/>
                  <a:pt x="16691" y="7200"/>
                </a:cubicBezTo>
                <a:lnTo>
                  <a:pt x="14727" y="7200"/>
                </a:lnTo>
                <a:cubicBezTo>
                  <a:pt x="14186" y="7200"/>
                  <a:pt x="13745" y="7738"/>
                  <a:pt x="13745" y="8400"/>
                </a:cubicBezTo>
                <a:lnTo>
                  <a:pt x="13745" y="9600"/>
                </a:lnTo>
                <a:lnTo>
                  <a:pt x="7855" y="9600"/>
                </a:lnTo>
                <a:lnTo>
                  <a:pt x="7855" y="8400"/>
                </a:lnTo>
                <a:cubicBezTo>
                  <a:pt x="7855" y="7738"/>
                  <a:pt x="7414" y="7200"/>
                  <a:pt x="6873" y="7200"/>
                </a:cubicBezTo>
                <a:lnTo>
                  <a:pt x="4909" y="7200"/>
                </a:lnTo>
                <a:cubicBezTo>
                  <a:pt x="4367" y="7200"/>
                  <a:pt x="3927" y="7738"/>
                  <a:pt x="3927" y="8400"/>
                </a:cubicBezTo>
                <a:lnTo>
                  <a:pt x="3927" y="9600"/>
                </a:lnTo>
                <a:lnTo>
                  <a:pt x="982" y="9600"/>
                </a:lnTo>
                <a:lnTo>
                  <a:pt x="982" y="3601"/>
                </a:lnTo>
                <a:lnTo>
                  <a:pt x="20618" y="3601"/>
                </a:lnTo>
                <a:cubicBezTo>
                  <a:pt x="20618" y="3601"/>
                  <a:pt x="20618" y="9600"/>
                  <a:pt x="20618" y="9600"/>
                </a:cubicBezTo>
                <a:close/>
                <a:moveTo>
                  <a:pt x="14727" y="8400"/>
                </a:moveTo>
                <a:lnTo>
                  <a:pt x="16691" y="8400"/>
                </a:lnTo>
                <a:lnTo>
                  <a:pt x="16691" y="12001"/>
                </a:lnTo>
                <a:lnTo>
                  <a:pt x="14727" y="12001"/>
                </a:lnTo>
                <a:cubicBezTo>
                  <a:pt x="14727" y="12001"/>
                  <a:pt x="14727" y="8400"/>
                  <a:pt x="14727" y="8400"/>
                </a:cubicBezTo>
                <a:close/>
                <a:moveTo>
                  <a:pt x="4909" y="8400"/>
                </a:moveTo>
                <a:lnTo>
                  <a:pt x="6873" y="8400"/>
                </a:lnTo>
                <a:lnTo>
                  <a:pt x="6873" y="12001"/>
                </a:lnTo>
                <a:lnTo>
                  <a:pt x="4909" y="12001"/>
                </a:lnTo>
                <a:cubicBezTo>
                  <a:pt x="4909" y="12001"/>
                  <a:pt x="4909" y="8400"/>
                  <a:pt x="4909" y="8400"/>
                </a:cubicBezTo>
                <a:close/>
                <a:moveTo>
                  <a:pt x="19636" y="20400"/>
                </a:moveTo>
                <a:lnTo>
                  <a:pt x="1964" y="20400"/>
                </a:lnTo>
                <a:lnTo>
                  <a:pt x="1964" y="10800"/>
                </a:lnTo>
                <a:lnTo>
                  <a:pt x="3927" y="10800"/>
                </a:lnTo>
                <a:lnTo>
                  <a:pt x="3927" y="12001"/>
                </a:lnTo>
                <a:cubicBezTo>
                  <a:pt x="3927" y="12662"/>
                  <a:pt x="4367" y="13200"/>
                  <a:pt x="4909" y="13200"/>
                </a:cubicBezTo>
                <a:lnTo>
                  <a:pt x="6873" y="13200"/>
                </a:lnTo>
                <a:cubicBezTo>
                  <a:pt x="7414" y="13200"/>
                  <a:pt x="7855" y="12662"/>
                  <a:pt x="7855" y="12001"/>
                </a:cubicBezTo>
                <a:lnTo>
                  <a:pt x="7855" y="10800"/>
                </a:lnTo>
                <a:lnTo>
                  <a:pt x="13745" y="10800"/>
                </a:lnTo>
                <a:lnTo>
                  <a:pt x="13745" y="12001"/>
                </a:lnTo>
                <a:cubicBezTo>
                  <a:pt x="13745" y="12662"/>
                  <a:pt x="14186" y="13200"/>
                  <a:pt x="14727" y="13200"/>
                </a:cubicBezTo>
                <a:lnTo>
                  <a:pt x="16691" y="13200"/>
                </a:lnTo>
                <a:cubicBezTo>
                  <a:pt x="17233" y="13200"/>
                  <a:pt x="17673" y="12662"/>
                  <a:pt x="17673" y="12001"/>
                </a:cubicBezTo>
                <a:lnTo>
                  <a:pt x="17673" y="10800"/>
                </a:lnTo>
                <a:lnTo>
                  <a:pt x="19636" y="10800"/>
                </a:lnTo>
                <a:cubicBezTo>
                  <a:pt x="19636" y="10800"/>
                  <a:pt x="19636" y="20400"/>
                  <a:pt x="19636" y="20400"/>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40" y="2400"/>
                  <a:pt x="0" y="2938"/>
                  <a:pt x="0" y="3601"/>
                </a:cubicBezTo>
                <a:lnTo>
                  <a:pt x="0" y="9600"/>
                </a:lnTo>
                <a:cubicBezTo>
                  <a:pt x="0" y="10262"/>
                  <a:pt x="440" y="10800"/>
                  <a:pt x="982" y="10800"/>
                </a:cubicBezTo>
                <a:lnTo>
                  <a:pt x="982" y="20400"/>
                </a:lnTo>
                <a:cubicBezTo>
                  <a:pt x="982" y="21062"/>
                  <a:pt x="1422" y="21600"/>
                  <a:pt x="1964" y="21600"/>
                </a:cubicBezTo>
                <a:lnTo>
                  <a:pt x="19636" y="21600"/>
                </a:lnTo>
                <a:cubicBezTo>
                  <a:pt x="20178" y="21600"/>
                  <a:pt x="20618" y="21062"/>
                  <a:pt x="20618" y="20400"/>
                </a:cubicBezTo>
                <a:lnTo>
                  <a:pt x="20618" y="10800"/>
                </a:lnTo>
                <a:cubicBezTo>
                  <a:pt x="21160" y="10800"/>
                  <a:pt x="21600" y="10262"/>
                  <a:pt x="21600" y="9600"/>
                </a:cubicBezTo>
                <a:lnTo>
                  <a:pt x="21600" y="3601"/>
                </a:lnTo>
                <a:cubicBezTo>
                  <a:pt x="21600" y="2938"/>
                  <a:pt x="21160" y="2400"/>
                  <a:pt x="20618" y="2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5" name="Shape 2605"/>
          <p:cNvSpPr/>
          <p:nvPr/>
        </p:nvSpPr>
        <p:spPr>
          <a:xfrm>
            <a:off x="4688669" y="2631983"/>
            <a:ext cx="209595" cy="20958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6" name="Shape 2606"/>
          <p:cNvSpPr/>
          <p:nvPr/>
        </p:nvSpPr>
        <p:spPr>
          <a:xfrm>
            <a:off x="5088616"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309"/>
                </a:moveTo>
                <a:cubicBezTo>
                  <a:pt x="10800" y="10581"/>
                  <a:pt x="10580" y="10800"/>
                  <a:pt x="10309" y="10800"/>
                </a:cubicBezTo>
                <a:cubicBezTo>
                  <a:pt x="10038" y="10800"/>
                  <a:pt x="9818" y="10581"/>
                  <a:pt x="9818" y="10309"/>
                </a:cubicBezTo>
                <a:cubicBezTo>
                  <a:pt x="9818" y="10038"/>
                  <a:pt x="10038" y="9818"/>
                  <a:pt x="10309" y="9818"/>
                </a:cubicBezTo>
                <a:cubicBezTo>
                  <a:pt x="10580" y="9818"/>
                  <a:pt x="10800" y="10038"/>
                  <a:pt x="10800" y="10309"/>
                </a:cubicBezTo>
                <a:moveTo>
                  <a:pt x="20618" y="20618"/>
                </a:moveTo>
                <a:lnTo>
                  <a:pt x="18655" y="20618"/>
                </a:lnTo>
                <a:lnTo>
                  <a:pt x="18655" y="19145"/>
                </a:lnTo>
                <a:cubicBezTo>
                  <a:pt x="18655" y="18875"/>
                  <a:pt x="18434" y="18655"/>
                  <a:pt x="18164" y="18655"/>
                </a:cubicBezTo>
                <a:lnTo>
                  <a:pt x="16691" y="18655"/>
                </a:lnTo>
                <a:lnTo>
                  <a:pt x="16691" y="17182"/>
                </a:lnTo>
                <a:cubicBezTo>
                  <a:pt x="16691" y="16911"/>
                  <a:pt x="16471" y="16691"/>
                  <a:pt x="16200" y="16691"/>
                </a:cubicBezTo>
                <a:lnTo>
                  <a:pt x="14441" y="16691"/>
                </a:lnTo>
                <a:lnTo>
                  <a:pt x="12850" y="15086"/>
                </a:lnTo>
                <a:cubicBezTo>
                  <a:pt x="12761" y="14997"/>
                  <a:pt x="12639" y="14943"/>
                  <a:pt x="12503" y="14943"/>
                </a:cubicBezTo>
                <a:cubicBezTo>
                  <a:pt x="12356" y="14943"/>
                  <a:pt x="12228" y="15010"/>
                  <a:pt x="12138" y="15113"/>
                </a:cubicBezTo>
                <a:lnTo>
                  <a:pt x="11833" y="15418"/>
                </a:lnTo>
                <a:cubicBezTo>
                  <a:pt x="11450" y="15801"/>
                  <a:pt x="10829" y="15801"/>
                  <a:pt x="10445" y="15418"/>
                </a:cubicBezTo>
                <a:lnTo>
                  <a:pt x="6167" y="11139"/>
                </a:lnTo>
                <a:cubicBezTo>
                  <a:pt x="5784" y="10756"/>
                  <a:pt x="5784" y="10136"/>
                  <a:pt x="6167" y="9752"/>
                </a:cubicBezTo>
                <a:lnTo>
                  <a:pt x="9752" y="6167"/>
                </a:lnTo>
                <a:cubicBezTo>
                  <a:pt x="10135" y="5784"/>
                  <a:pt x="10756" y="5784"/>
                  <a:pt x="11139" y="6167"/>
                </a:cubicBezTo>
                <a:lnTo>
                  <a:pt x="11761" y="6789"/>
                </a:lnTo>
                <a:cubicBezTo>
                  <a:pt x="11699" y="7609"/>
                  <a:pt x="11457" y="8377"/>
                  <a:pt x="11069" y="9054"/>
                </a:cubicBezTo>
                <a:cubicBezTo>
                  <a:pt x="10847" y="8919"/>
                  <a:pt x="10588" y="8837"/>
                  <a:pt x="10309" y="8837"/>
                </a:cubicBezTo>
                <a:cubicBezTo>
                  <a:pt x="9496" y="8837"/>
                  <a:pt x="8836" y="9496"/>
                  <a:pt x="8836" y="10309"/>
                </a:cubicBezTo>
                <a:cubicBezTo>
                  <a:pt x="8836" y="11123"/>
                  <a:pt x="9496" y="11782"/>
                  <a:pt x="10309" y="11782"/>
                </a:cubicBezTo>
                <a:cubicBezTo>
                  <a:pt x="11123" y="11782"/>
                  <a:pt x="11782" y="11123"/>
                  <a:pt x="11782" y="10309"/>
                </a:cubicBezTo>
                <a:cubicBezTo>
                  <a:pt x="11782" y="10156"/>
                  <a:pt x="11752" y="10012"/>
                  <a:pt x="11709" y="9873"/>
                </a:cubicBezTo>
                <a:cubicBezTo>
                  <a:pt x="12146" y="9210"/>
                  <a:pt x="12466" y="8463"/>
                  <a:pt x="12631" y="7659"/>
                </a:cubicBezTo>
                <a:lnTo>
                  <a:pt x="15417" y="10446"/>
                </a:lnTo>
                <a:cubicBezTo>
                  <a:pt x="15800" y="10829"/>
                  <a:pt x="15800" y="11450"/>
                  <a:pt x="15417" y="11833"/>
                </a:cubicBezTo>
                <a:lnTo>
                  <a:pt x="15128" y="12122"/>
                </a:lnTo>
                <a:cubicBezTo>
                  <a:pt x="15025" y="12213"/>
                  <a:pt x="14957" y="12341"/>
                  <a:pt x="14957" y="12487"/>
                </a:cubicBezTo>
                <a:cubicBezTo>
                  <a:pt x="14957" y="12623"/>
                  <a:pt x="15013" y="12746"/>
                  <a:pt x="15101" y="12835"/>
                </a:cubicBezTo>
                <a:lnTo>
                  <a:pt x="20618" y="18367"/>
                </a:lnTo>
                <a:cubicBezTo>
                  <a:pt x="20618" y="18367"/>
                  <a:pt x="20618" y="20618"/>
                  <a:pt x="20618" y="20618"/>
                </a:cubicBezTo>
                <a:close/>
                <a:moveTo>
                  <a:pt x="5343" y="11673"/>
                </a:moveTo>
                <a:cubicBezTo>
                  <a:pt x="2859" y="11190"/>
                  <a:pt x="982" y="9008"/>
                  <a:pt x="982" y="6383"/>
                </a:cubicBezTo>
                <a:cubicBezTo>
                  <a:pt x="982" y="3400"/>
                  <a:pt x="3399" y="982"/>
                  <a:pt x="6382" y="982"/>
                </a:cubicBezTo>
                <a:cubicBezTo>
                  <a:pt x="9011" y="982"/>
                  <a:pt x="11198" y="2862"/>
                  <a:pt x="11681" y="5349"/>
                </a:cubicBezTo>
                <a:cubicBezTo>
                  <a:pt x="10910" y="4719"/>
                  <a:pt x="9777" y="4755"/>
                  <a:pt x="9058" y="5473"/>
                </a:cubicBezTo>
                <a:lnTo>
                  <a:pt x="5474" y="9058"/>
                </a:lnTo>
                <a:cubicBezTo>
                  <a:pt x="4757" y="9775"/>
                  <a:pt x="4719" y="10904"/>
                  <a:pt x="5343" y="11673"/>
                </a:cubicBezTo>
                <a:moveTo>
                  <a:pt x="21456" y="17817"/>
                </a:moveTo>
                <a:lnTo>
                  <a:pt x="16142" y="12488"/>
                </a:lnTo>
                <a:cubicBezTo>
                  <a:pt x="16874" y="11720"/>
                  <a:pt x="16865" y="10507"/>
                  <a:pt x="16111" y="9752"/>
                </a:cubicBezTo>
                <a:lnTo>
                  <a:pt x="12763" y="6404"/>
                </a:lnTo>
                <a:cubicBezTo>
                  <a:pt x="12763" y="6396"/>
                  <a:pt x="12764" y="6389"/>
                  <a:pt x="12764" y="6383"/>
                </a:cubicBezTo>
                <a:cubicBezTo>
                  <a:pt x="12764" y="2857"/>
                  <a:pt x="9907" y="0"/>
                  <a:pt x="6382" y="0"/>
                </a:cubicBezTo>
                <a:cubicBezTo>
                  <a:pt x="2857" y="0"/>
                  <a:pt x="0" y="2857"/>
                  <a:pt x="0" y="6383"/>
                </a:cubicBezTo>
                <a:cubicBezTo>
                  <a:pt x="0" y="9907"/>
                  <a:pt x="2857" y="12764"/>
                  <a:pt x="6382" y="12764"/>
                </a:cubicBezTo>
                <a:cubicBezTo>
                  <a:pt x="6389" y="12764"/>
                  <a:pt x="6396" y="12763"/>
                  <a:pt x="6403" y="12763"/>
                </a:cubicBezTo>
                <a:lnTo>
                  <a:pt x="9752" y="16111"/>
                </a:lnTo>
                <a:cubicBezTo>
                  <a:pt x="10511" y="16870"/>
                  <a:pt x="11735" y="16875"/>
                  <a:pt x="12503" y="16130"/>
                </a:cubicBezTo>
                <a:lnTo>
                  <a:pt x="13889" y="17529"/>
                </a:lnTo>
                <a:cubicBezTo>
                  <a:pt x="13978" y="17618"/>
                  <a:pt x="14101" y="17673"/>
                  <a:pt x="14236" y="17673"/>
                </a:cubicBezTo>
                <a:lnTo>
                  <a:pt x="15709" y="17673"/>
                </a:lnTo>
                <a:lnTo>
                  <a:pt x="15709" y="19145"/>
                </a:lnTo>
                <a:cubicBezTo>
                  <a:pt x="15709" y="19417"/>
                  <a:pt x="15929" y="19636"/>
                  <a:pt x="16200" y="19636"/>
                </a:cubicBezTo>
                <a:lnTo>
                  <a:pt x="17673" y="19636"/>
                </a:lnTo>
                <a:lnTo>
                  <a:pt x="17673" y="21109"/>
                </a:lnTo>
                <a:cubicBezTo>
                  <a:pt x="17673" y="21381"/>
                  <a:pt x="17893" y="21600"/>
                  <a:pt x="18164" y="21600"/>
                </a:cubicBezTo>
                <a:lnTo>
                  <a:pt x="21109" y="21600"/>
                </a:lnTo>
                <a:cubicBezTo>
                  <a:pt x="21380" y="21600"/>
                  <a:pt x="21600" y="21381"/>
                  <a:pt x="21600" y="21109"/>
                </a:cubicBezTo>
                <a:lnTo>
                  <a:pt x="21600" y="18164"/>
                </a:lnTo>
                <a:cubicBezTo>
                  <a:pt x="21600" y="18029"/>
                  <a:pt x="21545" y="17906"/>
                  <a:pt x="21456" y="178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7" name="Shape 2607"/>
          <p:cNvSpPr/>
          <p:nvPr/>
        </p:nvSpPr>
        <p:spPr>
          <a:xfrm>
            <a:off x="5488562"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538"/>
                  <a:pt x="1422" y="18000"/>
                  <a:pt x="1964" y="18000"/>
                </a:cubicBezTo>
                <a:lnTo>
                  <a:pt x="19636" y="18000"/>
                </a:lnTo>
                <a:cubicBezTo>
                  <a:pt x="20178" y="18000"/>
                  <a:pt x="20618" y="18538"/>
                  <a:pt x="20618" y="19200"/>
                </a:cubicBezTo>
                <a:cubicBezTo>
                  <a:pt x="20618" y="19862"/>
                  <a:pt x="20178" y="20400"/>
                  <a:pt x="19636" y="20400"/>
                </a:cubicBezTo>
                <a:moveTo>
                  <a:pt x="19636" y="16800"/>
                </a:moveTo>
                <a:lnTo>
                  <a:pt x="1964" y="16800"/>
                </a:lnTo>
                <a:cubicBezTo>
                  <a:pt x="879" y="16800"/>
                  <a:pt x="0" y="17874"/>
                  <a:pt x="0" y="19200"/>
                </a:cubicBezTo>
                <a:cubicBezTo>
                  <a:pt x="0" y="20526"/>
                  <a:pt x="879" y="21600"/>
                  <a:pt x="1964" y="21600"/>
                </a:cubicBezTo>
                <a:lnTo>
                  <a:pt x="19636" y="21600"/>
                </a:lnTo>
                <a:cubicBezTo>
                  <a:pt x="20721" y="21600"/>
                  <a:pt x="21600" y="20526"/>
                  <a:pt x="21600" y="19200"/>
                </a:cubicBezTo>
                <a:cubicBezTo>
                  <a:pt x="21600" y="17874"/>
                  <a:pt x="20721" y="16800"/>
                  <a:pt x="19636" y="16800"/>
                </a:cubicBezTo>
                <a:moveTo>
                  <a:pt x="1964" y="1200"/>
                </a:moveTo>
                <a:lnTo>
                  <a:pt x="19636" y="1200"/>
                </a:lnTo>
                <a:cubicBezTo>
                  <a:pt x="20178" y="1200"/>
                  <a:pt x="20618" y="1737"/>
                  <a:pt x="20618" y="2399"/>
                </a:cubicBezTo>
                <a:cubicBezTo>
                  <a:pt x="20618" y="3063"/>
                  <a:pt x="20178" y="3599"/>
                  <a:pt x="19636" y="3599"/>
                </a:cubicBezTo>
                <a:lnTo>
                  <a:pt x="1964" y="3599"/>
                </a:lnTo>
                <a:cubicBezTo>
                  <a:pt x="1422" y="3599"/>
                  <a:pt x="982" y="3063"/>
                  <a:pt x="982" y="2399"/>
                </a:cubicBezTo>
                <a:cubicBezTo>
                  <a:pt x="982" y="1737"/>
                  <a:pt x="1422" y="1200"/>
                  <a:pt x="1964" y="1200"/>
                </a:cubicBezTo>
                <a:moveTo>
                  <a:pt x="1964" y="4799"/>
                </a:moveTo>
                <a:lnTo>
                  <a:pt x="19636" y="4799"/>
                </a:lnTo>
                <a:cubicBezTo>
                  <a:pt x="20721" y="4799"/>
                  <a:pt x="21600" y="3725"/>
                  <a:pt x="21600" y="2399"/>
                </a:cubicBezTo>
                <a:cubicBezTo>
                  <a:pt x="21600" y="1074"/>
                  <a:pt x="20721" y="0"/>
                  <a:pt x="19636" y="0"/>
                </a:cubicBezTo>
                <a:lnTo>
                  <a:pt x="1964" y="0"/>
                </a:lnTo>
                <a:cubicBezTo>
                  <a:pt x="879" y="0"/>
                  <a:pt x="0" y="1074"/>
                  <a:pt x="0" y="2399"/>
                </a:cubicBezTo>
                <a:cubicBezTo>
                  <a:pt x="0" y="3725"/>
                  <a:pt x="879" y="4799"/>
                  <a:pt x="1964" y="4799"/>
                </a:cubicBezTo>
                <a:moveTo>
                  <a:pt x="19636" y="12000"/>
                </a:moveTo>
                <a:lnTo>
                  <a:pt x="1964" y="12000"/>
                </a:lnTo>
                <a:cubicBezTo>
                  <a:pt x="1422" y="12000"/>
                  <a:pt x="982" y="11463"/>
                  <a:pt x="982" y="10800"/>
                </a:cubicBezTo>
                <a:cubicBezTo>
                  <a:pt x="982" y="10137"/>
                  <a:pt x="1422" y="9600"/>
                  <a:pt x="1964" y="9600"/>
                </a:cubicBezTo>
                <a:lnTo>
                  <a:pt x="19636" y="9600"/>
                </a:lnTo>
                <a:cubicBezTo>
                  <a:pt x="20178" y="9600"/>
                  <a:pt x="20618" y="10137"/>
                  <a:pt x="20618" y="10800"/>
                </a:cubicBezTo>
                <a:cubicBezTo>
                  <a:pt x="20618" y="11463"/>
                  <a:pt x="20178" y="12000"/>
                  <a:pt x="19636" y="12000"/>
                </a:cubicBezTo>
                <a:moveTo>
                  <a:pt x="19636" y="8400"/>
                </a:moveTo>
                <a:lnTo>
                  <a:pt x="1964" y="8400"/>
                </a:lnTo>
                <a:cubicBezTo>
                  <a:pt x="879" y="8400"/>
                  <a:pt x="0" y="9474"/>
                  <a:pt x="0" y="10800"/>
                </a:cubicBezTo>
                <a:cubicBezTo>
                  <a:pt x="0" y="12125"/>
                  <a:pt x="879" y="13200"/>
                  <a:pt x="1964" y="13200"/>
                </a:cubicBezTo>
                <a:lnTo>
                  <a:pt x="19636" y="13200"/>
                </a:lnTo>
                <a:cubicBezTo>
                  <a:pt x="20721" y="13200"/>
                  <a:pt x="21600" y="12125"/>
                  <a:pt x="21600" y="10800"/>
                </a:cubicBezTo>
                <a:cubicBezTo>
                  <a:pt x="21600" y="9474"/>
                  <a:pt x="20721" y="8400"/>
                  <a:pt x="19636"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8" name="Shape 2608"/>
          <p:cNvSpPr/>
          <p:nvPr/>
        </p:nvSpPr>
        <p:spPr>
          <a:xfrm>
            <a:off x="5888507"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9" name="Shape 2609"/>
          <p:cNvSpPr/>
          <p:nvPr/>
        </p:nvSpPr>
        <p:spPr>
          <a:xfrm>
            <a:off x="6288453"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1109" y="13200"/>
                </a:moveTo>
                <a:lnTo>
                  <a:pt x="5400" y="13200"/>
                </a:lnTo>
                <a:cubicBezTo>
                  <a:pt x="5129" y="13200"/>
                  <a:pt x="4909" y="13469"/>
                  <a:pt x="4909" y="13800"/>
                </a:cubicBezTo>
                <a:cubicBezTo>
                  <a:pt x="4909" y="14132"/>
                  <a:pt x="5129" y="14400"/>
                  <a:pt x="5400" y="14400"/>
                </a:cubicBezTo>
                <a:lnTo>
                  <a:pt x="21109" y="14400"/>
                </a:lnTo>
                <a:cubicBezTo>
                  <a:pt x="21380" y="14400"/>
                  <a:pt x="21600" y="14132"/>
                  <a:pt x="21600" y="13800"/>
                </a:cubicBezTo>
                <a:cubicBezTo>
                  <a:pt x="21600" y="13469"/>
                  <a:pt x="21380" y="13200"/>
                  <a:pt x="21109" y="13200"/>
                </a:cubicBezTo>
                <a:moveTo>
                  <a:pt x="21109" y="7200"/>
                </a:moveTo>
                <a:lnTo>
                  <a:pt x="5400" y="7200"/>
                </a:lnTo>
                <a:cubicBezTo>
                  <a:pt x="5129" y="7200"/>
                  <a:pt x="4909" y="7469"/>
                  <a:pt x="4909" y="7800"/>
                </a:cubicBezTo>
                <a:cubicBezTo>
                  <a:pt x="4909" y="8132"/>
                  <a:pt x="5129" y="8401"/>
                  <a:pt x="5400" y="8401"/>
                </a:cubicBezTo>
                <a:lnTo>
                  <a:pt x="21109" y="8401"/>
                </a:lnTo>
                <a:cubicBezTo>
                  <a:pt x="21380" y="8401"/>
                  <a:pt x="21600" y="8132"/>
                  <a:pt x="21600" y="7800"/>
                </a:cubicBezTo>
                <a:cubicBezTo>
                  <a:pt x="21600" y="7469"/>
                  <a:pt x="21380" y="7200"/>
                  <a:pt x="21109" y="7200"/>
                </a:cubicBezTo>
                <a:moveTo>
                  <a:pt x="1473" y="0"/>
                </a:moveTo>
                <a:cubicBezTo>
                  <a:pt x="659" y="0"/>
                  <a:pt x="0" y="807"/>
                  <a:pt x="0" y="1800"/>
                </a:cubicBezTo>
                <a:cubicBezTo>
                  <a:pt x="0" y="2794"/>
                  <a:pt x="659" y="3600"/>
                  <a:pt x="1473" y="3600"/>
                </a:cubicBezTo>
                <a:cubicBezTo>
                  <a:pt x="2286" y="3600"/>
                  <a:pt x="2945" y="2794"/>
                  <a:pt x="2945" y="1800"/>
                </a:cubicBezTo>
                <a:cubicBezTo>
                  <a:pt x="2945" y="807"/>
                  <a:pt x="2286" y="0"/>
                  <a:pt x="1473" y="0"/>
                </a:cubicBezTo>
                <a:moveTo>
                  <a:pt x="21109" y="19200"/>
                </a:moveTo>
                <a:lnTo>
                  <a:pt x="5400" y="19200"/>
                </a:lnTo>
                <a:cubicBezTo>
                  <a:pt x="5129" y="19200"/>
                  <a:pt x="4909" y="19469"/>
                  <a:pt x="4909" y="19800"/>
                </a:cubicBezTo>
                <a:cubicBezTo>
                  <a:pt x="4909" y="20132"/>
                  <a:pt x="5129" y="20400"/>
                  <a:pt x="5400" y="20400"/>
                </a:cubicBezTo>
                <a:lnTo>
                  <a:pt x="21109" y="20400"/>
                </a:lnTo>
                <a:cubicBezTo>
                  <a:pt x="21380" y="20400"/>
                  <a:pt x="21600" y="20132"/>
                  <a:pt x="21600" y="19800"/>
                </a:cubicBezTo>
                <a:cubicBezTo>
                  <a:pt x="21600" y="19469"/>
                  <a:pt x="21380" y="19200"/>
                  <a:pt x="21109" y="19200"/>
                </a:cubicBezTo>
                <a:moveTo>
                  <a:pt x="5400" y="2400"/>
                </a:moveTo>
                <a:lnTo>
                  <a:pt x="21109" y="2400"/>
                </a:lnTo>
                <a:cubicBezTo>
                  <a:pt x="21380" y="2400"/>
                  <a:pt x="21600" y="2132"/>
                  <a:pt x="21600" y="1800"/>
                </a:cubicBezTo>
                <a:cubicBezTo>
                  <a:pt x="21600" y="1469"/>
                  <a:pt x="21380" y="1200"/>
                  <a:pt x="21109" y="1200"/>
                </a:cubicBezTo>
                <a:lnTo>
                  <a:pt x="5400" y="1200"/>
                </a:lnTo>
                <a:cubicBezTo>
                  <a:pt x="5129" y="1200"/>
                  <a:pt x="4909" y="1469"/>
                  <a:pt x="4909" y="1800"/>
                </a:cubicBezTo>
                <a:cubicBezTo>
                  <a:pt x="4909" y="2132"/>
                  <a:pt x="5129" y="2400"/>
                  <a:pt x="5400" y="2400"/>
                </a:cubicBezTo>
                <a:moveTo>
                  <a:pt x="1473" y="18000"/>
                </a:moveTo>
                <a:cubicBezTo>
                  <a:pt x="659" y="18000"/>
                  <a:pt x="0" y="18806"/>
                  <a:pt x="0" y="19800"/>
                </a:cubicBezTo>
                <a:cubicBezTo>
                  <a:pt x="0" y="20794"/>
                  <a:pt x="659" y="21600"/>
                  <a:pt x="1473" y="21600"/>
                </a:cubicBezTo>
                <a:cubicBezTo>
                  <a:pt x="2286" y="21600"/>
                  <a:pt x="2945" y="20794"/>
                  <a:pt x="2945" y="19800"/>
                </a:cubicBezTo>
                <a:cubicBezTo>
                  <a:pt x="2945" y="18806"/>
                  <a:pt x="2286" y="18000"/>
                  <a:pt x="1473" y="18000"/>
                </a:cubicBezTo>
                <a:moveTo>
                  <a:pt x="1473" y="6000"/>
                </a:moveTo>
                <a:cubicBezTo>
                  <a:pt x="659" y="6000"/>
                  <a:pt x="0" y="6807"/>
                  <a:pt x="0" y="7800"/>
                </a:cubicBezTo>
                <a:cubicBezTo>
                  <a:pt x="0" y="8794"/>
                  <a:pt x="659" y="9600"/>
                  <a:pt x="1473" y="9600"/>
                </a:cubicBezTo>
                <a:cubicBezTo>
                  <a:pt x="2286" y="9600"/>
                  <a:pt x="2945" y="8794"/>
                  <a:pt x="2945" y="7800"/>
                </a:cubicBezTo>
                <a:cubicBezTo>
                  <a:pt x="2945" y="6807"/>
                  <a:pt x="2286" y="6000"/>
                  <a:pt x="1473" y="6000"/>
                </a:cubicBezTo>
                <a:moveTo>
                  <a:pt x="1473" y="12000"/>
                </a:moveTo>
                <a:cubicBezTo>
                  <a:pt x="659" y="12000"/>
                  <a:pt x="0" y="12807"/>
                  <a:pt x="0" y="13800"/>
                </a:cubicBezTo>
                <a:cubicBezTo>
                  <a:pt x="0" y="14794"/>
                  <a:pt x="659" y="15600"/>
                  <a:pt x="1473" y="15600"/>
                </a:cubicBezTo>
                <a:cubicBezTo>
                  <a:pt x="2286" y="15600"/>
                  <a:pt x="2945" y="14794"/>
                  <a:pt x="2945" y="13800"/>
                </a:cubicBezTo>
                <a:cubicBezTo>
                  <a:pt x="2945" y="12807"/>
                  <a:pt x="2286" y="12000"/>
                  <a:pt x="1473"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0" name="Shape 2610"/>
          <p:cNvSpPr/>
          <p:nvPr/>
        </p:nvSpPr>
        <p:spPr>
          <a:xfrm>
            <a:off x="6688399" y="2651029"/>
            <a:ext cx="209495" cy="171401"/>
          </a:xfrm>
          <a:custGeom>
            <a:avLst/>
            <a:gdLst/>
            <a:ahLst/>
            <a:cxnLst>
              <a:cxn ang="0">
                <a:pos x="wd2" y="hd2"/>
              </a:cxn>
              <a:cxn ang="5400000">
                <a:pos x="wd2" y="hd2"/>
              </a:cxn>
              <a:cxn ang="10800000">
                <a:pos x="wd2" y="hd2"/>
              </a:cxn>
              <a:cxn ang="16200000">
                <a:pos x="wd2" y="hd2"/>
              </a:cxn>
            </a:cxnLst>
            <a:rect l="0" t="0" r="r" b="b"/>
            <a:pathLst>
              <a:path w="21600" h="21600" extrusionOk="0">
                <a:moveTo>
                  <a:pt x="20618" y="6000"/>
                </a:moveTo>
                <a:lnTo>
                  <a:pt x="982" y="6000"/>
                </a:lnTo>
                <a:lnTo>
                  <a:pt x="982" y="2399"/>
                </a:lnTo>
                <a:cubicBezTo>
                  <a:pt x="982" y="1737"/>
                  <a:pt x="1422" y="1200"/>
                  <a:pt x="1964" y="1200"/>
                </a:cubicBezTo>
                <a:lnTo>
                  <a:pt x="6873" y="1200"/>
                </a:lnTo>
                <a:cubicBezTo>
                  <a:pt x="8345" y="1200"/>
                  <a:pt x="8345" y="3600"/>
                  <a:pt x="10800" y="3600"/>
                </a:cubicBezTo>
                <a:lnTo>
                  <a:pt x="19636" y="3600"/>
                </a:lnTo>
                <a:cubicBezTo>
                  <a:pt x="20178" y="3600"/>
                  <a:pt x="20618" y="4137"/>
                  <a:pt x="20618" y="4800"/>
                </a:cubicBezTo>
                <a:cubicBezTo>
                  <a:pt x="20618" y="4800"/>
                  <a:pt x="20618" y="6000"/>
                  <a:pt x="20618" y="6000"/>
                </a:cubicBezTo>
                <a:close/>
                <a:moveTo>
                  <a:pt x="20618" y="19200"/>
                </a:moveTo>
                <a:cubicBezTo>
                  <a:pt x="20618" y="19863"/>
                  <a:pt x="20178" y="20400"/>
                  <a:pt x="19636" y="20400"/>
                </a:cubicBezTo>
                <a:lnTo>
                  <a:pt x="1964" y="20400"/>
                </a:lnTo>
                <a:cubicBezTo>
                  <a:pt x="1422" y="20400"/>
                  <a:pt x="982" y="19863"/>
                  <a:pt x="982" y="19200"/>
                </a:cubicBezTo>
                <a:lnTo>
                  <a:pt x="982" y="7200"/>
                </a:lnTo>
                <a:lnTo>
                  <a:pt x="20618" y="7200"/>
                </a:lnTo>
                <a:cubicBezTo>
                  <a:pt x="20618" y="7200"/>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800"/>
                </a:lnTo>
                <a:cubicBezTo>
                  <a:pt x="21600" y="3474"/>
                  <a:pt x="20721" y="2399"/>
                  <a:pt x="19636" y="2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1" name="Shape 2611"/>
          <p:cNvSpPr/>
          <p:nvPr/>
        </p:nvSpPr>
        <p:spPr>
          <a:xfrm>
            <a:off x="7088345" y="264150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2" name="Shape 2612"/>
          <p:cNvSpPr/>
          <p:nvPr/>
        </p:nvSpPr>
        <p:spPr>
          <a:xfrm>
            <a:off x="7488291"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0800" y="13200"/>
                </a:moveTo>
                <a:cubicBezTo>
                  <a:pt x="11071" y="13200"/>
                  <a:pt x="11291" y="13469"/>
                  <a:pt x="11291" y="13800"/>
                </a:cubicBezTo>
                <a:cubicBezTo>
                  <a:pt x="11291" y="14132"/>
                  <a:pt x="11071" y="14400"/>
                  <a:pt x="10800" y="14400"/>
                </a:cubicBezTo>
                <a:cubicBezTo>
                  <a:pt x="10529" y="14400"/>
                  <a:pt x="10309" y="14132"/>
                  <a:pt x="10309" y="13800"/>
                </a:cubicBezTo>
                <a:cubicBezTo>
                  <a:pt x="10309" y="13469"/>
                  <a:pt x="10529" y="13200"/>
                  <a:pt x="10800" y="13200"/>
                </a:cubicBezTo>
                <a:moveTo>
                  <a:pt x="10800" y="15600"/>
                </a:moveTo>
                <a:cubicBezTo>
                  <a:pt x="11613" y="15600"/>
                  <a:pt x="12273" y="14794"/>
                  <a:pt x="12273" y="13800"/>
                </a:cubicBezTo>
                <a:cubicBezTo>
                  <a:pt x="12273" y="12806"/>
                  <a:pt x="11613" y="12000"/>
                  <a:pt x="10800" y="12000"/>
                </a:cubicBezTo>
                <a:cubicBezTo>
                  <a:pt x="9987" y="12000"/>
                  <a:pt x="9327" y="12806"/>
                  <a:pt x="9327" y="13800"/>
                </a:cubicBezTo>
                <a:cubicBezTo>
                  <a:pt x="9327" y="14794"/>
                  <a:pt x="9987" y="15600"/>
                  <a:pt x="10800" y="15600"/>
                </a:cubicBezTo>
                <a:moveTo>
                  <a:pt x="5400" y="13200"/>
                </a:moveTo>
                <a:cubicBezTo>
                  <a:pt x="5671" y="13200"/>
                  <a:pt x="5891" y="13469"/>
                  <a:pt x="5891" y="13800"/>
                </a:cubicBezTo>
                <a:cubicBezTo>
                  <a:pt x="5891" y="14132"/>
                  <a:pt x="5671" y="14400"/>
                  <a:pt x="5400" y="14400"/>
                </a:cubicBezTo>
                <a:cubicBezTo>
                  <a:pt x="5129" y="14400"/>
                  <a:pt x="4909" y="14132"/>
                  <a:pt x="4909" y="13800"/>
                </a:cubicBezTo>
                <a:cubicBezTo>
                  <a:pt x="4909" y="13469"/>
                  <a:pt x="5129" y="13200"/>
                  <a:pt x="5400" y="13200"/>
                </a:cubicBezTo>
                <a:moveTo>
                  <a:pt x="5400" y="15600"/>
                </a:moveTo>
                <a:cubicBezTo>
                  <a:pt x="6213" y="15600"/>
                  <a:pt x="6873" y="14794"/>
                  <a:pt x="6873" y="13800"/>
                </a:cubicBezTo>
                <a:cubicBezTo>
                  <a:pt x="6873" y="12806"/>
                  <a:pt x="6213" y="12000"/>
                  <a:pt x="5400" y="12000"/>
                </a:cubicBezTo>
                <a:cubicBezTo>
                  <a:pt x="4587" y="12000"/>
                  <a:pt x="3927" y="12806"/>
                  <a:pt x="3927" y="13800"/>
                </a:cubicBezTo>
                <a:cubicBezTo>
                  <a:pt x="3927" y="14794"/>
                  <a:pt x="4587" y="15600"/>
                  <a:pt x="5400" y="15600"/>
                </a:cubicBezTo>
                <a:moveTo>
                  <a:pt x="20618" y="6000"/>
                </a:moveTo>
                <a:lnTo>
                  <a:pt x="982" y="6000"/>
                </a:lnTo>
                <a:lnTo>
                  <a:pt x="982" y="2399"/>
                </a:lnTo>
                <a:cubicBezTo>
                  <a:pt x="982" y="1737"/>
                  <a:pt x="1421" y="1200"/>
                  <a:pt x="1964" y="1200"/>
                </a:cubicBezTo>
                <a:lnTo>
                  <a:pt x="6873" y="1200"/>
                </a:lnTo>
                <a:cubicBezTo>
                  <a:pt x="8345" y="1200"/>
                  <a:pt x="8345" y="3600"/>
                  <a:pt x="10800" y="3600"/>
                </a:cubicBezTo>
                <a:lnTo>
                  <a:pt x="19636" y="3600"/>
                </a:lnTo>
                <a:cubicBezTo>
                  <a:pt x="20178" y="3600"/>
                  <a:pt x="20618" y="4137"/>
                  <a:pt x="20618" y="4799"/>
                </a:cubicBezTo>
                <a:cubicBezTo>
                  <a:pt x="20618" y="4799"/>
                  <a:pt x="20618" y="6000"/>
                  <a:pt x="20618" y="6000"/>
                </a:cubicBezTo>
                <a:close/>
                <a:moveTo>
                  <a:pt x="20618" y="19200"/>
                </a:moveTo>
                <a:cubicBezTo>
                  <a:pt x="20618" y="19862"/>
                  <a:pt x="20178" y="20400"/>
                  <a:pt x="19636" y="20400"/>
                </a:cubicBezTo>
                <a:lnTo>
                  <a:pt x="1964" y="20400"/>
                </a:lnTo>
                <a:cubicBezTo>
                  <a:pt x="1421" y="20400"/>
                  <a:pt x="982" y="19862"/>
                  <a:pt x="982" y="19200"/>
                </a:cubicBezTo>
                <a:lnTo>
                  <a:pt x="982" y="7199"/>
                </a:lnTo>
                <a:lnTo>
                  <a:pt x="20618" y="7199"/>
                </a:lnTo>
                <a:cubicBezTo>
                  <a:pt x="20618" y="7199"/>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799"/>
                </a:lnTo>
                <a:cubicBezTo>
                  <a:pt x="21600" y="3474"/>
                  <a:pt x="20721" y="2399"/>
                  <a:pt x="19636" y="2399"/>
                </a:cubicBezTo>
                <a:moveTo>
                  <a:pt x="16200" y="13200"/>
                </a:moveTo>
                <a:cubicBezTo>
                  <a:pt x="16471" y="13200"/>
                  <a:pt x="16691" y="13469"/>
                  <a:pt x="16691" y="13800"/>
                </a:cubicBezTo>
                <a:cubicBezTo>
                  <a:pt x="16691" y="14132"/>
                  <a:pt x="16471" y="14400"/>
                  <a:pt x="16200" y="14400"/>
                </a:cubicBezTo>
                <a:cubicBezTo>
                  <a:pt x="15929" y="14400"/>
                  <a:pt x="15709" y="14132"/>
                  <a:pt x="15709" y="13800"/>
                </a:cubicBezTo>
                <a:cubicBezTo>
                  <a:pt x="15709" y="13469"/>
                  <a:pt x="15929" y="13200"/>
                  <a:pt x="16200" y="13200"/>
                </a:cubicBezTo>
                <a:moveTo>
                  <a:pt x="16200" y="15600"/>
                </a:moveTo>
                <a:cubicBezTo>
                  <a:pt x="17013" y="15600"/>
                  <a:pt x="17673" y="14794"/>
                  <a:pt x="17673" y="13800"/>
                </a:cubicBezTo>
                <a:cubicBezTo>
                  <a:pt x="17673" y="12806"/>
                  <a:pt x="17013" y="12000"/>
                  <a:pt x="16200" y="12000"/>
                </a:cubicBezTo>
                <a:cubicBezTo>
                  <a:pt x="15387" y="12000"/>
                  <a:pt x="14727" y="12806"/>
                  <a:pt x="14727" y="13800"/>
                </a:cubicBezTo>
                <a:cubicBezTo>
                  <a:pt x="14727" y="14794"/>
                  <a:pt x="15387" y="15600"/>
                  <a:pt x="16200" y="15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3" name="Shape 2613"/>
          <p:cNvSpPr/>
          <p:nvPr/>
        </p:nvSpPr>
        <p:spPr>
          <a:xfrm>
            <a:off x="7888237"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4" name="Shape 2614"/>
          <p:cNvSpPr/>
          <p:nvPr/>
        </p:nvSpPr>
        <p:spPr>
          <a:xfrm>
            <a:off x="8288182"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5" name="Shape 2615"/>
          <p:cNvSpPr/>
          <p:nvPr/>
        </p:nvSpPr>
        <p:spPr>
          <a:xfrm>
            <a:off x="468867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93" y="17878"/>
                </a:moveTo>
                <a:cubicBezTo>
                  <a:pt x="16514" y="16546"/>
                  <a:pt x="15177" y="15812"/>
                  <a:pt x="14084" y="15323"/>
                </a:cubicBezTo>
                <a:cubicBezTo>
                  <a:pt x="13842" y="15214"/>
                  <a:pt x="13687" y="15099"/>
                  <a:pt x="13598" y="14990"/>
                </a:cubicBezTo>
                <a:cubicBezTo>
                  <a:pt x="15238" y="14959"/>
                  <a:pt x="16521" y="14237"/>
                  <a:pt x="16581" y="14203"/>
                </a:cubicBezTo>
                <a:cubicBezTo>
                  <a:pt x="16751" y="14106"/>
                  <a:pt x="16846" y="13918"/>
                  <a:pt x="16826" y="13724"/>
                </a:cubicBezTo>
                <a:cubicBezTo>
                  <a:pt x="16807" y="13546"/>
                  <a:pt x="16693" y="13394"/>
                  <a:pt x="16530" y="13325"/>
                </a:cubicBezTo>
                <a:cubicBezTo>
                  <a:pt x="16461" y="13275"/>
                  <a:pt x="15663" y="12629"/>
                  <a:pt x="15663" y="9051"/>
                </a:cubicBezTo>
                <a:cubicBezTo>
                  <a:pt x="15663" y="5000"/>
                  <a:pt x="14115" y="2945"/>
                  <a:pt x="11061" y="2945"/>
                </a:cubicBezTo>
                <a:cubicBezTo>
                  <a:pt x="8481" y="2945"/>
                  <a:pt x="5845" y="3642"/>
                  <a:pt x="5845" y="8806"/>
                </a:cubicBezTo>
                <a:cubicBezTo>
                  <a:pt x="5845" y="12555"/>
                  <a:pt x="5219" y="13278"/>
                  <a:pt x="5122" y="13367"/>
                </a:cubicBezTo>
                <a:cubicBezTo>
                  <a:pt x="4957" y="13416"/>
                  <a:pt x="4826" y="13551"/>
                  <a:pt x="4784" y="13723"/>
                </a:cubicBezTo>
                <a:cubicBezTo>
                  <a:pt x="4734" y="13935"/>
                  <a:pt x="4828" y="14153"/>
                  <a:pt x="5015" y="14262"/>
                </a:cubicBezTo>
                <a:cubicBezTo>
                  <a:pt x="6396" y="15064"/>
                  <a:pt x="7482" y="15136"/>
                  <a:pt x="8065" y="15091"/>
                </a:cubicBezTo>
                <a:cubicBezTo>
                  <a:pt x="7994" y="15151"/>
                  <a:pt x="7850" y="15241"/>
                  <a:pt x="7564" y="15335"/>
                </a:cubicBezTo>
                <a:cubicBezTo>
                  <a:pt x="6211" y="15776"/>
                  <a:pt x="4766" y="16807"/>
                  <a:pt x="3958" y="17834"/>
                </a:cubicBezTo>
                <a:cubicBezTo>
                  <a:pt x="2125" y="16050"/>
                  <a:pt x="982" y="13560"/>
                  <a:pt x="982" y="10800"/>
                </a:cubicBezTo>
                <a:cubicBezTo>
                  <a:pt x="982" y="5377"/>
                  <a:pt x="5377" y="982"/>
                  <a:pt x="10800" y="982"/>
                </a:cubicBezTo>
                <a:cubicBezTo>
                  <a:pt x="16222" y="982"/>
                  <a:pt x="20618" y="5377"/>
                  <a:pt x="20618" y="10800"/>
                </a:cubicBezTo>
                <a:cubicBezTo>
                  <a:pt x="20618" y="13584"/>
                  <a:pt x="19454" y="16092"/>
                  <a:pt x="17593" y="17878"/>
                </a:cubicBezTo>
                <a:moveTo>
                  <a:pt x="10800" y="20618"/>
                </a:moveTo>
                <a:cubicBezTo>
                  <a:pt x="8489" y="20618"/>
                  <a:pt x="6370" y="19815"/>
                  <a:pt x="4693" y="18480"/>
                </a:cubicBezTo>
                <a:cubicBezTo>
                  <a:pt x="5360" y="17604"/>
                  <a:pt x="6693" y="16652"/>
                  <a:pt x="7869" y="16268"/>
                </a:cubicBezTo>
                <a:cubicBezTo>
                  <a:pt x="8578" y="16037"/>
                  <a:pt x="8988" y="15688"/>
                  <a:pt x="9087" y="15232"/>
                </a:cubicBezTo>
                <a:cubicBezTo>
                  <a:pt x="9214" y="14656"/>
                  <a:pt x="8775" y="14230"/>
                  <a:pt x="8725" y="14183"/>
                </a:cubicBezTo>
                <a:cubicBezTo>
                  <a:pt x="8597" y="14065"/>
                  <a:pt x="8412" y="14025"/>
                  <a:pt x="8246" y="14075"/>
                </a:cubicBezTo>
                <a:cubicBezTo>
                  <a:pt x="8208" y="14086"/>
                  <a:pt x="7406" y="14309"/>
                  <a:pt x="6089" y="13714"/>
                </a:cubicBezTo>
                <a:cubicBezTo>
                  <a:pt x="6486" y="13026"/>
                  <a:pt x="6826" y="11618"/>
                  <a:pt x="6826" y="8806"/>
                </a:cubicBezTo>
                <a:cubicBezTo>
                  <a:pt x="6826" y="4301"/>
                  <a:pt x="8829" y="3928"/>
                  <a:pt x="11061" y="3928"/>
                </a:cubicBezTo>
                <a:cubicBezTo>
                  <a:pt x="12615" y="3928"/>
                  <a:pt x="14681" y="4458"/>
                  <a:pt x="14681" y="9051"/>
                </a:cubicBezTo>
                <a:cubicBezTo>
                  <a:pt x="14681" y="11662"/>
                  <a:pt x="15092" y="12966"/>
                  <a:pt x="15499" y="13617"/>
                </a:cubicBezTo>
                <a:cubicBezTo>
                  <a:pt x="14943" y="13829"/>
                  <a:pt x="14058" y="14076"/>
                  <a:pt x="13097" y="13993"/>
                </a:cubicBezTo>
                <a:cubicBezTo>
                  <a:pt x="12883" y="13971"/>
                  <a:pt x="12690" y="14092"/>
                  <a:pt x="12605" y="14285"/>
                </a:cubicBezTo>
                <a:cubicBezTo>
                  <a:pt x="12420" y="14704"/>
                  <a:pt x="12408" y="15649"/>
                  <a:pt x="13683" y="16219"/>
                </a:cubicBezTo>
                <a:cubicBezTo>
                  <a:pt x="14677" y="16664"/>
                  <a:pt x="15893" y="17331"/>
                  <a:pt x="16850" y="18522"/>
                </a:cubicBezTo>
                <a:cubicBezTo>
                  <a:pt x="15182" y="19831"/>
                  <a:pt x="13085"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6" name="Shape 2616"/>
          <p:cNvSpPr/>
          <p:nvPr/>
        </p:nvSpPr>
        <p:spPr>
          <a:xfrm>
            <a:off x="5088616" y="3041451"/>
            <a:ext cx="209495" cy="190498"/>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7" name="Shape 2617"/>
          <p:cNvSpPr/>
          <p:nvPr/>
        </p:nvSpPr>
        <p:spPr>
          <a:xfrm>
            <a:off x="5488562" y="3050974"/>
            <a:ext cx="209495" cy="171425"/>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8" name="Shape 2618"/>
          <p:cNvSpPr/>
          <p:nvPr/>
        </p:nvSpPr>
        <p:spPr>
          <a:xfrm>
            <a:off x="5888507" y="3031930"/>
            <a:ext cx="209476" cy="209505"/>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9" name="Shape 2619"/>
          <p:cNvSpPr/>
          <p:nvPr/>
        </p:nvSpPr>
        <p:spPr>
          <a:xfrm>
            <a:off x="6288453" y="3031930"/>
            <a:ext cx="209495" cy="209494"/>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0" name="Shape 2620"/>
          <p:cNvSpPr/>
          <p:nvPr/>
        </p:nvSpPr>
        <p:spPr>
          <a:xfrm>
            <a:off x="6688399" y="3041452"/>
            <a:ext cx="209495" cy="190523"/>
          </a:xfrm>
          <a:custGeom>
            <a:avLst/>
            <a:gdLst/>
            <a:ahLst/>
            <a:cxnLst>
              <a:cxn ang="0">
                <a:pos x="wd2" y="hd2"/>
              </a:cxn>
              <a:cxn ang="5400000">
                <a:pos x="wd2" y="hd2"/>
              </a:cxn>
              <a:cxn ang="10800000">
                <a:pos x="wd2" y="hd2"/>
              </a:cxn>
              <a:cxn ang="16200000">
                <a:pos x="wd2" y="hd2"/>
              </a:cxn>
            </a:cxnLst>
            <a:rect l="0" t="0" r="r" b="b"/>
            <a:pathLst>
              <a:path w="21600" h="21144" extrusionOk="0">
                <a:moveTo>
                  <a:pt x="20618" y="7406"/>
                </a:moveTo>
                <a:lnTo>
                  <a:pt x="13580" y="7406"/>
                </a:lnTo>
                <a:cubicBezTo>
                  <a:pt x="13156" y="6803"/>
                  <a:pt x="12718" y="6095"/>
                  <a:pt x="12319" y="5293"/>
                </a:cubicBezTo>
                <a:lnTo>
                  <a:pt x="20618" y="5293"/>
                </a:lnTo>
                <a:cubicBezTo>
                  <a:pt x="20618" y="5293"/>
                  <a:pt x="20618" y="7406"/>
                  <a:pt x="20618" y="7406"/>
                </a:cubicBezTo>
                <a:close/>
                <a:moveTo>
                  <a:pt x="19636" y="13747"/>
                </a:moveTo>
                <a:lnTo>
                  <a:pt x="11291" y="13747"/>
                </a:lnTo>
                <a:lnTo>
                  <a:pt x="11291" y="8463"/>
                </a:lnTo>
                <a:lnTo>
                  <a:pt x="13090" y="8463"/>
                </a:lnTo>
                <a:cubicBezTo>
                  <a:pt x="14022" y="9712"/>
                  <a:pt x="14815" y="10437"/>
                  <a:pt x="14882" y="10497"/>
                </a:cubicBezTo>
                <a:cubicBezTo>
                  <a:pt x="15009" y="10610"/>
                  <a:pt x="15174" y="10644"/>
                  <a:pt x="15323" y="10601"/>
                </a:cubicBezTo>
                <a:cubicBezTo>
                  <a:pt x="15418" y="10574"/>
                  <a:pt x="15505" y="10516"/>
                  <a:pt x="15573" y="10429"/>
                </a:cubicBezTo>
                <a:cubicBezTo>
                  <a:pt x="15746" y="10205"/>
                  <a:pt x="15718" y="9871"/>
                  <a:pt x="15510" y="9684"/>
                </a:cubicBezTo>
                <a:cubicBezTo>
                  <a:pt x="15498" y="9674"/>
                  <a:pt x="15023" y="9238"/>
                  <a:pt x="14383" y="8463"/>
                </a:cubicBezTo>
                <a:lnTo>
                  <a:pt x="19636" y="8463"/>
                </a:lnTo>
                <a:cubicBezTo>
                  <a:pt x="19636" y="8463"/>
                  <a:pt x="19636" y="13747"/>
                  <a:pt x="19636" y="13747"/>
                </a:cubicBezTo>
                <a:close/>
                <a:moveTo>
                  <a:pt x="19636" y="20087"/>
                </a:moveTo>
                <a:lnTo>
                  <a:pt x="11291" y="20087"/>
                </a:lnTo>
                <a:lnTo>
                  <a:pt x="11291" y="14803"/>
                </a:lnTo>
                <a:lnTo>
                  <a:pt x="19636" y="14803"/>
                </a:lnTo>
                <a:cubicBezTo>
                  <a:pt x="19636" y="14803"/>
                  <a:pt x="19636" y="20087"/>
                  <a:pt x="19636" y="20087"/>
                </a:cubicBezTo>
                <a:close/>
                <a:moveTo>
                  <a:pt x="11291" y="5461"/>
                </a:moveTo>
                <a:cubicBezTo>
                  <a:pt x="11626" y="6178"/>
                  <a:pt x="11991" y="6828"/>
                  <a:pt x="12360" y="7406"/>
                </a:cubicBezTo>
                <a:lnTo>
                  <a:pt x="11291" y="7406"/>
                </a:lnTo>
                <a:cubicBezTo>
                  <a:pt x="11291" y="7406"/>
                  <a:pt x="11291" y="5461"/>
                  <a:pt x="11291" y="5461"/>
                </a:cubicBezTo>
                <a:close/>
                <a:moveTo>
                  <a:pt x="12871" y="1481"/>
                </a:moveTo>
                <a:cubicBezTo>
                  <a:pt x="14045" y="751"/>
                  <a:pt x="15436" y="979"/>
                  <a:pt x="15979" y="1990"/>
                </a:cubicBezTo>
                <a:cubicBezTo>
                  <a:pt x="16343" y="2668"/>
                  <a:pt x="16223" y="3523"/>
                  <a:pt x="15755" y="4236"/>
                </a:cubicBezTo>
                <a:lnTo>
                  <a:pt x="11845" y="4236"/>
                </a:lnTo>
                <a:cubicBezTo>
                  <a:pt x="11740" y="3975"/>
                  <a:pt x="11641" y="3708"/>
                  <a:pt x="11550" y="3432"/>
                </a:cubicBezTo>
                <a:cubicBezTo>
                  <a:pt x="11653" y="2691"/>
                  <a:pt x="12120" y="1947"/>
                  <a:pt x="12871" y="1481"/>
                </a:cubicBezTo>
                <a:moveTo>
                  <a:pt x="10309" y="7406"/>
                </a:moveTo>
                <a:lnTo>
                  <a:pt x="9224" y="7406"/>
                </a:lnTo>
                <a:cubicBezTo>
                  <a:pt x="9600" y="6819"/>
                  <a:pt x="9970" y="6158"/>
                  <a:pt x="10309" y="5429"/>
                </a:cubicBezTo>
                <a:cubicBezTo>
                  <a:pt x="10309" y="5429"/>
                  <a:pt x="10309" y="7406"/>
                  <a:pt x="10309" y="7406"/>
                </a:cubicBezTo>
                <a:close/>
                <a:moveTo>
                  <a:pt x="10309" y="13747"/>
                </a:moveTo>
                <a:lnTo>
                  <a:pt x="1964" y="13747"/>
                </a:lnTo>
                <a:lnTo>
                  <a:pt x="1964" y="8463"/>
                </a:lnTo>
                <a:lnTo>
                  <a:pt x="7202" y="8463"/>
                </a:lnTo>
                <a:cubicBezTo>
                  <a:pt x="6563" y="9238"/>
                  <a:pt x="6087" y="9674"/>
                  <a:pt x="6075" y="9684"/>
                </a:cubicBezTo>
                <a:cubicBezTo>
                  <a:pt x="5867" y="9871"/>
                  <a:pt x="5839" y="10205"/>
                  <a:pt x="6012" y="10429"/>
                </a:cubicBezTo>
                <a:cubicBezTo>
                  <a:pt x="6080" y="10516"/>
                  <a:pt x="6167" y="10574"/>
                  <a:pt x="6261" y="10601"/>
                </a:cubicBezTo>
                <a:cubicBezTo>
                  <a:pt x="6411" y="10644"/>
                  <a:pt x="6575" y="10610"/>
                  <a:pt x="6703" y="10497"/>
                </a:cubicBezTo>
                <a:cubicBezTo>
                  <a:pt x="6770" y="10437"/>
                  <a:pt x="7563" y="9712"/>
                  <a:pt x="8495" y="8463"/>
                </a:cubicBezTo>
                <a:lnTo>
                  <a:pt x="10309" y="8463"/>
                </a:lnTo>
                <a:cubicBezTo>
                  <a:pt x="10309" y="8463"/>
                  <a:pt x="10309" y="13747"/>
                  <a:pt x="10309" y="13747"/>
                </a:cubicBezTo>
                <a:close/>
                <a:moveTo>
                  <a:pt x="10309" y="20087"/>
                </a:moveTo>
                <a:lnTo>
                  <a:pt x="1964" y="20087"/>
                </a:lnTo>
                <a:lnTo>
                  <a:pt x="1964" y="14803"/>
                </a:lnTo>
                <a:lnTo>
                  <a:pt x="10309" y="14803"/>
                </a:lnTo>
                <a:cubicBezTo>
                  <a:pt x="10309" y="14803"/>
                  <a:pt x="10309" y="20087"/>
                  <a:pt x="10309" y="20087"/>
                </a:cubicBezTo>
                <a:close/>
                <a:moveTo>
                  <a:pt x="982" y="7406"/>
                </a:moveTo>
                <a:lnTo>
                  <a:pt x="982" y="5293"/>
                </a:lnTo>
                <a:lnTo>
                  <a:pt x="9266" y="5293"/>
                </a:lnTo>
                <a:cubicBezTo>
                  <a:pt x="8867" y="6095"/>
                  <a:pt x="8429" y="6803"/>
                  <a:pt x="8005" y="7406"/>
                </a:cubicBezTo>
                <a:cubicBezTo>
                  <a:pt x="8005" y="7406"/>
                  <a:pt x="982" y="7406"/>
                  <a:pt x="982" y="7406"/>
                </a:cubicBezTo>
                <a:close/>
                <a:moveTo>
                  <a:pt x="5606" y="1990"/>
                </a:moveTo>
                <a:cubicBezTo>
                  <a:pt x="6148" y="980"/>
                  <a:pt x="7540" y="751"/>
                  <a:pt x="8714" y="1481"/>
                </a:cubicBezTo>
                <a:cubicBezTo>
                  <a:pt x="9465" y="1948"/>
                  <a:pt x="9931" y="2692"/>
                  <a:pt x="10035" y="3433"/>
                </a:cubicBezTo>
                <a:cubicBezTo>
                  <a:pt x="9944" y="3708"/>
                  <a:pt x="9845" y="3975"/>
                  <a:pt x="9740" y="4236"/>
                </a:cubicBezTo>
                <a:lnTo>
                  <a:pt x="5830" y="4236"/>
                </a:lnTo>
                <a:cubicBezTo>
                  <a:pt x="5362" y="3523"/>
                  <a:pt x="5242" y="2668"/>
                  <a:pt x="5606" y="1990"/>
                </a:cubicBezTo>
                <a:moveTo>
                  <a:pt x="20618" y="4236"/>
                </a:moveTo>
                <a:lnTo>
                  <a:pt x="16874" y="4236"/>
                </a:lnTo>
                <a:cubicBezTo>
                  <a:pt x="17259" y="3325"/>
                  <a:pt x="17284" y="2310"/>
                  <a:pt x="16829" y="1461"/>
                </a:cubicBezTo>
                <a:cubicBezTo>
                  <a:pt x="16015" y="-54"/>
                  <a:pt x="14024" y="-456"/>
                  <a:pt x="12380" y="565"/>
                </a:cubicBezTo>
                <a:cubicBezTo>
                  <a:pt x="11747" y="959"/>
                  <a:pt x="11277" y="1511"/>
                  <a:pt x="10965" y="2122"/>
                </a:cubicBezTo>
                <a:cubicBezTo>
                  <a:pt x="10949" y="2115"/>
                  <a:pt x="10937" y="2103"/>
                  <a:pt x="10920" y="2098"/>
                </a:cubicBezTo>
                <a:cubicBezTo>
                  <a:pt x="10909" y="2095"/>
                  <a:pt x="10899" y="2097"/>
                  <a:pt x="10888" y="2095"/>
                </a:cubicBezTo>
                <a:cubicBezTo>
                  <a:pt x="10861" y="2089"/>
                  <a:pt x="10834" y="2089"/>
                  <a:pt x="10806" y="2088"/>
                </a:cubicBezTo>
                <a:cubicBezTo>
                  <a:pt x="10782" y="2089"/>
                  <a:pt x="10759" y="2089"/>
                  <a:pt x="10735" y="2093"/>
                </a:cubicBezTo>
                <a:cubicBezTo>
                  <a:pt x="10712" y="2096"/>
                  <a:pt x="10689" y="2090"/>
                  <a:pt x="10665" y="2098"/>
                </a:cubicBezTo>
                <a:cubicBezTo>
                  <a:pt x="10648" y="2103"/>
                  <a:pt x="10636" y="2115"/>
                  <a:pt x="10620" y="2122"/>
                </a:cubicBezTo>
                <a:cubicBezTo>
                  <a:pt x="10307" y="1511"/>
                  <a:pt x="9837" y="959"/>
                  <a:pt x="9205" y="566"/>
                </a:cubicBezTo>
                <a:cubicBezTo>
                  <a:pt x="7561" y="-456"/>
                  <a:pt x="5569" y="-54"/>
                  <a:pt x="4755" y="1461"/>
                </a:cubicBezTo>
                <a:cubicBezTo>
                  <a:pt x="4301" y="2310"/>
                  <a:pt x="4325" y="3325"/>
                  <a:pt x="4711" y="4236"/>
                </a:cubicBezTo>
                <a:lnTo>
                  <a:pt x="982" y="4236"/>
                </a:lnTo>
                <a:cubicBezTo>
                  <a:pt x="440" y="4236"/>
                  <a:pt x="0" y="4709"/>
                  <a:pt x="0" y="5293"/>
                </a:cubicBezTo>
                <a:lnTo>
                  <a:pt x="0" y="7406"/>
                </a:lnTo>
                <a:cubicBezTo>
                  <a:pt x="0" y="7990"/>
                  <a:pt x="440" y="8463"/>
                  <a:pt x="982" y="8463"/>
                </a:cubicBezTo>
                <a:lnTo>
                  <a:pt x="982" y="20087"/>
                </a:lnTo>
                <a:cubicBezTo>
                  <a:pt x="982" y="20671"/>
                  <a:pt x="1422" y="21144"/>
                  <a:pt x="1964" y="21144"/>
                </a:cubicBezTo>
                <a:lnTo>
                  <a:pt x="19636" y="21144"/>
                </a:lnTo>
                <a:cubicBezTo>
                  <a:pt x="20178" y="21144"/>
                  <a:pt x="20618" y="20671"/>
                  <a:pt x="20618" y="20087"/>
                </a:cubicBezTo>
                <a:lnTo>
                  <a:pt x="20618" y="8463"/>
                </a:lnTo>
                <a:cubicBezTo>
                  <a:pt x="21160" y="8463"/>
                  <a:pt x="21600" y="7990"/>
                  <a:pt x="21600" y="7406"/>
                </a:cubicBezTo>
                <a:lnTo>
                  <a:pt x="21600" y="5293"/>
                </a:lnTo>
                <a:cubicBezTo>
                  <a:pt x="21600" y="4709"/>
                  <a:pt x="21160" y="4236"/>
                  <a:pt x="20618" y="42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1" name="Shape 2621"/>
          <p:cNvSpPr/>
          <p:nvPr/>
        </p:nvSpPr>
        <p:spPr>
          <a:xfrm>
            <a:off x="7088345" y="3070019"/>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2" name="Shape 2622"/>
          <p:cNvSpPr/>
          <p:nvPr/>
        </p:nvSpPr>
        <p:spPr>
          <a:xfrm>
            <a:off x="748829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9" y="17044"/>
                </a:moveTo>
                <a:cubicBezTo>
                  <a:pt x="9428" y="17174"/>
                  <a:pt x="9252" y="17274"/>
                  <a:pt x="9050" y="17344"/>
                </a:cubicBezTo>
                <a:cubicBezTo>
                  <a:pt x="8849" y="17415"/>
                  <a:pt x="8636" y="17450"/>
                  <a:pt x="8413" y="17450"/>
                </a:cubicBezTo>
                <a:cubicBezTo>
                  <a:pt x="7887" y="17450"/>
                  <a:pt x="7488" y="17288"/>
                  <a:pt x="7214" y="16966"/>
                </a:cubicBezTo>
                <a:cubicBezTo>
                  <a:pt x="6941" y="16644"/>
                  <a:pt x="6797" y="16226"/>
                  <a:pt x="6782" y="15715"/>
                </a:cubicBezTo>
                <a:lnTo>
                  <a:pt x="5864" y="15715"/>
                </a:lnTo>
                <a:cubicBezTo>
                  <a:pt x="5857" y="16122"/>
                  <a:pt x="5913" y="16486"/>
                  <a:pt x="6032" y="16805"/>
                </a:cubicBezTo>
                <a:cubicBezTo>
                  <a:pt x="6151" y="17123"/>
                  <a:pt x="6321" y="17393"/>
                  <a:pt x="6545" y="17611"/>
                </a:cubicBezTo>
                <a:cubicBezTo>
                  <a:pt x="6767" y="17830"/>
                  <a:pt x="7038" y="17995"/>
                  <a:pt x="7355" y="18106"/>
                </a:cubicBezTo>
                <a:cubicBezTo>
                  <a:pt x="7671" y="18218"/>
                  <a:pt x="8024" y="18273"/>
                  <a:pt x="8413" y="18273"/>
                </a:cubicBezTo>
                <a:cubicBezTo>
                  <a:pt x="8773" y="18273"/>
                  <a:pt x="9113" y="18223"/>
                  <a:pt x="9434" y="18123"/>
                </a:cubicBezTo>
                <a:cubicBezTo>
                  <a:pt x="9754" y="18023"/>
                  <a:pt x="10033" y="17873"/>
                  <a:pt x="10271" y="17672"/>
                </a:cubicBezTo>
                <a:cubicBezTo>
                  <a:pt x="10509" y="17472"/>
                  <a:pt x="10697" y="17222"/>
                  <a:pt x="10837" y="16922"/>
                </a:cubicBezTo>
                <a:cubicBezTo>
                  <a:pt x="10978" y="16621"/>
                  <a:pt x="11048" y="16275"/>
                  <a:pt x="11048" y="15881"/>
                </a:cubicBezTo>
                <a:cubicBezTo>
                  <a:pt x="11048" y="15407"/>
                  <a:pt x="10935" y="14995"/>
                  <a:pt x="10708" y="14646"/>
                </a:cubicBezTo>
                <a:cubicBezTo>
                  <a:pt x="10481" y="14298"/>
                  <a:pt x="10134" y="14072"/>
                  <a:pt x="9666" y="13968"/>
                </a:cubicBezTo>
                <a:lnTo>
                  <a:pt x="9666" y="13946"/>
                </a:lnTo>
                <a:cubicBezTo>
                  <a:pt x="9968" y="13805"/>
                  <a:pt x="10220" y="13597"/>
                  <a:pt x="10422" y="13323"/>
                </a:cubicBezTo>
                <a:cubicBezTo>
                  <a:pt x="10624" y="13048"/>
                  <a:pt x="10724" y="12734"/>
                  <a:pt x="10724" y="12377"/>
                </a:cubicBezTo>
                <a:cubicBezTo>
                  <a:pt x="10724" y="12014"/>
                  <a:pt x="10665" y="11698"/>
                  <a:pt x="10546" y="11432"/>
                </a:cubicBezTo>
                <a:cubicBezTo>
                  <a:pt x="10427" y="11165"/>
                  <a:pt x="10263" y="10946"/>
                  <a:pt x="10055" y="10776"/>
                </a:cubicBezTo>
                <a:cubicBezTo>
                  <a:pt x="9846" y="10605"/>
                  <a:pt x="9599" y="10477"/>
                  <a:pt x="9315" y="10392"/>
                </a:cubicBezTo>
                <a:cubicBezTo>
                  <a:pt x="9030" y="10306"/>
                  <a:pt x="8722" y="10264"/>
                  <a:pt x="8391" y="10264"/>
                </a:cubicBezTo>
                <a:cubicBezTo>
                  <a:pt x="8010" y="10264"/>
                  <a:pt x="7673" y="10326"/>
                  <a:pt x="7382" y="10453"/>
                </a:cubicBezTo>
                <a:cubicBezTo>
                  <a:pt x="7090" y="10579"/>
                  <a:pt x="6847" y="10753"/>
                  <a:pt x="6653" y="10976"/>
                </a:cubicBezTo>
                <a:cubicBezTo>
                  <a:pt x="6459" y="11198"/>
                  <a:pt x="6309" y="11466"/>
                  <a:pt x="6204" y="11777"/>
                </a:cubicBezTo>
                <a:cubicBezTo>
                  <a:pt x="6100" y="12088"/>
                  <a:pt x="6040" y="12433"/>
                  <a:pt x="6026" y="12811"/>
                </a:cubicBezTo>
                <a:lnTo>
                  <a:pt x="6944" y="12811"/>
                </a:lnTo>
                <a:cubicBezTo>
                  <a:pt x="6944" y="12581"/>
                  <a:pt x="6972" y="12363"/>
                  <a:pt x="7031" y="12155"/>
                </a:cubicBezTo>
                <a:cubicBezTo>
                  <a:pt x="7088" y="11947"/>
                  <a:pt x="7177" y="11766"/>
                  <a:pt x="7296" y="11610"/>
                </a:cubicBezTo>
                <a:cubicBezTo>
                  <a:pt x="7414" y="11454"/>
                  <a:pt x="7565" y="11330"/>
                  <a:pt x="7749" y="11237"/>
                </a:cubicBezTo>
                <a:cubicBezTo>
                  <a:pt x="7932" y="11144"/>
                  <a:pt x="8147" y="11098"/>
                  <a:pt x="8391" y="11098"/>
                </a:cubicBezTo>
                <a:cubicBezTo>
                  <a:pt x="8780" y="11098"/>
                  <a:pt x="9104" y="11204"/>
                  <a:pt x="9364" y="11415"/>
                </a:cubicBezTo>
                <a:cubicBezTo>
                  <a:pt x="9623" y="11627"/>
                  <a:pt x="9752" y="11943"/>
                  <a:pt x="9752" y="12366"/>
                </a:cubicBezTo>
                <a:cubicBezTo>
                  <a:pt x="9752" y="12574"/>
                  <a:pt x="9713" y="12759"/>
                  <a:pt x="9634" y="12922"/>
                </a:cubicBezTo>
                <a:cubicBezTo>
                  <a:pt x="9554" y="13086"/>
                  <a:pt x="9448" y="13221"/>
                  <a:pt x="9315" y="13329"/>
                </a:cubicBezTo>
                <a:cubicBezTo>
                  <a:pt x="9182" y="13436"/>
                  <a:pt x="9027" y="13517"/>
                  <a:pt x="8851" y="13574"/>
                </a:cubicBezTo>
                <a:cubicBezTo>
                  <a:pt x="8674" y="13629"/>
                  <a:pt x="8488" y="13657"/>
                  <a:pt x="8294" y="13657"/>
                </a:cubicBezTo>
                <a:lnTo>
                  <a:pt x="7992" y="13657"/>
                </a:lnTo>
                <a:cubicBezTo>
                  <a:pt x="7963" y="13657"/>
                  <a:pt x="7930" y="13653"/>
                  <a:pt x="7895" y="13645"/>
                </a:cubicBezTo>
                <a:lnTo>
                  <a:pt x="7895" y="14447"/>
                </a:lnTo>
                <a:cubicBezTo>
                  <a:pt x="8067" y="14424"/>
                  <a:pt x="8251" y="14413"/>
                  <a:pt x="8445" y="14413"/>
                </a:cubicBezTo>
                <a:cubicBezTo>
                  <a:pt x="8676" y="14413"/>
                  <a:pt x="8890" y="14444"/>
                  <a:pt x="9088" y="14507"/>
                </a:cubicBezTo>
                <a:cubicBezTo>
                  <a:pt x="9286" y="14571"/>
                  <a:pt x="9457" y="14667"/>
                  <a:pt x="9601" y="14797"/>
                </a:cubicBezTo>
                <a:cubicBezTo>
                  <a:pt x="9745" y="14927"/>
                  <a:pt x="9860" y="15086"/>
                  <a:pt x="9947" y="15275"/>
                </a:cubicBezTo>
                <a:cubicBezTo>
                  <a:pt x="10033" y="15464"/>
                  <a:pt x="10076" y="15682"/>
                  <a:pt x="10076" y="15926"/>
                </a:cubicBezTo>
                <a:cubicBezTo>
                  <a:pt x="10076" y="16163"/>
                  <a:pt x="10031" y="16377"/>
                  <a:pt x="9941" y="16565"/>
                </a:cubicBezTo>
                <a:cubicBezTo>
                  <a:pt x="9851" y="16754"/>
                  <a:pt x="9731" y="16914"/>
                  <a:pt x="9579" y="17044"/>
                </a:cubicBezTo>
                <a:moveTo>
                  <a:pt x="14257" y="18151"/>
                </a:moveTo>
                <a:lnTo>
                  <a:pt x="15175" y="18151"/>
                </a:lnTo>
                <a:lnTo>
                  <a:pt x="15175" y="10264"/>
                </a:lnTo>
                <a:lnTo>
                  <a:pt x="14473" y="10264"/>
                </a:lnTo>
                <a:cubicBezTo>
                  <a:pt x="14422" y="10561"/>
                  <a:pt x="14329" y="10805"/>
                  <a:pt x="14192" y="10998"/>
                </a:cubicBezTo>
                <a:cubicBezTo>
                  <a:pt x="14055" y="11191"/>
                  <a:pt x="13888" y="11343"/>
                  <a:pt x="13690" y="11454"/>
                </a:cubicBezTo>
                <a:cubicBezTo>
                  <a:pt x="13492" y="11565"/>
                  <a:pt x="13271" y="11641"/>
                  <a:pt x="13026" y="11682"/>
                </a:cubicBezTo>
                <a:cubicBezTo>
                  <a:pt x="12781" y="11723"/>
                  <a:pt x="12529" y="11743"/>
                  <a:pt x="12270" y="11743"/>
                </a:cubicBezTo>
                <a:lnTo>
                  <a:pt x="12270" y="12499"/>
                </a:lnTo>
                <a:lnTo>
                  <a:pt x="14257" y="12499"/>
                </a:lnTo>
                <a:cubicBezTo>
                  <a:pt x="14257" y="12499"/>
                  <a:pt x="14257" y="18151"/>
                  <a:pt x="14257" y="18151"/>
                </a:cubicBezTo>
                <a:close/>
                <a:moveTo>
                  <a:pt x="20618" y="6873"/>
                </a:moveTo>
                <a:lnTo>
                  <a:pt x="982" y="6873"/>
                </a:lnTo>
                <a:lnTo>
                  <a:pt x="982" y="3928"/>
                </a:lnTo>
                <a:cubicBezTo>
                  <a:pt x="982" y="3385"/>
                  <a:pt x="1421"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9" y="2945"/>
                  <a:pt x="20618" y="3385"/>
                  <a:pt x="20618" y="3928"/>
                </a:cubicBezTo>
                <a:cubicBezTo>
                  <a:pt x="20618" y="3928"/>
                  <a:pt x="20618" y="6873"/>
                  <a:pt x="20618" y="6873"/>
                </a:cubicBezTo>
                <a:close/>
                <a:moveTo>
                  <a:pt x="20618" y="19636"/>
                </a:moveTo>
                <a:cubicBezTo>
                  <a:pt x="20618" y="20179"/>
                  <a:pt x="20179" y="20618"/>
                  <a:pt x="19636" y="20618"/>
                </a:cubicBezTo>
                <a:lnTo>
                  <a:pt x="1964" y="20618"/>
                </a:lnTo>
                <a:cubicBezTo>
                  <a:pt x="1421" y="20618"/>
                  <a:pt x="982" y="20179"/>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3" name="Shape 2623"/>
          <p:cNvSpPr/>
          <p:nvPr/>
        </p:nvSpPr>
        <p:spPr>
          <a:xfrm>
            <a:off x="7888237"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4" name="Shape 2624"/>
          <p:cNvSpPr/>
          <p:nvPr/>
        </p:nvSpPr>
        <p:spPr>
          <a:xfrm>
            <a:off x="8288182"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5" name="Shape 2625"/>
          <p:cNvSpPr/>
          <p:nvPr/>
        </p:nvSpPr>
        <p:spPr>
          <a:xfrm>
            <a:off x="4688671"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6" name="Shape 2626"/>
          <p:cNvSpPr/>
          <p:nvPr/>
        </p:nvSpPr>
        <p:spPr>
          <a:xfrm>
            <a:off x="5107660"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7222" y="18655"/>
                </a:moveTo>
                <a:cubicBezTo>
                  <a:pt x="7553" y="18644"/>
                  <a:pt x="7811" y="18417"/>
                  <a:pt x="7799" y="18146"/>
                </a:cubicBezTo>
                <a:lnTo>
                  <a:pt x="6916" y="6377"/>
                </a:lnTo>
                <a:cubicBezTo>
                  <a:pt x="6904" y="6106"/>
                  <a:pt x="6626" y="5895"/>
                  <a:pt x="6295" y="5904"/>
                </a:cubicBezTo>
                <a:cubicBezTo>
                  <a:pt x="5963" y="5915"/>
                  <a:pt x="5705" y="6142"/>
                  <a:pt x="5717" y="6413"/>
                </a:cubicBezTo>
                <a:lnTo>
                  <a:pt x="6601" y="18182"/>
                </a:lnTo>
                <a:cubicBezTo>
                  <a:pt x="6613" y="18453"/>
                  <a:pt x="6891" y="18664"/>
                  <a:pt x="7222" y="18655"/>
                </a:cubicBezTo>
                <a:moveTo>
                  <a:pt x="17400" y="19636"/>
                </a:moveTo>
                <a:cubicBezTo>
                  <a:pt x="17319" y="20154"/>
                  <a:pt x="16862" y="20618"/>
                  <a:pt x="16200" y="20618"/>
                </a:cubicBezTo>
                <a:lnTo>
                  <a:pt x="5400" y="20618"/>
                </a:lnTo>
                <a:cubicBezTo>
                  <a:pt x="4737" y="20618"/>
                  <a:pt x="4291" y="20160"/>
                  <a:pt x="4200" y="19636"/>
                </a:cubicBezTo>
                <a:lnTo>
                  <a:pt x="3000" y="3927"/>
                </a:lnTo>
                <a:lnTo>
                  <a:pt x="18600" y="3927"/>
                </a:lnTo>
                <a:cubicBezTo>
                  <a:pt x="18600" y="3927"/>
                  <a:pt x="17400" y="19636"/>
                  <a:pt x="17400" y="19636"/>
                </a:cubicBezTo>
                <a:close/>
                <a:moveTo>
                  <a:pt x="7800" y="983"/>
                </a:moveTo>
                <a:lnTo>
                  <a:pt x="13800" y="983"/>
                </a:lnTo>
                <a:lnTo>
                  <a:pt x="13800" y="2945"/>
                </a:lnTo>
                <a:lnTo>
                  <a:pt x="7800" y="2945"/>
                </a:lnTo>
                <a:cubicBezTo>
                  <a:pt x="7800" y="2945"/>
                  <a:pt x="7800" y="983"/>
                  <a:pt x="7800" y="983"/>
                </a:cubicBezTo>
                <a:close/>
                <a:moveTo>
                  <a:pt x="21000" y="2945"/>
                </a:moveTo>
                <a:lnTo>
                  <a:pt x="15000" y="2945"/>
                </a:lnTo>
                <a:lnTo>
                  <a:pt x="15000" y="983"/>
                </a:lnTo>
                <a:cubicBezTo>
                  <a:pt x="15000" y="440"/>
                  <a:pt x="14462" y="0"/>
                  <a:pt x="13800" y="0"/>
                </a:cubicBezTo>
                <a:lnTo>
                  <a:pt x="7800" y="0"/>
                </a:lnTo>
                <a:cubicBezTo>
                  <a:pt x="7137" y="0"/>
                  <a:pt x="6600" y="440"/>
                  <a:pt x="6600" y="983"/>
                </a:cubicBezTo>
                <a:lnTo>
                  <a:pt x="6600" y="2945"/>
                </a:lnTo>
                <a:lnTo>
                  <a:pt x="600" y="2945"/>
                </a:lnTo>
                <a:cubicBezTo>
                  <a:pt x="269" y="2945"/>
                  <a:pt x="0" y="3166"/>
                  <a:pt x="0" y="3437"/>
                </a:cubicBezTo>
                <a:cubicBezTo>
                  <a:pt x="0" y="3708"/>
                  <a:pt x="269" y="3927"/>
                  <a:pt x="600" y="3927"/>
                </a:cubicBezTo>
                <a:lnTo>
                  <a:pt x="1800" y="3927"/>
                </a:lnTo>
                <a:lnTo>
                  <a:pt x="3000" y="19636"/>
                </a:lnTo>
                <a:cubicBezTo>
                  <a:pt x="3193" y="20711"/>
                  <a:pt x="4075" y="21600"/>
                  <a:pt x="5400" y="21600"/>
                </a:cubicBezTo>
                <a:lnTo>
                  <a:pt x="16200" y="21600"/>
                </a:lnTo>
                <a:cubicBezTo>
                  <a:pt x="17525" y="21600"/>
                  <a:pt x="18374" y="20700"/>
                  <a:pt x="18600" y="19636"/>
                </a:cubicBezTo>
                <a:lnTo>
                  <a:pt x="19800" y="3927"/>
                </a:lnTo>
                <a:lnTo>
                  <a:pt x="21000" y="3927"/>
                </a:lnTo>
                <a:cubicBezTo>
                  <a:pt x="21331" y="3927"/>
                  <a:pt x="21600" y="3708"/>
                  <a:pt x="21600" y="3437"/>
                </a:cubicBezTo>
                <a:cubicBezTo>
                  <a:pt x="21600" y="3166"/>
                  <a:pt x="21331" y="2945"/>
                  <a:pt x="21000" y="2945"/>
                </a:cubicBezTo>
                <a:moveTo>
                  <a:pt x="14380" y="18654"/>
                </a:moveTo>
                <a:cubicBezTo>
                  <a:pt x="14711" y="18664"/>
                  <a:pt x="14989" y="18452"/>
                  <a:pt x="15001" y="18181"/>
                </a:cubicBezTo>
                <a:lnTo>
                  <a:pt x="15871" y="6413"/>
                </a:lnTo>
                <a:cubicBezTo>
                  <a:pt x="15883" y="6142"/>
                  <a:pt x="15625" y="5914"/>
                  <a:pt x="15294" y="5904"/>
                </a:cubicBezTo>
                <a:cubicBezTo>
                  <a:pt x="14962" y="5895"/>
                  <a:pt x="14684" y="6106"/>
                  <a:pt x="14672" y="6377"/>
                </a:cubicBezTo>
                <a:lnTo>
                  <a:pt x="13802" y="18146"/>
                </a:lnTo>
                <a:cubicBezTo>
                  <a:pt x="13790" y="18417"/>
                  <a:pt x="14049" y="18644"/>
                  <a:pt x="14380" y="18654"/>
                </a:cubicBezTo>
                <a:moveTo>
                  <a:pt x="10800" y="18655"/>
                </a:moveTo>
                <a:cubicBezTo>
                  <a:pt x="11131" y="18655"/>
                  <a:pt x="11400" y="18435"/>
                  <a:pt x="11400" y="18164"/>
                </a:cubicBezTo>
                <a:lnTo>
                  <a:pt x="11400" y="6382"/>
                </a:lnTo>
                <a:cubicBezTo>
                  <a:pt x="11400" y="6110"/>
                  <a:pt x="11131" y="5891"/>
                  <a:pt x="10800" y="5891"/>
                </a:cubicBezTo>
                <a:cubicBezTo>
                  <a:pt x="10469" y="5891"/>
                  <a:pt x="10200" y="6110"/>
                  <a:pt x="10200" y="6382"/>
                </a:cubicBezTo>
                <a:lnTo>
                  <a:pt x="10200" y="18164"/>
                </a:lnTo>
                <a:cubicBezTo>
                  <a:pt x="10200" y="18435"/>
                  <a:pt x="10469"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7" name="Shape 2627"/>
          <p:cNvSpPr/>
          <p:nvPr/>
        </p:nvSpPr>
        <p:spPr>
          <a:xfrm>
            <a:off x="5521891" y="3431875"/>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8720" y="19636"/>
                </a:moveTo>
                <a:cubicBezTo>
                  <a:pt x="18623" y="20154"/>
                  <a:pt x="18075" y="20618"/>
                  <a:pt x="17280" y="20618"/>
                </a:cubicBezTo>
                <a:lnTo>
                  <a:pt x="4320" y="20618"/>
                </a:lnTo>
                <a:cubicBezTo>
                  <a:pt x="3525" y="20618"/>
                  <a:pt x="2989" y="20160"/>
                  <a:pt x="2880" y="19636"/>
                </a:cubicBezTo>
                <a:lnTo>
                  <a:pt x="1483" y="3927"/>
                </a:lnTo>
                <a:lnTo>
                  <a:pt x="20117" y="3927"/>
                </a:lnTo>
                <a:cubicBezTo>
                  <a:pt x="20117" y="3927"/>
                  <a:pt x="18720" y="19636"/>
                  <a:pt x="18720" y="19636"/>
                </a:cubicBezTo>
                <a:close/>
                <a:moveTo>
                  <a:pt x="4529" y="2227"/>
                </a:moveTo>
                <a:cubicBezTo>
                  <a:pt x="4971" y="2122"/>
                  <a:pt x="5311" y="1878"/>
                  <a:pt x="5440" y="1571"/>
                </a:cubicBezTo>
                <a:cubicBezTo>
                  <a:pt x="5563" y="1278"/>
                  <a:pt x="6084" y="982"/>
                  <a:pt x="6840" y="982"/>
                </a:cubicBezTo>
                <a:cubicBezTo>
                  <a:pt x="7596" y="982"/>
                  <a:pt x="8117" y="1094"/>
                  <a:pt x="8240" y="1387"/>
                </a:cubicBezTo>
                <a:cubicBezTo>
                  <a:pt x="8286" y="1495"/>
                  <a:pt x="8358" y="1598"/>
                  <a:pt x="8454" y="1688"/>
                </a:cubicBezTo>
                <a:cubicBezTo>
                  <a:pt x="8957" y="2167"/>
                  <a:pt x="9732" y="2442"/>
                  <a:pt x="10577" y="2442"/>
                </a:cubicBezTo>
                <a:cubicBezTo>
                  <a:pt x="11235" y="2442"/>
                  <a:pt x="11854" y="2268"/>
                  <a:pt x="12300" y="1947"/>
                </a:cubicBezTo>
                <a:cubicBezTo>
                  <a:pt x="12697" y="1647"/>
                  <a:pt x="13446" y="1473"/>
                  <a:pt x="14760" y="1473"/>
                </a:cubicBezTo>
                <a:cubicBezTo>
                  <a:pt x="16059" y="1473"/>
                  <a:pt x="16752" y="1940"/>
                  <a:pt x="16920" y="2209"/>
                </a:cubicBezTo>
                <a:cubicBezTo>
                  <a:pt x="17107" y="2509"/>
                  <a:pt x="17391" y="2750"/>
                  <a:pt x="17688" y="2945"/>
                </a:cubicBezTo>
                <a:lnTo>
                  <a:pt x="2830" y="2945"/>
                </a:lnTo>
                <a:cubicBezTo>
                  <a:pt x="3170" y="2668"/>
                  <a:pt x="3770" y="2408"/>
                  <a:pt x="4529" y="2227"/>
                </a:cubicBezTo>
                <a:moveTo>
                  <a:pt x="20880" y="2945"/>
                </a:moveTo>
                <a:lnTo>
                  <a:pt x="19676" y="2945"/>
                </a:lnTo>
                <a:cubicBezTo>
                  <a:pt x="19217" y="2693"/>
                  <a:pt x="18780" y="2403"/>
                  <a:pt x="18405" y="1964"/>
                </a:cubicBezTo>
                <a:cubicBezTo>
                  <a:pt x="17787" y="1241"/>
                  <a:pt x="16749" y="491"/>
                  <a:pt x="14760" y="491"/>
                </a:cubicBezTo>
                <a:cubicBezTo>
                  <a:pt x="13012" y="491"/>
                  <a:pt x="11880" y="798"/>
                  <a:pt x="11231" y="1289"/>
                </a:cubicBezTo>
                <a:cubicBezTo>
                  <a:pt x="11081" y="1397"/>
                  <a:pt x="10839" y="1461"/>
                  <a:pt x="10577" y="1461"/>
                </a:cubicBezTo>
                <a:cubicBezTo>
                  <a:pt x="10245" y="1461"/>
                  <a:pt x="9879" y="1359"/>
                  <a:pt x="9624" y="1116"/>
                </a:cubicBezTo>
                <a:cubicBezTo>
                  <a:pt x="9310" y="370"/>
                  <a:pt x="8188" y="0"/>
                  <a:pt x="6840" y="0"/>
                </a:cubicBezTo>
                <a:cubicBezTo>
                  <a:pt x="5492" y="0"/>
                  <a:pt x="4370" y="554"/>
                  <a:pt x="4056" y="1300"/>
                </a:cubicBezTo>
                <a:cubicBezTo>
                  <a:pt x="2613" y="1643"/>
                  <a:pt x="1555" y="2238"/>
                  <a:pt x="1211" y="2945"/>
                </a:cubicBezTo>
                <a:lnTo>
                  <a:pt x="720" y="2945"/>
                </a:lnTo>
                <a:cubicBezTo>
                  <a:pt x="323" y="2945"/>
                  <a:pt x="0" y="3165"/>
                  <a:pt x="0" y="3436"/>
                </a:cubicBezTo>
                <a:lnTo>
                  <a:pt x="0" y="3437"/>
                </a:lnTo>
                <a:lnTo>
                  <a:pt x="1440" y="19636"/>
                </a:lnTo>
                <a:cubicBezTo>
                  <a:pt x="1672" y="20711"/>
                  <a:pt x="2730" y="21600"/>
                  <a:pt x="4320" y="21600"/>
                </a:cubicBezTo>
                <a:lnTo>
                  <a:pt x="17280" y="21600"/>
                </a:lnTo>
                <a:cubicBezTo>
                  <a:pt x="18870" y="21600"/>
                  <a:pt x="19890" y="20700"/>
                  <a:pt x="20160" y="19636"/>
                </a:cubicBezTo>
                <a:lnTo>
                  <a:pt x="21600" y="3437"/>
                </a:lnTo>
                <a:lnTo>
                  <a:pt x="21600" y="3436"/>
                </a:lnTo>
                <a:cubicBezTo>
                  <a:pt x="21600" y="3165"/>
                  <a:pt x="21277" y="2945"/>
                  <a:pt x="20880" y="2945"/>
                </a:cubicBezTo>
                <a:moveTo>
                  <a:pt x="6507" y="18655"/>
                </a:moveTo>
                <a:cubicBezTo>
                  <a:pt x="6904" y="18644"/>
                  <a:pt x="7214" y="18417"/>
                  <a:pt x="7200" y="18146"/>
                </a:cubicBezTo>
                <a:lnTo>
                  <a:pt x="6139" y="6377"/>
                </a:lnTo>
                <a:cubicBezTo>
                  <a:pt x="6125" y="6106"/>
                  <a:pt x="5791" y="5895"/>
                  <a:pt x="5394" y="5904"/>
                </a:cubicBezTo>
                <a:cubicBezTo>
                  <a:pt x="4996" y="5915"/>
                  <a:pt x="4686" y="6142"/>
                  <a:pt x="4700" y="6413"/>
                </a:cubicBezTo>
                <a:lnTo>
                  <a:pt x="5761" y="18182"/>
                </a:lnTo>
                <a:cubicBezTo>
                  <a:pt x="5775" y="18453"/>
                  <a:pt x="6109" y="18664"/>
                  <a:pt x="6507" y="18655"/>
                </a:cubicBezTo>
                <a:moveTo>
                  <a:pt x="10800" y="18655"/>
                </a:moveTo>
                <a:cubicBezTo>
                  <a:pt x="11197" y="18655"/>
                  <a:pt x="11520" y="18435"/>
                  <a:pt x="11520" y="18164"/>
                </a:cubicBezTo>
                <a:lnTo>
                  <a:pt x="11520" y="6382"/>
                </a:lnTo>
                <a:cubicBezTo>
                  <a:pt x="11520" y="6110"/>
                  <a:pt x="11197" y="5891"/>
                  <a:pt x="10800" y="5891"/>
                </a:cubicBezTo>
                <a:cubicBezTo>
                  <a:pt x="10403" y="5891"/>
                  <a:pt x="10080" y="6110"/>
                  <a:pt x="10080" y="6382"/>
                </a:cubicBezTo>
                <a:lnTo>
                  <a:pt x="10080" y="18164"/>
                </a:lnTo>
                <a:cubicBezTo>
                  <a:pt x="10080" y="18435"/>
                  <a:pt x="10403" y="18655"/>
                  <a:pt x="10800" y="18655"/>
                </a:cubicBezTo>
                <a:moveTo>
                  <a:pt x="15095" y="18654"/>
                </a:moveTo>
                <a:cubicBezTo>
                  <a:pt x="15494" y="18664"/>
                  <a:pt x="15827" y="18452"/>
                  <a:pt x="15841" y="18181"/>
                </a:cubicBezTo>
                <a:lnTo>
                  <a:pt x="16886" y="6413"/>
                </a:lnTo>
                <a:cubicBezTo>
                  <a:pt x="16900" y="6142"/>
                  <a:pt x="16590" y="5914"/>
                  <a:pt x="16192" y="5904"/>
                </a:cubicBezTo>
                <a:cubicBezTo>
                  <a:pt x="15795" y="5895"/>
                  <a:pt x="15461" y="6106"/>
                  <a:pt x="15447" y="6377"/>
                </a:cubicBezTo>
                <a:lnTo>
                  <a:pt x="14402" y="18146"/>
                </a:lnTo>
                <a:cubicBezTo>
                  <a:pt x="14388" y="18417"/>
                  <a:pt x="14699" y="18644"/>
                  <a:pt x="15095" y="1865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8" name="Shape 2628"/>
          <p:cNvSpPr/>
          <p:nvPr/>
        </p:nvSpPr>
        <p:spPr>
          <a:xfrm>
            <a:off x="588850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9" name="Shape 2629"/>
          <p:cNvSpPr/>
          <p:nvPr/>
        </p:nvSpPr>
        <p:spPr>
          <a:xfrm>
            <a:off x="6288453" y="3431875"/>
            <a:ext cx="209554"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1" y="20618"/>
                </a:moveTo>
                <a:cubicBezTo>
                  <a:pt x="15826" y="20618"/>
                  <a:pt x="15226" y="20482"/>
                  <a:pt x="14660" y="20214"/>
                </a:cubicBezTo>
                <a:cubicBezTo>
                  <a:pt x="14607" y="20189"/>
                  <a:pt x="14552" y="20170"/>
                  <a:pt x="14497" y="20155"/>
                </a:cubicBezTo>
                <a:cubicBezTo>
                  <a:pt x="8918" y="17308"/>
                  <a:pt x="4295" y="12685"/>
                  <a:pt x="1448" y="7105"/>
                </a:cubicBezTo>
                <a:cubicBezTo>
                  <a:pt x="1432" y="7048"/>
                  <a:pt x="1412" y="6991"/>
                  <a:pt x="1386" y="6936"/>
                </a:cubicBezTo>
                <a:cubicBezTo>
                  <a:pt x="1117" y="6369"/>
                  <a:pt x="982" y="5770"/>
                  <a:pt x="982" y="5155"/>
                </a:cubicBezTo>
                <a:cubicBezTo>
                  <a:pt x="982" y="2774"/>
                  <a:pt x="3066" y="982"/>
                  <a:pt x="4417" y="982"/>
                </a:cubicBezTo>
                <a:cubicBezTo>
                  <a:pt x="4594" y="982"/>
                  <a:pt x="4711" y="1072"/>
                  <a:pt x="4764" y="1126"/>
                </a:cubicBezTo>
                <a:cubicBezTo>
                  <a:pt x="4776" y="1139"/>
                  <a:pt x="4798" y="1164"/>
                  <a:pt x="4831" y="1216"/>
                </a:cubicBezTo>
                <a:cubicBezTo>
                  <a:pt x="4848" y="1244"/>
                  <a:pt x="4867" y="1271"/>
                  <a:pt x="4887" y="1297"/>
                </a:cubicBezTo>
                <a:lnTo>
                  <a:pt x="8118" y="5453"/>
                </a:lnTo>
                <a:cubicBezTo>
                  <a:pt x="8143" y="5485"/>
                  <a:pt x="8170" y="5515"/>
                  <a:pt x="8199" y="5544"/>
                </a:cubicBezTo>
                <a:cubicBezTo>
                  <a:pt x="8253" y="5598"/>
                  <a:pt x="8343" y="5715"/>
                  <a:pt x="8343" y="5891"/>
                </a:cubicBezTo>
                <a:cubicBezTo>
                  <a:pt x="8343" y="5978"/>
                  <a:pt x="8319" y="6060"/>
                  <a:pt x="8272" y="6135"/>
                </a:cubicBezTo>
                <a:lnTo>
                  <a:pt x="7178" y="7221"/>
                </a:lnTo>
                <a:cubicBezTo>
                  <a:pt x="7173" y="7226"/>
                  <a:pt x="7168" y="7231"/>
                  <a:pt x="7163" y="7236"/>
                </a:cubicBezTo>
                <a:cubicBezTo>
                  <a:pt x="6767" y="7609"/>
                  <a:pt x="6541" y="8126"/>
                  <a:pt x="6541" y="8668"/>
                </a:cubicBezTo>
                <a:cubicBezTo>
                  <a:pt x="6541" y="9175"/>
                  <a:pt x="6738" y="9658"/>
                  <a:pt x="7080" y="10020"/>
                </a:cubicBezTo>
                <a:cubicBezTo>
                  <a:pt x="7092" y="10040"/>
                  <a:pt x="7105" y="10059"/>
                  <a:pt x="7119" y="10078"/>
                </a:cubicBezTo>
                <a:cubicBezTo>
                  <a:pt x="8325" y="11745"/>
                  <a:pt x="9807" y="13222"/>
                  <a:pt x="11525" y="14469"/>
                </a:cubicBezTo>
                <a:cubicBezTo>
                  <a:pt x="11538" y="14478"/>
                  <a:pt x="11551" y="14487"/>
                  <a:pt x="11565" y="14496"/>
                </a:cubicBezTo>
                <a:cubicBezTo>
                  <a:pt x="11928" y="14844"/>
                  <a:pt x="12414" y="15045"/>
                  <a:pt x="12924" y="15045"/>
                </a:cubicBezTo>
                <a:cubicBezTo>
                  <a:pt x="13436" y="15045"/>
                  <a:pt x="13930" y="14840"/>
                  <a:pt x="14297" y="14479"/>
                </a:cubicBezTo>
                <a:cubicBezTo>
                  <a:pt x="14316" y="14463"/>
                  <a:pt x="14335" y="14446"/>
                  <a:pt x="14352" y="14427"/>
                </a:cubicBezTo>
                <a:lnTo>
                  <a:pt x="15451" y="13320"/>
                </a:lnTo>
                <a:cubicBezTo>
                  <a:pt x="15529" y="13271"/>
                  <a:pt x="15611" y="13247"/>
                  <a:pt x="15697" y="13247"/>
                </a:cubicBezTo>
                <a:cubicBezTo>
                  <a:pt x="15874" y="13247"/>
                  <a:pt x="15990" y="13337"/>
                  <a:pt x="16044" y="13391"/>
                </a:cubicBezTo>
                <a:cubicBezTo>
                  <a:pt x="16073" y="13420"/>
                  <a:pt x="16103" y="13447"/>
                  <a:pt x="16135" y="13472"/>
                </a:cubicBezTo>
                <a:lnTo>
                  <a:pt x="20291" y="16704"/>
                </a:lnTo>
                <a:cubicBezTo>
                  <a:pt x="20317" y="16725"/>
                  <a:pt x="20345" y="16744"/>
                  <a:pt x="20374" y="16762"/>
                </a:cubicBezTo>
                <a:cubicBezTo>
                  <a:pt x="20426" y="16795"/>
                  <a:pt x="20449" y="16816"/>
                  <a:pt x="20461" y="16827"/>
                </a:cubicBezTo>
                <a:cubicBezTo>
                  <a:pt x="20515" y="16881"/>
                  <a:pt x="20605" y="16997"/>
                  <a:pt x="20605" y="17174"/>
                </a:cubicBezTo>
                <a:cubicBezTo>
                  <a:pt x="20605" y="17207"/>
                  <a:pt x="20606" y="17240"/>
                  <a:pt x="20610" y="17273"/>
                </a:cubicBezTo>
                <a:cubicBezTo>
                  <a:pt x="20533" y="18625"/>
                  <a:pt x="18769" y="20618"/>
                  <a:pt x="16441" y="20618"/>
                </a:cubicBezTo>
                <a:moveTo>
                  <a:pt x="21586" y="17174"/>
                </a:moveTo>
                <a:cubicBezTo>
                  <a:pt x="21586" y="16768"/>
                  <a:pt x="21421" y="16399"/>
                  <a:pt x="21155" y="16133"/>
                </a:cubicBezTo>
                <a:cubicBezTo>
                  <a:pt x="21077" y="16054"/>
                  <a:pt x="20988" y="15988"/>
                  <a:pt x="20893" y="15929"/>
                </a:cubicBezTo>
                <a:lnTo>
                  <a:pt x="16738" y="12697"/>
                </a:lnTo>
                <a:cubicBezTo>
                  <a:pt x="16471" y="12430"/>
                  <a:pt x="16104" y="12265"/>
                  <a:pt x="15697" y="12265"/>
                </a:cubicBezTo>
                <a:cubicBezTo>
                  <a:pt x="15364" y="12265"/>
                  <a:pt x="15060" y="12380"/>
                  <a:pt x="14815" y="12567"/>
                </a:cubicBezTo>
                <a:lnTo>
                  <a:pt x="13655" y="13736"/>
                </a:lnTo>
                <a:lnTo>
                  <a:pt x="13652" y="13733"/>
                </a:lnTo>
                <a:cubicBezTo>
                  <a:pt x="13473" y="13934"/>
                  <a:pt x="13214" y="14063"/>
                  <a:pt x="12924" y="14063"/>
                </a:cubicBezTo>
                <a:cubicBezTo>
                  <a:pt x="12592" y="14063"/>
                  <a:pt x="12300" y="13897"/>
                  <a:pt x="12122" y="13645"/>
                </a:cubicBezTo>
                <a:cubicBezTo>
                  <a:pt x="12116" y="13654"/>
                  <a:pt x="12107" y="13663"/>
                  <a:pt x="12101" y="13674"/>
                </a:cubicBezTo>
                <a:cubicBezTo>
                  <a:pt x="10497" y="12510"/>
                  <a:pt x="9076" y="11108"/>
                  <a:pt x="7914" y="9502"/>
                </a:cubicBezTo>
                <a:cubicBezTo>
                  <a:pt x="7925" y="9495"/>
                  <a:pt x="7935" y="9486"/>
                  <a:pt x="7947" y="9479"/>
                </a:cubicBezTo>
                <a:cubicBezTo>
                  <a:pt x="7691" y="9299"/>
                  <a:pt x="7523" y="9004"/>
                  <a:pt x="7523" y="8668"/>
                </a:cubicBezTo>
                <a:cubicBezTo>
                  <a:pt x="7523" y="8367"/>
                  <a:pt x="7659" y="8101"/>
                  <a:pt x="7871" y="7920"/>
                </a:cubicBezTo>
                <a:lnTo>
                  <a:pt x="7870" y="7918"/>
                </a:lnTo>
                <a:lnTo>
                  <a:pt x="9023" y="6773"/>
                </a:lnTo>
                <a:cubicBezTo>
                  <a:pt x="9211" y="6528"/>
                  <a:pt x="9325" y="6224"/>
                  <a:pt x="9325" y="5891"/>
                </a:cubicBezTo>
                <a:cubicBezTo>
                  <a:pt x="9325" y="5485"/>
                  <a:pt x="9160" y="5116"/>
                  <a:pt x="8893" y="4850"/>
                </a:cubicBezTo>
                <a:lnTo>
                  <a:pt x="5662" y="693"/>
                </a:lnTo>
                <a:cubicBezTo>
                  <a:pt x="5603" y="599"/>
                  <a:pt x="5537" y="510"/>
                  <a:pt x="5458" y="432"/>
                </a:cubicBezTo>
                <a:cubicBezTo>
                  <a:pt x="5191" y="165"/>
                  <a:pt x="4823" y="0"/>
                  <a:pt x="4417" y="0"/>
                </a:cubicBezTo>
                <a:cubicBezTo>
                  <a:pt x="2454" y="0"/>
                  <a:pt x="0" y="2308"/>
                  <a:pt x="0" y="5155"/>
                </a:cubicBezTo>
                <a:cubicBezTo>
                  <a:pt x="0" y="5943"/>
                  <a:pt x="183" y="6688"/>
                  <a:pt x="499" y="7356"/>
                </a:cubicBezTo>
                <a:lnTo>
                  <a:pt x="482" y="7373"/>
                </a:lnTo>
                <a:cubicBezTo>
                  <a:pt x="3435" y="13255"/>
                  <a:pt x="8343" y="18164"/>
                  <a:pt x="14224" y="21117"/>
                </a:cubicBezTo>
                <a:lnTo>
                  <a:pt x="14240" y="21101"/>
                </a:lnTo>
                <a:cubicBezTo>
                  <a:pt x="14908" y="21418"/>
                  <a:pt x="15652" y="21600"/>
                  <a:pt x="16441" y="21600"/>
                </a:cubicBezTo>
                <a:cubicBezTo>
                  <a:pt x="19287" y="21600"/>
                  <a:pt x="21594" y="19145"/>
                  <a:pt x="21594" y="17182"/>
                </a:cubicBezTo>
                <a:cubicBezTo>
                  <a:pt x="21594" y="17179"/>
                  <a:pt x="21594" y="17177"/>
                  <a:pt x="21594" y="17174"/>
                </a:cubicBezTo>
                <a:cubicBezTo>
                  <a:pt x="21594" y="17174"/>
                  <a:pt x="21586" y="17174"/>
                  <a:pt x="21586" y="17174"/>
                </a:cubicBezTo>
                <a:close/>
                <a:moveTo>
                  <a:pt x="11785" y="10800"/>
                </a:moveTo>
                <a:cubicBezTo>
                  <a:pt x="12326" y="10800"/>
                  <a:pt x="12766" y="10360"/>
                  <a:pt x="12766" y="9819"/>
                </a:cubicBezTo>
                <a:cubicBezTo>
                  <a:pt x="12766" y="9276"/>
                  <a:pt x="12326" y="8836"/>
                  <a:pt x="11785" y="8836"/>
                </a:cubicBezTo>
                <a:cubicBezTo>
                  <a:pt x="11242" y="8836"/>
                  <a:pt x="10803" y="9276"/>
                  <a:pt x="10803" y="9819"/>
                </a:cubicBezTo>
                <a:cubicBezTo>
                  <a:pt x="10803" y="10360"/>
                  <a:pt x="11242" y="10800"/>
                  <a:pt x="11785" y="10800"/>
                </a:cubicBezTo>
                <a:moveTo>
                  <a:pt x="11785" y="5891"/>
                </a:moveTo>
                <a:cubicBezTo>
                  <a:pt x="13953" y="5891"/>
                  <a:pt x="15711" y="7649"/>
                  <a:pt x="15711" y="9819"/>
                </a:cubicBezTo>
                <a:cubicBezTo>
                  <a:pt x="15711" y="10090"/>
                  <a:pt x="15930" y="10309"/>
                  <a:pt x="16201" y="10309"/>
                </a:cubicBezTo>
                <a:cubicBezTo>
                  <a:pt x="16472" y="10309"/>
                  <a:pt x="16692" y="10090"/>
                  <a:pt x="16692" y="9819"/>
                </a:cubicBezTo>
                <a:cubicBezTo>
                  <a:pt x="16692" y="7107"/>
                  <a:pt x="14495" y="4909"/>
                  <a:pt x="11785" y="4909"/>
                </a:cubicBezTo>
                <a:cubicBezTo>
                  <a:pt x="11513" y="4909"/>
                  <a:pt x="11294" y="5129"/>
                  <a:pt x="11294" y="5400"/>
                </a:cubicBezTo>
                <a:cubicBezTo>
                  <a:pt x="11294" y="5672"/>
                  <a:pt x="11513" y="5891"/>
                  <a:pt x="11785" y="5891"/>
                </a:cubicBezTo>
                <a:moveTo>
                  <a:pt x="11785" y="982"/>
                </a:moveTo>
                <a:cubicBezTo>
                  <a:pt x="16663" y="982"/>
                  <a:pt x="20618" y="4939"/>
                  <a:pt x="20618" y="9819"/>
                </a:cubicBezTo>
                <a:cubicBezTo>
                  <a:pt x="20618" y="10090"/>
                  <a:pt x="20838" y="10309"/>
                  <a:pt x="21109" y="10309"/>
                </a:cubicBezTo>
                <a:cubicBezTo>
                  <a:pt x="21380" y="10309"/>
                  <a:pt x="21600" y="10090"/>
                  <a:pt x="21600" y="9819"/>
                </a:cubicBezTo>
                <a:cubicBezTo>
                  <a:pt x="21600" y="4396"/>
                  <a:pt x="17206" y="0"/>
                  <a:pt x="11785" y="0"/>
                </a:cubicBezTo>
                <a:cubicBezTo>
                  <a:pt x="11513" y="0"/>
                  <a:pt x="11294" y="220"/>
                  <a:pt x="11294" y="491"/>
                </a:cubicBezTo>
                <a:cubicBezTo>
                  <a:pt x="11294" y="762"/>
                  <a:pt x="11513" y="982"/>
                  <a:pt x="11785"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0" name="Shape 2630"/>
          <p:cNvSpPr/>
          <p:nvPr/>
        </p:nvSpPr>
        <p:spPr>
          <a:xfrm>
            <a:off x="6736012" y="3431875"/>
            <a:ext cx="114276" cy="209495"/>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1" name="Shape 2631"/>
          <p:cNvSpPr/>
          <p:nvPr/>
        </p:nvSpPr>
        <p:spPr>
          <a:xfrm>
            <a:off x="7088345"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3600"/>
                </a:moveTo>
                <a:lnTo>
                  <a:pt x="1964" y="3600"/>
                </a:lnTo>
                <a:lnTo>
                  <a:pt x="1964" y="1200"/>
                </a:lnTo>
                <a:lnTo>
                  <a:pt x="19636" y="1200"/>
                </a:lnTo>
                <a:cubicBezTo>
                  <a:pt x="19636" y="1200"/>
                  <a:pt x="19636" y="3600"/>
                  <a:pt x="19636" y="3600"/>
                </a:cubicBezTo>
                <a:close/>
                <a:moveTo>
                  <a:pt x="17182" y="6000"/>
                </a:moveTo>
                <a:lnTo>
                  <a:pt x="17182" y="4800"/>
                </a:lnTo>
                <a:lnTo>
                  <a:pt x="19145" y="4800"/>
                </a:lnTo>
                <a:lnTo>
                  <a:pt x="19145" y="6000"/>
                </a:lnTo>
                <a:cubicBezTo>
                  <a:pt x="19145" y="6662"/>
                  <a:pt x="18705" y="7200"/>
                  <a:pt x="18164" y="7200"/>
                </a:cubicBezTo>
                <a:cubicBezTo>
                  <a:pt x="17621" y="7200"/>
                  <a:pt x="17182" y="6662"/>
                  <a:pt x="17182" y="6000"/>
                </a:cubicBezTo>
                <a:moveTo>
                  <a:pt x="14236" y="6000"/>
                </a:moveTo>
                <a:lnTo>
                  <a:pt x="14236" y="4800"/>
                </a:lnTo>
                <a:lnTo>
                  <a:pt x="16200" y="4800"/>
                </a:lnTo>
                <a:lnTo>
                  <a:pt x="16200" y="6000"/>
                </a:lnTo>
                <a:cubicBezTo>
                  <a:pt x="16200" y="6662"/>
                  <a:pt x="15760" y="7200"/>
                  <a:pt x="15218" y="7200"/>
                </a:cubicBezTo>
                <a:cubicBezTo>
                  <a:pt x="14675" y="7200"/>
                  <a:pt x="14236" y="6662"/>
                  <a:pt x="14236" y="6000"/>
                </a:cubicBezTo>
                <a:moveTo>
                  <a:pt x="11291" y="6000"/>
                </a:moveTo>
                <a:lnTo>
                  <a:pt x="11291" y="4800"/>
                </a:lnTo>
                <a:lnTo>
                  <a:pt x="13255" y="4800"/>
                </a:lnTo>
                <a:lnTo>
                  <a:pt x="13255" y="6000"/>
                </a:lnTo>
                <a:cubicBezTo>
                  <a:pt x="13255" y="6662"/>
                  <a:pt x="12814" y="7200"/>
                  <a:pt x="12273" y="7200"/>
                </a:cubicBezTo>
                <a:cubicBezTo>
                  <a:pt x="11730" y="7200"/>
                  <a:pt x="11291" y="6662"/>
                  <a:pt x="11291" y="6000"/>
                </a:cubicBezTo>
                <a:moveTo>
                  <a:pt x="8345" y="6000"/>
                </a:moveTo>
                <a:lnTo>
                  <a:pt x="8345" y="4800"/>
                </a:lnTo>
                <a:lnTo>
                  <a:pt x="10309" y="4800"/>
                </a:lnTo>
                <a:lnTo>
                  <a:pt x="10309" y="6000"/>
                </a:lnTo>
                <a:cubicBezTo>
                  <a:pt x="10309" y="6662"/>
                  <a:pt x="9869" y="7200"/>
                  <a:pt x="9327" y="7200"/>
                </a:cubicBezTo>
                <a:cubicBezTo>
                  <a:pt x="8785" y="7200"/>
                  <a:pt x="8345" y="6662"/>
                  <a:pt x="8345" y="6000"/>
                </a:cubicBezTo>
                <a:moveTo>
                  <a:pt x="5400" y="6000"/>
                </a:moveTo>
                <a:lnTo>
                  <a:pt x="5400" y="4800"/>
                </a:lnTo>
                <a:lnTo>
                  <a:pt x="7364" y="4800"/>
                </a:lnTo>
                <a:lnTo>
                  <a:pt x="7364" y="6000"/>
                </a:lnTo>
                <a:cubicBezTo>
                  <a:pt x="7364" y="6662"/>
                  <a:pt x="6924" y="7200"/>
                  <a:pt x="6382" y="7200"/>
                </a:cubicBezTo>
                <a:cubicBezTo>
                  <a:pt x="5839" y="7200"/>
                  <a:pt x="5400" y="6662"/>
                  <a:pt x="5400" y="6000"/>
                </a:cubicBezTo>
                <a:moveTo>
                  <a:pt x="2455" y="6000"/>
                </a:moveTo>
                <a:lnTo>
                  <a:pt x="2455" y="4800"/>
                </a:lnTo>
                <a:lnTo>
                  <a:pt x="4418" y="4800"/>
                </a:lnTo>
                <a:lnTo>
                  <a:pt x="4418" y="6000"/>
                </a:lnTo>
                <a:cubicBezTo>
                  <a:pt x="4418" y="6662"/>
                  <a:pt x="3978" y="7200"/>
                  <a:pt x="3436" y="7200"/>
                </a:cubicBezTo>
                <a:cubicBezTo>
                  <a:pt x="2894" y="7200"/>
                  <a:pt x="2455" y="6662"/>
                  <a:pt x="2455" y="6000"/>
                </a:cubicBezTo>
                <a:moveTo>
                  <a:pt x="19636" y="20400"/>
                </a:moveTo>
                <a:lnTo>
                  <a:pt x="12764" y="20400"/>
                </a:lnTo>
                <a:lnTo>
                  <a:pt x="12764" y="13800"/>
                </a:lnTo>
                <a:cubicBezTo>
                  <a:pt x="12764" y="13469"/>
                  <a:pt x="12544" y="13200"/>
                  <a:pt x="12273" y="13200"/>
                </a:cubicBezTo>
                <a:lnTo>
                  <a:pt x="9327" y="13200"/>
                </a:lnTo>
                <a:cubicBezTo>
                  <a:pt x="9056" y="13200"/>
                  <a:pt x="8836" y="13469"/>
                  <a:pt x="8836" y="13800"/>
                </a:cubicBezTo>
                <a:lnTo>
                  <a:pt x="8836" y="20400"/>
                </a:lnTo>
                <a:lnTo>
                  <a:pt x="1964" y="20400"/>
                </a:lnTo>
                <a:lnTo>
                  <a:pt x="1964" y="7573"/>
                </a:lnTo>
                <a:cubicBezTo>
                  <a:pt x="2324" y="8076"/>
                  <a:pt x="2847" y="8400"/>
                  <a:pt x="3436" y="8400"/>
                </a:cubicBezTo>
                <a:cubicBezTo>
                  <a:pt x="4026" y="8400"/>
                  <a:pt x="4549" y="8076"/>
                  <a:pt x="4909" y="7573"/>
                </a:cubicBezTo>
                <a:cubicBezTo>
                  <a:pt x="5269" y="8076"/>
                  <a:pt x="5792" y="8400"/>
                  <a:pt x="6382" y="8400"/>
                </a:cubicBezTo>
                <a:cubicBezTo>
                  <a:pt x="6971" y="8400"/>
                  <a:pt x="7495" y="8076"/>
                  <a:pt x="7855" y="7573"/>
                </a:cubicBezTo>
                <a:cubicBezTo>
                  <a:pt x="8215" y="8076"/>
                  <a:pt x="8738" y="8400"/>
                  <a:pt x="9327" y="8400"/>
                </a:cubicBezTo>
                <a:cubicBezTo>
                  <a:pt x="9917" y="8400"/>
                  <a:pt x="10440" y="8076"/>
                  <a:pt x="10800" y="7573"/>
                </a:cubicBezTo>
                <a:cubicBezTo>
                  <a:pt x="11160" y="8076"/>
                  <a:pt x="11683" y="8400"/>
                  <a:pt x="12273" y="8400"/>
                </a:cubicBezTo>
                <a:cubicBezTo>
                  <a:pt x="12862" y="8400"/>
                  <a:pt x="13385" y="8076"/>
                  <a:pt x="13745" y="7573"/>
                </a:cubicBezTo>
                <a:cubicBezTo>
                  <a:pt x="14105" y="8076"/>
                  <a:pt x="14629" y="8400"/>
                  <a:pt x="15218" y="8400"/>
                </a:cubicBezTo>
                <a:cubicBezTo>
                  <a:pt x="15808" y="8400"/>
                  <a:pt x="16331" y="8076"/>
                  <a:pt x="16691" y="7573"/>
                </a:cubicBezTo>
                <a:cubicBezTo>
                  <a:pt x="17051" y="8076"/>
                  <a:pt x="17574" y="8400"/>
                  <a:pt x="18164" y="8400"/>
                </a:cubicBezTo>
                <a:cubicBezTo>
                  <a:pt x="18753" y="8400"/>
                  <a:pt x="19276" y="8076"/>
                  <a:pt x="19636" y="7573"/>
                </a:cubicBezTo>
                <a:cubicBezTo>
                  <a:pt x="19636" y="7573"/>
                  <a:pt x="19636" y="20400"/>
                  <a:pt x="19636" y="20400"/>
                </a:cubicBezTo>
                <a:close/>
                <a:moveTo>
                  <a:pt x="11782" y="20400"/>
                </a:moveTo>
                <a:lnTo>
                  <a:pt x="9818" y="20400"/>
                </a:lnTo>
                <a:lnTo>
                  <a:pt x="9818" y="14400"/>
                </a:lnTo>
                <a:lnTo>
                  <a:pt x="11782" y="14400"/>
                </a:lnTo>
                <a:cubicBezTo>
                  <a:pt x="11782" y="14400"/>
                  <a:pt x="11782" y="20400"/>
                  <a:pt x="11782" y="20400"/>
                </a:cubicBezTo>
                <a:close/>
                <a:moveTo>
                  <a:pt x="21109" y="20400"/>
                </a:moveTo>
                <a:lnTo>
                  <a:pt x="20618" y="20400"/>
                </a:lnTo>
                <a:lnTo>
                  <a:pt x="20618" y="4800"/>
                </a:lnTo>
                <a:lnTo>
                  <a:pt x="21109" y="4800"/>
                </a:lnTo>
                <a:cubicBezTo>
                  <a:pt x="21380" y="4800"/>
                  <a:pt x="21600" y="4532"/>
                  <a:pt x="21600" y="4200"/>
                </a:cubicBezTo>
                <a:cubicBezTo>
                  <a:pt x="21600" y="3868"/>
                  <a:pt x="21380" y="3600"/>
                  <a:pt x="21109" y="3600"/>
                </a:cubicBezTo>
                <a:lnTo>
                  <a:pt x="20618" y="3600"/>
                </a:lnTo>
                <a:lnTo>
                  <a:pt x="20618" y="1200"/>
                </a:lnTo>
                <a:cubicBezTo>
                  <a:pt x="20618" y="538"/>
                  <a:pt x="20178" y="0"/>
                  <a:pt x="19636" y="0"/>
                </a:cubicBezTo>
                <a:lnTo>
                  <a:pt x="1964" y="0"/>
                </a:lnTo>
                <a:cubicBezTo>
                  <a:pt x="1421" y="0"/>
                  <a:pt x="982" y="538"/>
                  <a:pt x="982" y="1200"/>
                </a:cubicBezTo>
                <a:lnTo>
                  <a:pt x="982" y="3600"/>
                </a:lnTo>
                <a:lnTo>
                  <a:pt x="491" y="3600"/>
                </a:lnTo>
                <a:cubicBezTo>
                  <a:pt x="220" y="3600"/>
                  <a:pt x="0" y="3868"/>
                  <a:pt x="0" y="4200"/>
                </a:cubicBezTo>
                <a:cubicBezTo>
                  <a:pt x="0" y="4532"/>
                  <a:pt x="220" y="4800"/>
                  <a:pt x="491" y="4800"/>
                </a:cubicBezTo>
                <a:lnTo>
                  <a:pt x="982" y="4800"/>
                </a:lnTo>
                <a:lnTo>
                  <a:pt x="982" y="20400"/>
                </a:lnTo>
                <a:lnTo>
                  <a:pt x="491" y="20400"/>
                </a:lnTo>
                <a:cubicBezTo>
                  <a:pt x="220" y="20400"/>
                  <a:pt x="0" y="20669"/>
                  <a:pt x="0" y="21000"/>
                </a:cubicBezTo>
                <a:cubicBezTo>
                  <a:pt x="0" y="21332"/>
                  <a:pt x="220" y="21600"/>
                  <a:pt x="491" y="21600"/>
                </a:cubicBezTo>
                <a:lnTo>
                  <a:pt x="21109" y="21600"/>
                </a:lnTo>
                <a:cubicBezTo>
                  <a:pt x="21380" y="21600"/>
                  <a:pt x="21600" y="21332"/>
                  <a:pt x="21600" y="21000"/>
                </a:cubicBezTo>
                <a:cubicBezTo>
                  <a:pt x="21600" y="20669"/>
                  <a:pt x="21380" y="20400"/>
                  <a:pt x="21109" y="20400"/>
                </a:cubicBezTo>
                <a:moveTo>
                  <a:pt x="16691" y="16800"/>
                </a:moveTo>
                <a:lnTo>
                  <a:pt x="14727" y="16800"/>
                </a:lnTo>
                <a:lnTo>
                  <a:pt x="14727" y="14400"/>
                </a:lnTo>
                <a:lnTo>
                  <a:pt x="16691" y="14400"/>
                </a:lnTo>
                <a:cubicBezTo>
                  <a:pt x="16691" y="14400"/>
                  <a:pt x="16691" y="16800"/>
                  <a:pt x="16691" y="16800"/>
                </a:cubicBezTo>
                <a:close/>
                <a:moveTo>
                  <a:pt x="17182" y="13200"/>
                </a:moveTo>
                <a:lnTo>
                  <a:pt x="14236" y="13200"/>
                </a:lnTo>
                <a:cubicBezTo>
                  <a:pt x="13965" y="13200"/>
                  <a:pt x="13745" y="13469"/>
                  <a:pt x="13745" y="13800"/>
                </a:cubicBezTo>
                <a:lnTo>
                  <a:pt x="13745" y="17400"/>
                </a:lnTo>
                <a:cubicBezTo>
                  <a:pt x="13745" y="17732"/>
                  <a:pt x="13965" y="18000"/>
                  <a:pt x="14236" y="18000"/>
                </a:cubicBezTo>
                <a:lnTo>
                  <a:pt x="17182" y="18000"/>
                </a:lnTo>
                <a:cubicBezTo>
                  <a:pt x="17453" y="18000"/>
                  <a:pt x="17673" y="17732"/>
                  <a:pt x="17673" y="17400"/>
                </a:cubicBezTo>
                <a:lnTo>
                  <a:pt x="17673" y="13800"/>
                </a:lnTo>
                <a:cubicBezTo>
                  <a:pt x="17673" y="13469"/>
                  <a:pt x="17453" y="13200"/>
                  <a:pt x="17182" y="13200"/>
                </a:cubicBezTo>
                <a:moveTo>
                  <a:pt x="6873" y="16800"/>
                </a:moveTo>
                <a:lnTo>
                  <a:pt x="4909" y="16800"/>
                </a:lnTo>
                <a:lnTo>
                  <a:pt x="4909" y="14400"/>
                </a:lnTo>
                <a:lnTo>
                  <a:pt x="6873" y="14400"/>
                </a:lnTo>
                <a:cubicBezTo>
                  <a:pt x="6873" y="14400"/>
                  <a:pt x="6873" y="16800"/>
                  <a:pt x="6873" y="16800"/>
                </a:cubicBezTo>
                <a:close/>
                <a:moveTo>
                  <a:pt x="7364" y="13200"/>
                </a:moveTo>
                <a:lnTo>
                  <a:pt x="4418" y="13200"/>
                </a:lnTo>
                <a:cubicBezTo>
                  <a:pt x="4147" y="13200"/>
                  <a:pt x="3927" y="13469"/>
                  <a:pt x="3927" y="13800"/>
                </a:cubicBezTo>
                <a:lnTo>
                  <a:pt x="3927" y="17400"/>
                </a:lnTo>
                <a:cubicBezTo>
                  <a:pt x="3927" y="17732"/>
                  <a:pt x="4147" y="18000"/>
                  <a:pt x="4418" y="18000"/>
                </a:cubicBezTo>
                <a:lnTo>
                  <a:pt x="7364" y="18000"/>
                </a:lnTo>
                <a:cubicBezTo>
                  <a:pt x="7635" y="18000"/>
                  <a:pt x="7855" y="17732"/>
                  <a:pt x="7855" y="17400"/>
                </a:cubicBezTo>
                <a:lnTo>
                  <a:pt x="7855" y="13800"/>
                </a:lnTo>
                <a:cubicBezTo>
                  <a:pt x="7855" y="13469"/>
                  <a:pt x="7635" y="13200"/>
                  <a:pt x="7364"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2" name="Shape 2632"/>
          <p:cNvSpPr/>
          <p:nvPr/>
        </p:nvSpPr>
        <p:spPr>
          <a:xfrm>
            <a:off x="7507336"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4588" y="17673"/>
                  <a:pt x="1200" y="16051"/>
                  <a:pt x="1200" y="15218"/>
                </a:cubicBezTo>
                <a:cubicBezTo>
                  <a:pt x="1200" y="14690"/>
                  <a:pt x="1355" y="14275"/>
                  <a:pt x="1611" y="13896"/>
                </a:cubicBezTo>
                <a:cubicBezTo>
                  <a:pt x="3255" y="14967"/>
                  <a:pt x="6746" y="15709"/>
                  <a:pt x="10800" y="15709"/>
                </a:cubicBezTo>
                <a:cubicBezTo>
                  <a:pt x="14856" y="15709"/>
                  <a:pt x="18345" y="14966"/>
                  <a:pt x="19987" y="13894"/>
                </a:cubicBezTo>
                <a:cubicBezTo>
                  <a:pt x="20244" y="14273"/>
                  <a:pt x="20400" y="14689"/>
                  <a:pt x="20400" y="15218"/>
                </a:cubicBezTo>
                <a:cubicBezTo>
                  <a:pt x="20400" y="16051"/>
                  <a:pt x="17011" y="17673"/>
                  <a:pt x="10800" y="17673"/>
                </a:cubicBezTo>
                <a:moveTo>
                  <a:pt x="10800" y="20618"/>
                </a:moveTo>
                <a:cubicBezTo>
                  <a:pt x="9475" y="20618"/>
                  <a:pt x="8400" y="19739"/>
                  <a:pt x="8400" y="18655"/>
                </a:cubicBezTo>
                <a:cubicBezTo>
                  <a:pt x="8400" y="18625"/>
                  <a:pt x="8408" y="18597"/>
                  <a:pt x="8409" y="18567"/>
                </a:cubicBezTo>
                <a:cubicBezTo>
                  <a:pt x="9179" y="18623"/>
                  <a:pt x="9977" y="18655"/>
                  <a:pt x="10800" y="18655"/>
                </a:cubicBezTo>
                <a:cubicBezTo>
                  <a:pt x="11623" y="18655"/>
                  <a:pt x="12421" y="18623"/>
                  <a:pt x="13191" y="18567"/>
                </a:cubicBezTo>
                <a:cubicBezTo>
                  <a:pt x="13192" y="18597"/>
                  <a:pt x="13200" y="18625"/>
                  <a:pt x="13200" y="18655"/>
                </a:cubicBezTo>
                <a:cubicBezTo>
                  <a:pt x="13200" y="19739"/>
                  <a:pt x="12125" y="20618"/>
                  <a:pt x="10800" y="20618"/>
                </a:cubicBezTo>
                <a:moveTo>
                  <a:pt x="2948" y="12551"/>
                </a:moveTo>
                <a:cubicBezTo>
                  <a:pt x="4308" y="11388"/>
                  <a:pt x="6000" y="9939"/>
                  <a:pt x="6000" y="6873"/>
                </a:cubicBezTo>
                <a:cubicBezTo>
                  <a:pt x="6000" y="5232"/>
                  <a:pt x="7238" y="3825"/>
                  <a:pt x="8988" y="3239"/>
                </a:cubicBezTo>
                <a:cubicBezTo>
                  <a:pt x="9428" y="3657"/>
                  <a:pt x="10072" y="3927"/>
                  <a:pt x="10800" y="3927"/>
                </a:cubicBezTo>
                <a:cubicBezTo>
                  <a:pt x="11528" y="3927"/>
                  <a:pt x="12172" y="3657"/>
                  <a:pt x="12611" y="3239"/>
                </a:cubicBezTo>
                <a:cubicBezTo>
                  <a:pt x="14362" y="3825"/>
                  <a:pt x="15600" y="5232"/>
                  <a:pt x="15600" y="6873"/>
                </a:cubicBezTo>
                <a:cubicBezTo>
                  <a:pt x="15600" y="9939"/>
                  <a:pt x="17292" y="11388"/>
                  <a:pt x="18652" y="12551"/>
                </a:cubicBezTo>
                <a:cubicBezTo>
                  <a:pt x="18911" y="12773"/>
                  <a:pt x="19152" y="12979"/>
                  <a:pt x="19366" y="13183"/>
                </a:cubicBezTo>
                <a:cubicBezTo>
                  <a:pt x="18217" y="14077"/>
                  <a:pt x="14825" y="14727"/>
                  <a:pt x="10800" y="14727"/>
                </a:cubicBezTo>
                <a:cubicBezTo>
                  <a:pt x="6779" y="14727"/>
                  <a:pt x="3383" y="14079"/>
                  <a:pt x="2230" y="13186"/>
                </a:cubicBezTo>
                <a:cubicBezTo>
                  <a:pt x="2446" y="12981"/>
                  <a:pt x="2687" y="12774"/>
                  <a:pt x="2948" y="12551"/>
                </a:cubicBezTo>
                <a:moveTo>
                  <a:pt x="10800" y="982"/>
                </a:moveTo>
                <a:cubicBezTo>
                  <a:pt x="11462" y="982"/>
                  <a:pt x="12000" y="1422"/>
                  <a:pt x="12000" y="1964"/>
                </a:cubicBezTo>
                <a:cubicBezTo>
                  <a:pt x="12000" y="2506"/>
                  <a:pt x="11462" y="2945"/>
                  <a:pt x="10800" y="2945"/>
                </a:cubicBezTo>
                <a:cubicBezTo>
                  <a:pt x="10138" y="2945"/>
                  <a:pt x="9600" y="2506"/>
                  <a:pt x="9600" y="1964"/>
                </a:cubicBezTo>
                <a:cubicBezTo>
                  <a:pt x="9600" y="1422"/>
                  <a:pt x="10138" y="982"/>
                  <a:pt x="10800" y="982"/>
                </a:cubicBezTo>
                <a:moveTo>
                  <a:pt x="21600" y="15218"/>
                </a:moveTo>
                <a:cubicBezTo>
                  <a:pt x="21600" y="11782"/>
                  <a:pt x="16800" y="11782"/>
                  <a:pt x="16800" y="6873"/>
                </a:cubicBezTo>
                <a:cubicBezTo>
                  <a:pt x="16800" y="4845"/>
                  <a:pt x="15296" y="3105"/>
                  <a:pt x="13152" y="2356"/>
                </a:cubicBezTo>
                <a:cubicBezTo>
                  <a:pt x="13183" y="2229"/>
                  <a:pt x="13200" y="2098"/>
                  <a:pt x="13200" y="1964"/>
                </a:cubicBezTo>
                <a:cubicBezTo>
                  <a:pt x="13200" y="879"/>
                  <a:pt x="12125" y="0"/>
                  <a:pt x="10800" y="0"/>
                </a:cubicBezTo>
                <a:cubicBezTo>
                  <a:pt x="9475" y="0"/>
                  <a:pt x="8400" y="879"/>
                  <a:pt x="8400" y="1964"/>
                </a:cubicBezTo>
                <a:cubicBezTo>
                  <a:pt x="8400" y="2098"/>
                  <a:pt x="8417" y="2229"/>
                  <a:pt x="8448" y="2356"/>
                </a:cubicBezTo>
                <a:cubicBezTo>
                  <a:pt x="6304" y="3105"/>
                  <a:pt x="4800" y="4845"/>
                  <a:pt x="4800" y="6873"/>
                </a:cubicBezTo>
                <a:cubicBezTo>
                  <a:pt x="4800" y="11782"/>
                  <a:pt x="0" y="11782"/>
                  <a:pt x="0" y="15218"/>
                </a:cubicBezTo>
                <a:cubicBezTo>
                  <a:pt x="0" y="16716"/>
                  <a:pt x="3016" y="17986"/>
                  <a:pt x="7217" y="18457"/>
                </a:cubicBezTo>
                <a:cubicBezTo>
                  <a:pt x="7211" y="18523"/>
                  <a:pt x="7200" y="18587"/>
                  <a:pt x="7200" y="18655"/>
                </a:cubicBezTo>
                <a:cubicBezTo>
                  <a:pt x="7200" y="20282"/>
                  <a:pt x="8812" y="21600"/>
                  <a:pt x="10800" y="21600"/>
                </a:cubicBezTo>
                <a:cubicBezTo>
                  <a:pt x="12788" y="21600"/>
                  <a:pt x="14400" y="20282"/>
                  <a:pt x="14400" y="18655"/>
                </a:cubicBezTo>
                <a:cubicBezTo>
                  <a:pt x="14400" y="18587"/>
                  <a:pt x="14389" y="18523"/>
                  <a:pt x="14383" y="18457"/>
                </a:cubicBezTo>
                <a:cubicBezTo>
                  <a:pt x="18584" y="17986"/>
                  <a:pt x="21600" y="16716"/>
                  <a:pt x="21600"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3" name="Shape 2633"/>
          <p:cNvSpPr/>
          <p:nvPr/>
        </p:nvSpPr>
        <p:spPr>
          <a:xfrm>
            <a:off x="788823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4" name="Shape 2634"/>
          <p:cNvSpPr/>
          <p:nvPr/>
        </p:nvSpPr>
        <p:spPr>
          <a:xfrm>
            <a:off x="8288182"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 name="Text Placeholder 5">
            <a:extLst>
              <a:ext uri="{FF2B5EF4-FFF2-40B4-BE49-F238E27FC236}">
                <a16:creationId xmlns:a16="http://schemas.microsoft.com/office/drawing/2014/main" id="{B9F6363C-F7A3-4DA4-CB32-2B1E2700AC69}"/>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a:solidFill>
                  <a:schemeClr val="accent3"/>
                </a:solidFill>
              </a:rPr>
              <a:t>Icon usage and examples</a:t>
            </a:r>
          </a:p>
        </p:txBody>
      </p:sp>
      <p:sp>
        <p:nvSpPr>
          <p:cNvPr id="3" name="Shape 2707">
            <a:extLst>
              <a:ext uri="{FF2B5EF4-FFF2-40B4-BE49-F238E27FC236}">
                <a16:creationId xmlns:a16="http://schemas.microsoft.com/office/drawing/2014/main" id="{7688FEA2-F271-44D3-5E27-2E72B86BBADB}"/>
              </a:ext>
            </a:extLst>
          </p:cNvPr>
          <p:cNvSpPr/>
          <p:nvPr/>
        </p:nvSpPr>
        <p:spPr>
          <a:xfrm>
            <a:off x="4246039" y="1381966"/>
            <a:ext cx="673255"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General</a:t>
            </a:r>
          </a:p>
        </p:txBody>
      </p:sp>
    </p:spTree>
    <p:extLst>
      <p:ext uri="{BB962C8B-B14F-4D97-AF65-F5344CB8AC3E}">
        <p14:creationId xmlns:p14="http://schemas.microsoft.com/office/powerpoint/2010/main" val="586235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6F0E3-FB97-B2DF-2726-05D35A3FCF22}"/>
              </a:ext>
            </a:extLst>
          </p:cNvPr>
          <p:cNvSpPr>
            <a:spLocks noGrp="1"/>
          </p:cNvSpPr>
          <p:nvPr>
            <p:ph type="title"/>
          </p:nvPr>
        </p:nvSpPr>
        <p:spPr>
          <a:xfrm>
            <a:off x="457200" y="438150"/>
            <a:ext cx="3703210" cy="2413299"/>
          </a:xfrm>
        </p:spPr>
        <p:txBody>
          <a:bodyPr/>
          <a:lstStyle/>
          <a:p>
            <a:r>
              <a:rPr lang="en-FR"/>
              <a:t>Insert your title.</a:t>
            </a:r>
          </a:p>
        </p:txBody>
      </p:sp>
      <p:sp>
        <p:nvSpPr>
          <p:cNvPr id="3" name="Text Placeholder 2">
            <a:extLst>
              <a:ext uri="{FF2B5EF4-FFF2-40B4-BE49-F238E27FC236}">
                <a16:creationId xmlns:a16="http://schemas.microsoft.com/office/drawing/2014/main" id="{82180E6A-2035-E678-1DE4-A18FBC4C53B6}"/>
              </a:ext>
            </a:extLst>
          </p:cNvPr>
          <p:cNvSpPr>
            <a:spLocks noGrp="1"/>
          </p:cNvSpPr>
          <p:nvPr>
            <p:ph type="body" sz="quarter" idx="15"/>
          </p:nvPr>
        </p:nvSpPr>
        <p:spPr/>
        <p:txBody>
          <a:bodyPr/>
          <a:lstStyle/>
          <a:p>
            <a:r>
              <a:rPr lang="en-FR" sz="1200"/>
              <a:t>Insert subtitle</a:t>
            </a:r>
          </a:p>
        </p:txBody>
      </p:sp>
      <p:sp>
        <p:nvSpPr>
          <p:cNvPr id="4" name="Text Placeholder 3">
            <a:extLst>
              <a:ext uri="{FF2B5EF4-FFF2-40B4-BE49-F238E27FC236}">
                <a16:creationId xmlns:a16="http://schemas.microsoft.com/office/drawing/2014/main" id="{3EED8ABC-E651-421D-42D6-CA6A6631B0C6}"/>
              </a:ext>
            </a:extLst>
          </p:cNvPr>
          <p:cNvSpPr>
            <a:spLocks noGrp="1"/>
          </p:cNvSpPr>
          <p:nvPr>
            <p:ph type="body" sz="quarter" idx="16"/>
          </p:nvPr>
        </p:nvSpPr>
        <p:spPr/>
        <p:txBody>
          <a:bodyPr/>
          <a:lstStyle/>
          <a:p>
            <a:endParaRPr lang="en-FR"/>
          </a:p>
        </p:txBody>
      </p:sp>
      <p:sp>
        <p:nvSpPr>
          <p:cNvPr id="5" name="Text Placeholder 4">
            <a:extLst>
              <a:ext uri="{FF2B5EF4-FFF2-40B4-BE49-F238E27FC236}">
                <a16:creationId xmlns:a16="http://schemas.microsoft.com/office/drawing/2014/main" id="{4D9CC30A-DA5C-11F3-8C4B-85AD6AF1E61C}"/>
              </a:ext>
            </a:extLst>
          </p:cNvPr>
          <p:cNvSpPr>
            <a:spLocks noGrp="1"/>
          </p:cNvSpPr>
          <p:nvPr>
            <p:ph type="body" sz="quarter" idx="17"/>
          </p:nvPr>
        </p:nvSpPr>
        <p:spPr/>
        <p:txBody>
          <a:bodyPr/>
          <a:lstStyle/>
          <a:p>
            <a:r>
              <a:rPr lang="en-FR"/>
              <a:t>Insert text here.</a:t>
            </a:r>
          </a:p>
        </p:txBody>
      </p:sp>
      <p:sp>
        <p:nvSpPr>
          <p:cNvPr id="6" name="TextBox 5">
            <a:extLst>
              <a:ext uri="{FF2B5EF4-FFF2-40B4-BE49-F238E27FC236}">
                <a16:creationId xmlns:a16="http://schemas.microsoft.com/office/drawing/2014/main" id="{63441EC9-CF1F-8CD6-A685-227ED282F32D}"/>
              </a:ext>
            </a:extLst>
          </p:cNvPr>
          <p:cNvSpPr txBox="1"/>
          <p:nvPr/>
        </p:nvSpPr>
        <p:spPr>
          <a:xfrm>
            <a:off x="8454887" y="4611757"/>
            <a:ext cx="0" cy="0"/>
          </a:xfrm>
          <a:prstGeom prst="rect">
            <a:avLst/>
          </a:prstGeom>
          <a:noFill/>
        </p:spPr>
        <p:txBody>
          <a:bodyPr wrap="none" rtlCol="0">
            <a:noAutofit/>
          </a:bodyPr>
          <a:lstStyle/>
          <a:p>
            <a:pPr>
              <a:spcBef>
                <a:spcPts val="750"/>
              </a:spcBef>
              <a:buClr>
                <a:schemeClr val="accent2"/>
              </a:buClr>
              <a:buSzPct val="100000"/>
            </a:pPr>
            <a:endParaRPr lang="en-FR" sz="140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26606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7" name="Shape 2637"/>
          <p:cNvSpPr/>
          <p:nvPr/>
        </p:nvSpPr>
        <p:spPr>
          <a:xfrm>
            <a:off x="708256"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8" name="Shape 2638"/>
          <p:cNvSpPr/>
          <p:nvPr/>
        </p:nvSpPr>
        <p:spPr>
          <a:xfrm>
            <a:off x="1060590" y="1069907"/>
            <a:ext cx="209424" cy="209619"/>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9" name="Shape 2639"/>
          <p:cNvSpPr/>
          <p:nvPr/>
        </p:nvSpPr>
        <p:spPr>
          <a:xfrm>
            <a:off x="1460536"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3255" y="3086"/>
                </a:moveTo>
                <a:cubicBezTo>
                  <a:pt x="12984" y="3086"/>
                  <a:pt x="12764" y="3432"/>
                  <a:pt x="12764" y="3857"/>
                </a:cubicBezTo>
                <a:cubicBezTo>
                  <a:pt x="12764" y="4284"/>
                  <a:pt x="12984" y="4629"/>
                  <a:pt x="13255" y="4629"/>
                </a:cubicBezTo>
                <a:cubicBezTo>
                  <a:pt x="13525" y="4629"/>
                  <a:pt x="13745" y="4284"/>
                  <a:pt x="13745" y="3857"/>
                </a:cubicBezTo>
                <a:cubicBezTo>
                  <a:pt x="13745" y="3432"/>
                  <a:pt x="13525" y="3086"/>
                  <a:pt x="13255" y="3086"/>
                </a:cubicBezTo>
                <a:moveTo>
                  <a:pt x="20618" y="16495"/>
                </a:moveTo>
                <a:lnTo>
                  <a:pt x="15709" y="12638"/>
                </a:lnTo>
                <a:lnTo>
                  <a:pt x="15709" y="8963"/>
                </a:lnTo>
                <a:lnTo>
                  <a:pt x="20618" y="5105"/>
                </a:lnTo>
                <a:cubicBezTo>
                  <a:pt x="20618" y="5105"/>
                  <a:pt x="20618" y="16495"/>
                  <a:pt x="20618" y="16495"/>
                </a:cubicBezTo>
                <a:close/>
                <a:moveTo>
                  <a:pt x="14727" y="16971"/>
                </a:moveTo>
                <a:lnTo>
                  <a:pt x="982" y="16971"/>
                </a:lnTo>
                <a:lnTo>
                  <a:pt x="982" y="3086"/>
                </a:lnTo>
                <a:cubicBezTo>
                  <a:pt x="982" y="2234"/>
                  <a:pt x="1422" y="1543"/>
                  <a:pt x="1964" y="1543"/>
                </a:cubicBezTo>
                <a:lnTo>
                  <a:pt x="13745" y="1543"/>
                </a:lnTo>
                <a:cubicBezTo>
                  <a:pt x="14287" y="1543"/>
                  <a:pt x="14727" y="2234"/>
                  <a:pt x="14727" y="3086"/>
                </a:cubicBezTo>
                <a:cubicBezTo>
                  <a:pt x="14727" y="3086"/>
                  <a:pt x="14727" y="16971"/>
                  <a:pt x="14727" y="16971"/>
                </a:cubicBezTo>
                <a:close/>
                <a:moveTo>
                  <a:pt x="13745" y="20057"/>
                </a:moveTo>
                <a:lnTo>
                  <a:pt x="1964" y="20057"/>
                </a:lnTo>
                <a:cubicBezTo>
                  <a:pt x="1422" y="20057"/>
                  <a:pt x="982" y="19367"/>
                  <a:pt x="982" y="18514"/>
                </a:cubicBezTo>
                <a:lnTo>
                  <a:pt x="14727" y="18514"/>
                </a:lnTo>
                <a:cubicBezTo>
                  <a:pt x="14727" y="19367"/>
                  <a:pt x="14287" y="20057"/>
                  <a:pt x="13745" y="20057"/>
                </a:cubicBezTo>
                <a:moveTo>
                  <a:pt x="21109" y="3086"/>
                </a:moveTo>
                <a:cubicBezTo>
                  <a:pt x="21030" y="3086"/>
                  <a:pt x="20958" y="3122"/>
                  <a:pt x="20892" y="3175"/>
                </a:cubicBezTo>
                <a:lnTo>
                  <a:pt x="20890" y="3167"/>
                </a:lnTo>
                <a:lnTo>
                  <a:pt x="15709" y="7237"/>
                </a:lnTo>
                <a:lnTo>
                  <a:pt x="15709" y="3086"/>
                </a:lnTo>
                <a:cubicBezTo>
                  <a:pt x="15709" y="1382"/>
                  <a:pt x="14830" y="0"/>
                  <a:pt x="13745" y="0"/>
                </a:cubicBezTo>
                <a:lnTo>
                  <a:pt x="1964" y="0"/>
                </a:lnTo>
                <a:cubicBezTo>
                  <a:pt x="879" y="0"/>
                  <a:pt x="0" y="1382"/>
                  <a:pt x="0" y="3086"/>
                </a:cubicBezTo>
                <a:lnTo>
                  <a:pt x="0" y="18514"/>
                </a:lnTo>
                <a:cubicBezTo>
                  <a:pt x="0" y="20219"/>
                  <a:pt x="879" y="21600"/>
                  <a:pt x="1964" y="21600"/>
                </a:cubicBezTo>
                <a:lnTo>
                  <a:pt x="13745" y="21600"/>
                </a:lnTo>
                <a:cubicBezTo>
                  <a:pt x="14830" y="21600"/>
                  <a:pt x="15709" y="20219"/>
                  <a:pt x="15709" y="18514"/>
                </a:cubicBezTo>
                <a:lnTo>
                  <a:pt x="15709" y="14363"/>
                </a:lnTo>
                <a:lnTo>
                  <a:pt x="20890" y="18433"/>
                </a:lnTo>
                <a:lnTo>
                  <a:pt x="20892" y="18427"/>
                </a:lnTo>
                <a:cubicBezTo>
                  <a:pt x="20958" y="18478"/>
                  <a:pt x="21030" y="18514"/>
                  <a:pt x="21109" y="18514"/>
                </a:cubicBezTo>
                <a:cubicBezTo>
                  <a:pt x="21380" y="18514"/>
                  <a:pt x="21600" y="18170"/>
                  <a:pt x="21600" y="17743"/>
                </a:cubicBezTo>
                <a:lnTo>
                  <a:pt x="21600" y="3857"/>
                </a:lnTo>
                <a:cubicBezTo>
                  <a:pt x="21600" y="3432"/>
                  <a:pt x="21380" y="3086"/>
                  <a:pt x="21109" y="3086"/>
                </a:cubicBezTo>
                <a:moveTo>
                  <a:pt x="10309" y="6171"/>
                </a:moveTo>
                <a:cubicBezTo>
                  <a:pt x="10038" y="6171"/>
                  <a:pt x="9818" y="5827"/>
                  <a:pt x="9818" y="5400"/>
                </a:cubicBezTo>
                <a:cubicBezTo>
                  <a:pt x="9818" y="4974"/>
                  <a:pt x="10038" y="4629"/>
                  <a:pt x="10309" y="4629"/>
                </a:cubicBezTo>
                <a:cubicBezTo>
                  <a:pt x="10580" y="4629"/>
                  <a:pt x="10800" y="4974"/>
                  <a:pt x="10800" y="5400"/>
                </a:cubicBezTo>
                <a:cubicBezTo>
                  <a:pt x="10800" y="5827"/>
                  <a:pt x="10580" y="6171"/>
                  <a:pt x="10309" y="6171"/>
                </a:cubicBezTo>
                <a:moveTo>
                  <a:pt x="10309" y="3086"/>
                </a:moveTo>
                <a:cubicBezTo>
                  <a:pt x="9496" y="3086"/>
                  <a:pt x="8836" y="4123"/>
                  <a:pt x="8836" y="5400"/>
                </a:cubicBezTo>
                <a:cubicBezTo>
                  <a:pt x="8836" y="6678"/>
                  <a:pt x="9496" y="7714"/>
                  <a:pt x="10309" y="7714"/>
                </a:cubicBezTo>
                <a:cubicBezTo>
                  <a:pt x="11123" y="7714"/>
                  <a:pt x="11782" y="6678"/>
                  <a:pt x="11782" y="5400"/>
                </a:cubicBezTo>
                <a:cubicBezTo>
                  <a:pt x="11782" y="4123"/>
                  <a:pt x="11123" y="3086"/>
                  <a:pt x="10309" y="30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0" name="Shape 2640"/>
          <p:cNvSpPr/>
          <p:nvPr/>
        </p:nvSpPr>
        <p:spPr>
          <a:xfrm>
            <a:off x="1860482"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495"/>
                </a:moveTo>
                <a:lnTo>
                  <a:pt x="19636" y="15723"/>
                </a:lnTo>
                <a:lnTo>
                  <a:pt x="19636" y="5877"/>
                </a:lnTo>
                <a:lnTo>
                  <a:pt x="20618" y="5105"/>
                </a:lnTo>
                <a:cubicBezTo>
                  <a:pt x="20618" y="5105"/>
                  <a:pt x="20618" y="16495"/>
                  <a:pt x="20618" y="16495"/>
                </a:cubicBezTo>
                <a:close/>
                <a:moveTo>
                  <a:pt x="18655" y="14952"/>
                </a:moveTo>
                <a:lnTo>
                  <a:pt x="16691" y="13409"/>
                </a:lnTo>
                <a:lnTo>
                  <a:pt x="16691" y="8191"/>
                </a:lnTo>
                <a:lnTo>
                  <a:pt x="18655" y="6648"/>
                </a:lnTo>
                <a:cubicBezTo>
                  <a:pt x="18655" y="6648"/>
                  <a:pt x="18655" y="14952"/>
                  <a:pt x="18655" y="14952"/>
                </a:cubicBezTo>
                <a:close/>
                <a:moveTo>
                  <a:pt x="15709" y="6171"/>
                </a:moveTo>
                <a:lnTo>
                  <a:pt x="982" y="6171"/>
                </a:lnTo>
                <a:lnTo>
                  <a:pt x="982" y="3086"/>
                </a:lnTo>
                <a:cubicBezTo>
                  <a:pt x="982" y="2234"/>
                  <a:pt x="1422" y="1543"/>
                  <a:pt x="1964" y="1543"/>
                </a:cubicBezTo>
                <a:lnTo>
                  <a:pt x="14727" y="1543"/>
                </a:lnTo>
                <a:cubicBezTo>
                  <a:pt x="15269" y="1543"/>
                  <a:pt x="15709" y="2234"/>
                  <a:pt x="15709" y="3086"/>
                </a:cubicBezTo>
                <a:cubicBezTo>
                  <a:pt x="15709" y="3086"/>
                  <a:pt x="15709" y="6171"/>
                  <a:pt x="15709" y="6171"/>
                </a:cubicBezTo>
                <a:close/>
                <a:moveTo>
                  <a:pt x="15709" y="18514"/>
                </a:moveTo>
                <a:cubicBezTo>
                  <a:pt x="15709" y="19367"/>
                  <a:pt x="15269" y="20057"/>
                  <a:pt x="14727" y="20057"/>
                </a:cubicBezTo>
                <a:lnTo>
                  <a:pt x="1964" y="20057"/>
                </a:lnTo>
                <a:cubicBezTo>
                  <a:pt x="1422" y="20057"/>
                  <a:pt x="982" y="19367"/>
                  <a:pt x="982" y="18514"/>
                </a:cubicBezTo>
                <a:lnTo>
                  <a:pt x="982" y="7714"/>
                </a:lnTo>
                <a:lnTo>
                  <a:pt x="15709" y="7714"/>
                </a:lnTo>
                <a:cubicBezTo>
                  <a:pt x="15709" y="7714"/>
                  <a:pt x="15709" y="18514"/>
                  <a:pt x="15709" y="18514"/>
                </a:cubicBezTo>
                <a:close/>
                <a:moveTo>
                  <a:pt x="21109" y="3086"/>
                </a:moveTo>
                <a:cubicBezTo>
                  <a:pt x="21030" y="3086"/>
                  <a:pt x="20958" y="3122"/>
                  <a:pt x="20892" y="3175"/>
                </a:cubicBezTo>
                <a:lnTo>
                  <a:pt x="20890" y="3167"/>
                </a:lnTo>
                <a:lnTo>
                  <a:pt x="16691" y="6467"/>
                </a:lnTo>
                <a:lnTo>
                  <a:pt x="16691" y="3086"/>
                </a:lnTo>
                <a:cubicBezTo>
                  <a:pt x="16691" y="1382"/>
                  <a:pt x="15812" y="0"/>
                  <a:pt x="14727" y="0"/>
                </a:cubicBezTo>
                <a:lnTo>
                  <a:pt x="1964" y="0"/>
                </a:lnTo>
                <a:cubicBezTo>
                  <a:pt x="879" y="0"/>
                  <a:pt x="0" y="1382"/>
                  <a:pt x="0" y="3086"/>
                </a:cubicBezTo>
                <a:lnTo>
                  <a:pt x="0" y="18514"/>
                </a:lnTo>
                <a:cubicBezTo>
                  <a:pt x="0" y="20219"/>
                  <a:pt x="879" y="21600"/>
                  <a:pt x="1964" y="21600"/>
                </a:cubicBezTo>
                <a:lnTo>
                  <a:pt x="14727" y="21600"/>
                </a:lnTo>
                <a:cubicBezTo>
                  <a:pt x="15812" y="21600"/>
                  <a:pt x="16691" y="20219"/>
                  <a:pt x="16691" y="18514"/>
                </a:cubicBezTo>
                <a:lnTo>
                  <a:pt x="16691" y="15134"/>
                </a:lnTo>
                <a:lnTo>
                  <a:pt x="20890" y="18433"/>
                </a:lnTo>
                <a:lnTo>
                  <a:pt x="20892" y="18426"/>
                </a:lnTo>
                <a:cubicBezTo>
                  <a:pt x="20958" y="18478"/>
                  <a:pt x="21030" y="18514"/>
                  <a:pt x="21109" y="18514"/>
                </a:cubicBezTo>
                <a:cubicBezTo>
                  <a:pt x="21380" y="18514"/>
                  <a:pt x="21600" y="18169"/>
                  <a:pt x="21600" y="17743"/>
                </a:cubicBezTo>
                <a:lnTo>
                  <a:pt x="21600" y="3857"/>
                </a:lnTo>
                <a:cubicBezTo>
                  <a:pt x="21600" y="3432"/>
                  <a:pt x="21380" y="3086"/>
                  <a:pt x="21109" y="3086"/>
                </a:cubicBezTo>
                <a:moveTo>
                  <a:pt x="12273" y="3086"/>
                </a:moveTo>
                <a:cubicBezTo>
                  <a:pt x="12002" y="3086"/>
                  <a:pt x="11782" y="3432"/>
                  <a:pt x="11782" y="3857"/>
                </a:cubicBezTo>
                <a:cubicBezTo>
                  <a:pt x="11782" y="4284"/>
                  <a:pt x="12002" y="4629"/>
                  <a:pt x="12273" y="4629"/>
                </a:cubicBezTo>
                <a:cubicBezTo>
                  <a:pt x="12544" y="4629"/>
                  <a:pt x="12764" y="4284"/>
                  <a:pt x="12764" y="3857"/>
                </a:cubicBezTo>
                <a:cubicBezTo>
                  <a:pt x="12764" y="3432"/>
                  <a:pt x="12544" y="3086"/>
                  <a:pt x="12273" y="3086"/>
                </a:cubicBezTo>
                <a:moveTo>
                  <a:pt x="14236" y="3086"/>
                </a:moveTo>
                <a:cubicBezTo>
                  <a:pt x="13966" y="3086"/>
                  <a:pt x="13745" y="3432"/>
                  <a:pt x="13745" y="3857"/>
                </a:cubicBezTo>
                <a:cubicBezTo>
                  <a:pt x="13745" y="4284"/>
                  <a:pt x="13966" y="4629"/>
                  <a:pt x="14236" y="4629"/>
                </a:cubicBezTo>
                <a:cubicBezTo>
                  <a:pt x="14507" y="4629"/>
                  <a:pt x="14727" y="4284"/>
                  <a:pt x="14727" y="3857"/>
                </a:cubicBezTo>
                <a:cubicBezTo>
                  <a:pt x="14727" y="3432"/>
                  <a:pt x="14507" y="3086"/>
                  <a:pt x="14236" y="3086"/>
                </a:cubicBezTo>
                <a:moveTo>
                  <a:pt x="5400" y="10800"/>
                </a:moveTo>
                <a:cubicBezTo>
                  <a:pt x="6214" y="10800"/>
                  <a:pt x="6873" y="11837"/>
                  <a:pt x="6873" y="13114"/>
                </a:cubicBezTo>
                <a:cubicBezTo>
                  <a:pt x="6873" y="14393"/>
                  <a:pt x="6214" y="15429"/>
                  <a:pt x="5400" y="15429"/>
                </a:cubicBezTo>
                <a:cubicBezTo>
                  <a:pt x="4586" y="15429"/>
                  <a:pt x="3927" y="14393"/>
                  <a:pt x="3927" y="13114"/>
                </a:cubicBezTo>
                <a:cubicBezTo>
                  <a:pt x="3927" y="11837"/>
                  <a:pt x="4586" y="10800"/>
                  <a:pt x="5400" y="10800"/>
                </a:cubicBezTo>
                <a:moveTo>
                  <a:pt x="11291" y="10800"/>
                </a:moveTo>
                <a:cubicBezTo>
                  <a:pt x="12104" y="10800"/>
                  <a:pt x="12764" y="11837"/>
                  <a:pt x="12764" y="13114"/>
                </a:cubicBezTo>
                <a:cubicBezTo>
                  <a:pt x="12764" y="14393"/>
                  <a:pt x="12104" y="15429"/>
                  <a:pt x="11291" y="15429"/>
                </a:cubicBezTo>
                <a:cubicBezTo>
                  <a:pt x="10477" y="15429"/>
                  <a:pt x="9818" y="14393"/>
                  <a:pt x="9818" y="13114"/>
                </a:cubicBezTo>
                <a:cubicBezTo>
                  <a:pt x="9818" y="11837"/>
                  <a:pt x="10477" y="10800"/>
                  <a:pt x="11291" y="10800"/>
                </a:cubicBezTo>
                <a:moveTo>
                  <a:pt x="5400" y="16971"/>
                </a:moveTo>
                <a:lnTo>
                  <a:pt x="11291" y="16971"/>
                </a:lnTo>
                <a:cubicBezTo>
                  <a:pt x="12647" y="16971"/>
                  <a:pt x="13745" y="15245"/>
                  <a:pt x="13745" y="13114"/>
                </a:cubicBezTo>
                <a:cubicBezTo>
                  <a:pt x="13745" y="10984"/>
                  <a:pt x="12647" y="9257"/>
                  <a:pt x="11291" y="9257"/>
                </a:cubicBezTo>
                <a:cubicBezTo>
                  <a:pt x="9935" y="9257"/>
                  <a:pt x="8836" y="10984"/>
                  <a:pt x="8836" y="13114"/>
                </a:cubicBezTo>
                <a:cubicBezTo>
                  <a:pt x="8836" y="13987"/>
                  <a:pt x="9028" y="14782"/>
                  <a:pt x="9338" y="15429"/>
                </a:cubicBezTo>
                <a:lnTo>
                  <a:pt x="7352" y="15429"/>
                </a:lnTo>
                <a:cubicBezTo>
                  <a:pt x="7663" y="14782"/>
                  <a:pt x="7855" y="13987"/>
                  <a:pt x="7855" y="13114"/>
                </a:cubicBezTo>
                <a:cubicBezTo>
                  <a:pt x="7855" y="10984"/>
                  <a:pt x="6755" y="9257"/>
                  <a:pt x="5400" y="9257"/>
                </a:cubicBezTo>
                <a:cubicBezTo>
                  <a:pt x="4044" y="9257"/>
                  <a:pt x="2945" y="10984"/>
                  <a:pt x="2945" y="13114"/>
                </a:cubicBezTo>
                <a:cubicBezTo>
                  <a:pt x="2945" y="15245"/>
                  <a:pt x="4044" y="16971"/>
                  <a:pt x="5400"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1" name="Shape 2641"/>
          <p:cNvSpPr/>
          <p:nvPr/>
        </p:nvSpPr>
        <p:spPr>
          <a:xfrm>
            <a:off x="2260427"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606"/>
                </a:moveTo>
                <a:lnTo>
                  <a:pt x="16691" y="14138"/>
                </a:lnTo>
                <a:lnTo>
                  <a:pt x="16691" y="7462"/>
                </a:lnTo>
                <a:lnTo>
                  <a:pt x="20618" y="4994"/>
                </a:lnTo>
                <a:cubicBezTo>
                  <a:pt x="20618" y="4994"/>
                  <a:pt x="20618" y="16606"/>
                  <a:pt x="20618" y="16606"/>
                </a:cubicBezTo>
                <a:close/>
                <a:moveTo>
                  <a:pt x="21109" y="3086"/>
                </a:moveTo>
                <a:cubicBezTo>
                  <a:pt x="21030" y="3086"/>
                  <a:pt x="20958" y="3122"/>
                  <a:pt x="20892" y="3174"/>
                </a:cubicBezTo>
                <a:lnTo>
                  <a:pt x="20890" y="3167"/>
                </a:lnTo>
                <a:lnTo>
                  <a:pt x="16018" y="6229"/>
                </a:lnTo>
                <a:cubicBezTo>
                  <a:pt x="16013" y="6233"/>
                  <a:pt x="16008" y="6235"/>
                  <a:pt x="16003" y="6239"/>
                </a:cubicBezTo>
                <a:lnTo>
                  <a:pt x="15980" y="6252"/>
                </a:lnTo>
                <a:lnTo>
                  <a:pt x="15983" y="6260"/>
                </a:lnTo>
                <a:cubicBezTo>
                  <a:pt x="15822" y="6387"/>
                  <a:pt x="15709" y="6641"/>
                  <a:pt x="15709" y="6943"/>
                </a:cubicBezTo>
                <a:lnTo>
                  <a:pt x="15709" y="14657"/>
                </a:lnTo>
                <a:cubicBezTo>
                  <a:pt x="15709" y="14959"/>
                  <a:pt x="15822" y="15213"/>
                  <a:pt x="15983" y="15340"/>
                </a:cubicBezTo>
                <a:lnTo>
                  <a:pt x="15980" y="15347"/>
                </a:lnTo>
                <a:lnTo>
                  <a:pt x="16002" y="15360"/>
                </a:lnTo>
                <a:cubicBezTo>
                  <a:pt x="16008" y="15365"/>
                  <a:pt x="16013" y="15368"/>
                  <a:pt x="16018" y="15371"/>
                </a:cubicBezTo>
                <a:lnTo>
                  <a:pt x="20890" y="18433"/>
                </a:lnTo>
                <a:lnTo>
                  <a:pt x="20892" y="18426"/>
                </a:lnTo>
                <a:cubicBezTo>
                  <a:pt x="20958" y="18478"/>
                  <a:pt x="21030" y="18514"/>
                  <a:pt x="21109" y="18514"/>
                </a:cubicBezTo>
                <a:cubicBezTo>
                  <a:pt x="21380" y="18514"/>
                  <a:pt x="21600" y="18169"/>
                  <a:pt x="21600" y="17743"/>
                </a:cubicBezTo>
                <a:lnTo>
                  <a:pt x="21600" y="3857"/>
                </a:lnTo>
                <a:cubicBezTo>
                  <a:pt x="21600" y="3431"/>
                  <a:pt x="21380" y="3086"/>
                  <a:pt x="21109" y="3086"/>
                </a:cubicBezTo>
                <a:moveTo>
                  <a:pt x="13745" y="18514"/>
                </a:moveTo>
                <a:cubicBezTo>
                  <a:pt x="13745" y="19367"/>
                  <a:pt x="13306" y="20057"/>
                  <a:pt x="12764" y="20057"/>
                </a:cubicBezTo>
                <a:lnTo>
                  <a:pt x="1964" y="20057"/>
                </a:lnTo>
                <a:cubicBezTo>
                  <a:pt x="1422" y="20057"/>
                  <a:pt x="982" y="19367"/>
                  <a:pt x="982" y="18514"/>
                </a:cubicBezTo>
                <a:lnTo>
                  <a:pt x="982" y="3086"/>
                </a:lnTo>
                <a:cubicBezTo>
                  <a:pt x="982" y="2233"/>
                  <a:pt x="1422" y="1543"/>
                  <a:pt x="1964" y="1543"/>
                </a:cubicBezTo>
                <a:lnTo>
                  <a:pt x="12764" y="1543"/>
                </a:lnTo>
                <a:cubicBezTo>
                  <a:pt x="13306" y="1543"/>
                  <a:pt x="13745" y="2233"/>
                  <a:pt x="13745" y="3086"/>
                </a:cubicBezTo>
                <a:cubicBezTo>
                  <a:pt x="13745" y="3086"/>
                  <a:pt x="13745" y="18514"/>
                  <a:pt x="13745" y="18514"/>
                </a:cubicBezTo>
                <a:close/>
                <a:moveTo>
                  <a:pt x="12764" y="0"/>
                </a:moveTo>
                <a:lnTo>
                  <a:pt x="1964" y="0"/>
                </a:lnTo>
                <a:cubicBezTo>
                  <a:pt x="879" y="0"/>
                  <a:pt x="0" y="1382"/>
                  <a:pt x="0" y="3086"/>
                </a:cubicBezTo>
                <a:lnTo>
                  <a:pt x="0" y="18514"/>
                </a:lnTo>
                <a:cubicBezTo>
                  <a:pt x="0" y="20219"/>
                  <a:pt x="879" y="21600"/>
                  <a:pt x="1964" y="21600"/>
                </a:cubicBezTo>
                <a:lnTo>
                  <a:pt x="12764" y="21600"/>
                </a:lnTo>
                <a:cubicBezTo>
                  <a:pt x="13848" y="21600"/>
                  <a:pt x="14727" y="20219"/>
                  <a:pt x="14727" y="18514"/>
                </a:cubicBezTo>
                <a:lnTo>
                  <a:pt x="14727" y="3086"/>
                </a:lnTo>
                <a:cubicBezTo>
                  <a:pt x="14727" y="1382"/>
                  <a:pt x="13848"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2" name="Shape 2642"/>
          <p:cNvSpPr/>
          <p:nvPr/>
        </p:nvSpPr>
        <p:spPr>
          <a:xfrm>
            <a:off x="266037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3" name="Shape 2643"/>
          <p:cNvSpPr/>
          <p:nvPr/>
        </p:nvSpPr>
        <p:spPr>
          <a:xfrm>
            <a:off x="3107931"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4" name="Shape 2644"/>
          <p:cNvSpPr/>
          <p:nvPr/>
        </p:nvSpPr>
        <p:spPr>
          <a:xfrm>
            <a:off x="3488833" y="1069907"/>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9"/>
                  <a:pt x="19645" y="20618"/>
                  <a:pt x="18900" y="20618"/>
                </a:cubicBezTo>
                <a:lnTo>
                  <a:pt x="2700" y="20618"/>
                </a:lnTo>
                <a:cubicBezTo>
                  <a:pt x="1954" y="20618"/>
                  <a:pt x="1350" y="20179"/>
                  <a:pt x="1350" y="19636"/>
                </a:cubicBezTo>
                <a:lnTo>
                  <a:pt x="1350" y="1964"/>
                </a:lnTo>
                <a:cubicBezTo>
                  <a:pt x="1350" y="1422"/>
                  <a:pt x="1954" y="982"/>
                  <a:pt x="2700" y="982"/>
                </a:cubicBezTo>
                <a:lnTo>
                  <a:pt x="18900" y="982"/>
                </a:lnTo>
                <a:cubicBezTo>
                  <a:pt x="19645" y="982"/>
                  <a:pt x="20250" y="1422"/>
                  <a:pt x="20250" y="1964"/>
                </a:cubicBezTo>
                <a:cubicBezTo>
                  <a:pt x="20250" y="1964"/>
                  <a:pt x="20250" y="19636"/>
                  <a:pt x="20250" y="19636"/>
                </a:cubicBezTo>
                <a:close/>
                <a:moveTo>
                  <a:pt x="18900" y="0"/>
                </a:moveTo>
                <a:lnTo>
                  <a:pt x="2700" y="0"/>
                </a:lnTo>
                <a:cubicBezTo>
                  <a:pt x="1209" y="0"/>
                  <a:pt x="0" y="879"/>
                  <a:pt x="0" y="1964"/>
                </a:cubicBezTo>
                <a:lnTo>
                  <a:pt x="0" y="19636"/>
                </a:lnTo>
                <a:cubicBezTo>
                  <a:pt x="0" y="20721"/>
                  <a:pt x="1209" y="21600"/>
                  <a:pt x="2700" y="21600"/>
                </a:cubicBezTo>
                <a:lnTo>
                  <a:pt x="18900" y="21600"/>
                </a:lnTo>
                <a:cubicBezTo>
                  <a:pt x="20391" y="21600"/>
                  <a:pt x="21600" y="20721"/>
                  <a:pt x="21600" y="19636"/>
                </a:cubicBezTo>
                <a:lnTo>
                  <a:pt x="21600" y="1964"/>
                </a:lnTo>
                <a:cubicBezTo>
                  <a:pt x="21600" y="879"/>
                  <a:pt x="20391" y="0"/>
                  <a:pt x="18900" y="0"/>
                </a:cubicBezTo>
                <a:moveTo>
                  <a:pt x="4050" y="3927"/>
                </a:moveTo>
                <a:lnTo>
                  <a:pt x="17550" y="3927"/>
                </a:lnTo>
                <a:lnTo>
                  <a:pt x="17550" y="17673"/>
                </a:lnTo>
                <a:lnTo>
                  <a:pt x="4050" y="17673"/>
                </a:lnTo>
                <a:cubicBezTo>
                  <a:pt x="4050" y="17673"/>
                  <a:pt x="4050" y="3927"/>
                  <a:pt x="4050" y="3927"/>
                </a:cubicBezTo>
                <a:close/>
                <a:moveTo>
                  <a:pt x="2700" y="18655"/>
                </a:moveTo>
                <a:lnTo>
                  <a:pt x="18900" y="18655"/>
                </a:lnTo>
                <a:lnTo>
                  <a:pt x="18900" y="2945"/>
                </a:lnTo>
                <a:lnTo>
                  <a:pt x="2700" y="2945"/>
                </a:lnTo>
                <a:cubicBezTo>
                  <a:pt x="2700" y="2945"/>
                  <a:pt x="2700" y="18655"/>
                  <a:pt x="2700" y="18655"/>
                </a:cubicBezTo>
                <a:close/>
                <a:moveTo>
                  <a:pt x="10125" y="2455"/>
                </a:moveTo>
                <a:lnTo>
                  <a:pt x="11475" y="2455"/>
                </a:lnTo>
                <a:cubicBezTo>
                  <a:pt x="11848" y="2455"/>
                  <a:pt x="12150" y="2235"/>
                  <a:pt x="12150" y="1964"/>
                </a:cubicBezTo>
                <a:cubicBezTo>
                  <a:pt x="12150" y="1692"/>
                  <a:pt x="11848" y="1473"/>
                  <a:pt x="11475" y="1473"/>
                </a:cubicBezTo>
                <a:lnTo>
                  <a:pt x="10125" y="1473"/>
                </a:lnTo>
                <a:cubicBezTo>
                  <a:pt x="9752" y="1473"/>
                  <a:pt x="9450" y="1692"/>
                  <a:pt x="9450" y="1964"/>
                </a:cubicBezTo>
                <a:cubicBezTo>
                  <a:pt x="9450" y="2235"/>
                  <a:pt x="9752" y="2455"/>
                  <a:pt x="10125" y="2455"/>
                </a:cubicBezTo>
                <a:moveTo>
                  <a:pt x="10800" y="19145"/>
                </a:moveTo>
                <a:cubicBezTo>
                  <a:pt x="10427" y="19145"/>
                  <a:pt x="10125" y="19366"/>
                  <a:pt x="10125" y="19636"/>
                </a:cubicBezTo>
                <a:cubicBezTo>
                  <a:pt x="10125" y="19908"/>
                  <a:pt x="10427" y="20127"/>
                  <a:pt x="10800" y="20127"/>
                </a:cubicBezTo>
                <a:cubicBezTo>
                  <a:pt x="11173" y="20127"/>
                  <a:pt x="11475" y="19908"/>
                  <a:pt x="11475" y="19636"/>
                </a:cubicBezTo>
                <a:cubicBezTo>
                  <a:pt x="11475" y="19366"/>
                  <a:pt x="11173" y="19145"/>
                  <a:pt x="10800" y="191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5" name="Shape 2645"/>
          <p:cNvSpPr/>
          <p:nvPr/>
        </p:nvSpPr>
        <p:spPr>
          <a:xfrm>
            <a:off x="3860211"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6" name="Shape 2646"/>
          <p:cNvSpPr/>
          <p:nvPr/>
        </p:nvSpPr>
        <p:spPr>
          <a:xfrm>
            <a:off x="426015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7" name="Shape 2647"/>
          <p:cNvSpPr/>
          <p:nvPr/>
        </p:nvSpPr>
        <p:spPr>
          <a:xfrm>
            <a:off x="66064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0773" y="5201"/>
                </a:moveTo>
                <a:cubicBezTo>
                  <a:pt x="10712" y="5093"/>
                  <a:pt x="10614" y="5023"/>
                  <a:pt x="10504" y="4986"/>
                </a:cubicBezTo>
                <a:lnTo>
                  <a:pt x="10517" y="4938"/>
                </a:lnTo>
                <a:cubicBezTo>
                  <a:pt x="10483" y="4941"/>
                  <a:pt x="10451" y="4949"/>
                  <a:pt x="10419" y="4957"/>
                </a:cubicBezTo>
                <a:lnTo>
                  <a:pt x="8464" y="4433"/>
                </a:lnTo>
                <a:cubicBezTo>
                  <a:pt x="8343" y="4400"/>
                  <a:pt x="8209" y="4414"/>
                  <a:pt x="8091" y="4482"/>
                </a:cubicBezTo>
                <a:cubicBezTo>
                  <a:pt x="7856" y="4618"/>
                  <a:pt x="7776" y="4918"/>
                  <a:pt x="7912" y="5153"/>
                </a:cubicBezTo>
                <a:cubicBezTo>
                  <a:pt x="7979" y="5270"/>
                  <a:pt x="8088" y="5349"/>
                  <a:pt x="8210" y="5381"/>
                </a:cubicBezTo>
                <a:lnTo>
                  <a:pt x="8965" y="5584"/>
                </a:lnTo>
                <a:cubicBezTo>
                  <a:pt x="8292" y="6116"/>
                  <a:pt x="7855" y="6927"/>
                  <a:pt x="7855" y="7855"/>
                </a:cubicBezTo>
                <a:cubicBezTo>
                  <a:pt x="7855" y="9081"/>
                  <a:pt x="8605" y="10131"/>
                  <a:pt x="9671" y="10574"/>
                </a:cubicBezTo>
                <a:lnTo>
                  <a:pt x="9934" y="9609"/>
                </a:lnTo>
                <a:cubicBezTo>
                  <a:pt x="9286" y="9288"/>
                  <a:pt x="8836" y="8627"/>
                  <a:pt x="8836" y="7855"/>
                </a:cubicBezTo>
                <a:cubicBezTo>
                  <a:pt x="8836" y="7221"/>
                  <a:pt x="9142" y="6665"/>
                  <a:pt x="9609" y="6309"/>
                </a:cubicBezTo>
                <a:lnTo>
                  <a:pt x="9336" y="7331"/>
                </a:lnTo>
                <a:cubicBezTo>
                  <a:pt x="9303" y="7453"/>
                  <a:pt x="9316" y="7586"/>
                  <a:pt x="9384" y="7704"/>
                </a:cubicBezTo>
                <a:cubicBezTo>
                  <a:pt x="9520" y="7938"/>
                  <a:pt x="9820" y="8019"/>
                  <a:pt x="10055" y="7884"/>
                </a:cubicBezTo>
                <a:cubicBezTo>
                  <a:pt x="10172" y="7815"/>
                  <a:pt x="10251" y="7706"/>
                  <a:pt x="10284" y="7585"/>
                </a:cubicBezTo>
                <a:lnTo>
                  <a:pt x="10823" y="5573"/>
                </a:lnTo>
                <a:cubicBezTo>
                  <a:pt x="10855" y="5452"/>
                  <a:pt x="10841" y="5318"/>
                  <a:pt x="10773" y="5201"/>
                </a:cubicBezTo>
                <a:moveTo>
                  <a:pt x="13421" y="10343"/>
                </a:moveTo>
                <a:lnTo>
                  <a:pt x="12630" y="10132"/>
                </a:lnTo>
                <a:cubicBezTo>
                  <a:pt x="13306" y="9598"/>
                  <a:pt x="13745" y="8785"/>
                  <a:pt x="13745" y="7855"/>
                </a:cubicBezTo>
                <a:cubicBezTo>
                  <a:pt x="13745" y="6643"/>
                  <a:pt x="13013" y="5604"/>
                  <a:pt x="11967" y="5152"/>
                </a:cubicBezTo>
                <a:lnTo>
                  <a:pt x="11702" y="6121"/>
                </a:lnTo>
                <a:cubicBezTo>
                  <a:pt x="12330" y="6448"/>
                  <a:pt x="12764" y="7098"/>
                  <a:pt x="12764" y="7855"/>
                </a:cubicBezTo>
                <a:cubicBezTo>
                  <a:pt x="12764" y="8468"/>
                  <a:pt x="12477" y="9008"/>
                  <a:pt x="12035" y="9366"/>
                </a:cubicBezTo>
                <a:lnTo>
                  <a:pt x="12295" y="8394"/>
                </a:lnTo>
                <a:cubicBezTo>
                  <a:pt x="12328" y="8273"/>
                  <a:pt x="12314" y="8139"/>
                  <a:pt x="12246" y="8021"/>
                </a:cubicBezTo>
                <a:cubicBezTo>
                  <a:pt x="12111" y="7786"/>
                  <a:pt x="11811" y="7706"/>
                  <a:pt x="11576" y="7842"/>
                </a:cubicBezTo>
                <a:cubicBezTo>
                  <a:pt x="11458" y="7910"/>
                  <a:pt x="11380" y="8019"/>
                  <a:pt x="11347" y="8140"/>
                </a:cubicBezTo>
                <a:lnTo>
                  <a:pt x="10808" y="10152"/>
                </a:lnTo>
                <a:lnTo>
                  <a:pt x="10808" y="10152"/>
                </a:lnTo>
                <a:cubicBezTo>
                  <a:pt x="10776" y="10273"/>
                  <a:pt x="10789" y="10407"/>
                  <a:pt x="10857" y="10524"/>
                </a:cubicBezTo>
                <a:cubicBezTo>
                  <a:pt x="10920" y="10634"/>
                  <a:pt x="11021" y="10706"/>
                  <a:pt x="11133" y="10742"/>
                </a:cubicBezTo>
                <a:lnTo>
                  <a:pt x="11126" y="10768"/>
                </a:lnTo>
                <a:cubicBezTo>
                  <a:pt x="11142" y="10766"/>
                  <a:pt x="11157" y="10761"/>
                  <a:pt x="11173" y="10758"/>
                </a:cubicBezTo>
                <a:lnTo>
                  <a:pt x="13167" y="11292"/>
                </a:lnTo>
                <a:cubicBezTo>
                  <a:pt x="13288" y="11324"/>
                  <a:pt x="13422" y="11311"/>
                  <a:pt x="13540" y="11243"/>
                </a:cubicBezTo>
                <a:cubicBezTo>
                  <a:pt x="13774" y="11107"/>
                  <a:pt x="13855" y="10807"/>
                  <a:pt x="13719" y="10572"/>
                </a:cubicBezTo>
                <a:cubicBezTo>
                  <a:pt x="13651" y="10455"/>
                  <a:pt x="13542" y="10376"/>
                  <a:pt x="13421" y="103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8" name="Shape 2648"/>
          <p:cNvSpPr/>
          <p:nvPr/>
        </p:nvSpPr>
        <p:spPr>
          <a:xfrm>
            <a:off x="106059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2764" y="8836"/>
                </a:moveTo>
                <a:cubicBezTo>
                  <a:pt x="12628" y="8836"/>
                  <a:pt x="12505" y="8891"/>
                  <a:pt x="12417" y="8980"/>
                </a:cubicBezTo>
                <a:lnTo>
                  <a:pt x="11291" y="10106"/>
                </a:lnTo>
                <a:lnTo>
                  <a:pt x="11291" y="4419"/>
                </a:lnTo>
                <a:lnTo>
                  <a:pt x="11291" y="4418"/>
                </a:lnTo>
                <a:cubicBezTo>
                  <a:pt x="11291" y="4147"/>
                  <a:pt x="11071" y="3927"/>
                  <a:pt x="10800" y="3927"/>
                </a:cubicBezTo>
                <a:cubicBezTo>
                  <a:pt x="10529" y="3927"/>
                  <a:pt x="10309" y="4147"/>
                  <a:pt x="10309" y="4418"/>
                </a:cubicBezTo>
                <a:lnTo>
                  <a:pt x="10309" y="10106"/>
                </a:lnTo>
                <a:lnTo>
                  <a:pt x="9183" y="8980"/>
                </a:lnTo>
                <a:cubicBezTo>
                  <a:pt x="9095" y="8891"/>
                  <a:pt x="8972" y="8836"/>
                  <a:pt x="8836" y="8836"/>
                </a:cubicBezTo>
                <a:cubicBezTo>
                  <a:pt x="8566" y="8836"/>
                  <a:pt x="8345" y="9056"/>
                  <a:pt x="8345" y="9327"/>
                </a:cubicBezTo>
                <a:cubicBezTo>
                  <a:pt x="8345" y="9463"/>
                  <a:pt x="8400" y="9586"/>
                  <a:pt x="8489" y="9674"/>
                </a:cubicBezTo>
                <a:lnTo>
                  <a:pt x="10453" y="11638"/>
                </a:lnTo>
                <a:cubicBezTo>
                  <a:pt x="10542" y="11727"/>
                  <a:pt x="10665" y="11782"/>
                  <a:pt x="10800" y="11782"/>
                </a:cubicBezTo>
                <a:cubicBezTo>
                  <a:pt x="10935" y="11782"/>
                  <a:pt x="11058" y="11727"/>
                  <a:pt x="11147" y="11638"/>
                </a:cubicBezTo>
                <a:lnTo>
                  <a:pt x="13111" y="9674"/>
                </a:lnTo>
                <a:cubicBezTo>
                  <a:pt x="13200" y="9586"/>
                  <a:pt x="13255" y="9463"/>
                  <a:pt x="13255" y="9327"/>
                </a:cubicBezTo>
                <a:cubicBezTo>
                  <a:pt x="13255" y="9056"/>
                  <a:pt x="13034" y="8836"/>
                  <a:pt x="12764"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9" name="Shape 2649"/>
          <p:cNvSpPr/>
          <p:nvPr/>
        </p:nvSpPr>
        <p:spPr>
          <a:xfrm>
            <a:off x="1460536"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0" name="Shape 2650"/>
          <p:cNvSpPr/>
          <p:nvPr/>
        </p:nvSpPr>
        <p:spPr>
          <a:xfrm>
            <a:off x="1860482"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4236" y="7364"/>
                </a:moveTo>
                <a:lnTo>
                  <a:pt x="8549" y="7364"/>
                </a:lnTo>
                <a:lnTo>
                  <a:pt x="9674" y="6238"/>
                </a:lnTo>
                <a:cubicBezTo>
                  <a:pt x="9763" y="6149"/>
                  <a:pt x="9818" y="6027"/>
                  <a:pt x="9818" y="5891"/>
                </a:cubicBezTo>
                <a:cubicBezTo>
                  <a:pt x="9818" y="5620"/>
                  <a:pt x="9598" y="5400"/>
                  <a:pt x="9327" y="5400"/>
                </a:cubicBezTo>
                <a:cubicBezTo>
                  <a:pt x="9192" y="5400"/>
                  <a:pt x="9069" y="5455"/>
                  <a:pt x="8980" y="5544"/>
                </a:cubicBezTo>
                <a:lnTo>
                  <a:pt x="7017" y="7507"/>
                </a:lnTo>
                <a:cubicBezTo>
                  <a:pt x="6928" y="7597"/>
                  <a:pt x="6873" y="7720"/>
                  <a:pt x="6873" y="7855"/>
                </a:cubicBezTo>
                <a:cubicBezTo>
                  <a:pt x="6873" y="7990"/>
                  <a:pt x="6928" y="8113"/>
                  <a:pt x="7017" y="8202"/>
                </a:cubicBezTo>
                <a:lnTo>
                  <a:pt x="8980" y="10165"/>
                </a:lnTo>
                <a:cubicBezTo>
                  <a:pt x="9069" y="10255"/>
                  <a:pt x="9192" y="10309"/>
                  <a:pt x="9327" y="10309"/>
                </a:cubicBezTo>
                <a:cubicBezTo>
                  <a:pt x="9598" y="10309"/>
                  <a:pt x="9818" y="10090"/>
                  <a:pt x="9818" y="9818"/>
                </a:cubicBezTo>
                <a:cubicBezTo>
                  <a:pt x="9818" y="9683"/>
                  <a:pt x="9763" y="9560"/>
                  <a:pt x="9674" y="9471"/>
                </a:cubicBezTo>
                <a:lnTo>
                  <a:pt x="8549" y="8345"/>
                </a:lnTo>
                <a:lnTo>
                  <a:pt x="14236" y="8345"/>
                </a:lnTo>
                <a:cubicBezTo>
                  <a:pt x="14507" y="8345"/>
                  <a:pt x="14727" y="8126"/>
                  <a:pt x="14727" y="7855"/>
                </a:cubicBezTo>
                <a:cubicBezTo>
                  <a:pt x="14727" y="7584"/>
                  <a:pt x="14507" y="7364"/>
                  <a:pt x="14236"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1" name="Shape 2651"/>
          <p:cNvSpPr/>
          <p:nvPr/>
        </p:nvSpPr>
        <p:spPr>
          <a:xfrm>
            <a:off x="226042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583" y="7507"/>
                </a:moveTo>
                <a:lnTo>
                  <a:pt x="12620" y="5544"/>
                </a:lnTo>
                <a:cubicBezTo>
                  <a:pt x="12531" y="5455"/>
                  <a:pt x="12408" y="5400"/>
                  <a:pt x="12273" y="5400"/>
                </a:cubicBezTo>
                <a:cubicBezTo>
                  <a:pt x="12001" y="5400"/>
                  <a:pt x="11782" y="5620"/>
                  <a:pt x="11782" y="5891"/>
                </a:cubicBezTo>
                <a:cubicBezTo>
                  <a:pt x="11782" y="6027"/>
                  <a:pt x="11837" y="6149"/>
                  <a:pt x="11926" y="6238"/>
                </a:cubicBezTo>
                <a:lnTo>
                  <a:pt x="13051" y="7364"/>
                </a:lnTo>
                <a:lnTo>
                  <a:pt x="7364" y="7364"/>
                </a:lnTo>
                <a:cubicBezTo>
                  <a:pt x="7092" y="7364"/>
                  <a:pt x="6873" y="7584"/>
                  <a:pt x="6873" y="7855"/>
                </a:cubicBezTo>
                <a:cubicBezTo>
                  <a:pt x="6873" y="8126"/>
                  <a:pt x="7092" y="8345"/>
                  <a:pt x="7364" y="8345"/>
                </a:cubicBezTo>
                <a:lnTo>
                  <a:pt x="13051" y="8345"/>
                </a:lnTo>
                <a:lnTo>
                  <a:pt x="11926" y="9471"/>
                </a:lnTo>
                <a:cubicBezTo>
                  <a:pt x="11837" y="9560"/>
                  <a:pt x="11782" y="9683"/>
                  <a:pt x="11782" y="9818"/>
                </a:cubicBezTo>
                <a:cubicBezTo>
                  <a:pt x="11782" y="10090"/>
                  <a:pt x="12001" y="10309"/>
                  <a:pt x="12273" y="10309"/>
                </a:cubicBezTo>
                <a:cubicBezTo>
                  <a:pt x="12408" y="10309"/>
                  <a:pt x="12531" y="10255"/>
                  <a:pt x="12620" y="10165"/>
                </a:cubicBezTo>
                <a:lnTo>
                  <a:pt x="14583" y="8202"/>
                </a:lnTo>
                <a:cubicBezTo>
                  <a:pt x="14672" y="8113"/>
                  <a:pt x="14727" y="7990"/>
                  <a:pt x="14727" y="7855"/>
                </a:cubicBezTo>
                <a:cubicBezTo>
                  <a:pt x="14727" y="7720"/>
                  <a:pt x="14672" y="7597"/>
                  <a:pt x="14583" y="7507"/>
                </a:cubicBezTo>
                <a:close/>
                <a:moveTo>
                  <a:pt x="20618" y="14727"/>
                </a:moveTo>
                <a:lnTo>
                  <a:pt x="982" y="14727"/>
                </a:lnTo>
                <a:lnTo>
                  <a:pt x="982" y="1964"/>
                </a:lnTo>
                <a:cubicBezTo>
                  <a:pt x="982" y="1422"/>
                  <a:pt x="1421"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1"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0"/>
                  <a:pt x="7092" y="21600"/>
                  <a:pt x="7364" y="21600"/>
                </a:cubicBezTo>
                <a:lnTo>
                  <a:pt x="14236" y="21600"/>
                </a:lnTo>
                <a:cubicBezTo>
                  <a:pt x="14507" y="21600"/>
                  <a:pt x="14727" y="21380"/>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2" name="Shape 2652"/>
          <p:cNvSpPr/>
          <p:nvPr/>
        </p:nvSpPr>
        <p:spPr>
          <a:xfrm>
            <a:off x="266037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7547" y="14727"/>
                  <a:pt x="4909" y="12969"/>
                  <a:pt x="4909" y="10800"/>
                </a:cubicBezTo>
                <a:cubicBezTo>
                  <a:pt x="4909" y="8631"/>
                  <a:pt x="7547" y="6873"/>
                  <a:pt x="10800" y="6873"/>
                </a:cubicBezTo>
                <a:cubicBezTo>
                  <a:pt x="11895" y="6873"/>
                  <a:pt x="12917" y="7076"/>
                  <a:pt x="13795" y="7423"/>
                </a:cubicBezTo>
                <a:lnTo>
                  <a:pt x="15709" y="5073"/>
                </a:lnTo>
                <a:lnTo>
                  <a:pt x="15709" y="8631"/>
                </a:lnTo>
                <a:cubicBezTo>
                  <a:pt x="16328" y="9253"/>
                  <a:pt x="16691" y="9998"/>
                  <a:pt x="16691" y="10800"/>
                </a:cubicBezTo>
                <a:cubicBezTo>
                  <a:pt x="16691" y="12969"/>
                  <a:pt x="14053" y="14727"/>
                  <a:pt x="10800" y="14727"/>
                </a:cubicBezTo>
                <a:moveTo>
                  <a:pt x="16691" y="1964"/>
                </a:moveTo>
                <a:lnTo>
                  <a:pt x="13360" y="6247"/>
                </a:lnTo>
                <a:cubicBezTo>
                  <a:pt x="12568" y="6020"/>
                  <a:pt x="11706" y="5891"/>
                  <a:pt x="10800" y="5891"/>
                </a:cubicBezTo>
                <a:cubicBezTo>
                  <a:pt x="7004" y="5891"/>
                  <a:pt x="3927" y="8089"/>
                  <a:pt x="3927" y="10800"/>
                </a:cubicBezTo>
                <a:cubicBezTo>
                  <a:pt x="3927" y="13511"/>
                  <a:pt x="7004" y="15709"/>
                  <a:pt x="10800" y="15709"/>
                </a:cubicBezTo>
                <a:cubicBezTo>
                  <a:pt x="14596" y="15709"/>
                  <a:pt x="17673" y="13511"/>
                  <a:pt x="17673" y="10800"/>
                </a:cubicBezTo>
                <a:cubicBezTo>
                  <a:pt x="17673" y="9878"/>
                  <a:pt x="17310" y="9018"/>
                  <a:pt x="16691" y="8281"/>
                </a:cubicBezTo>
                <a:cubicBezTo>
                  <a:pt x="16691" y="8281"/>
                  <a:pt x="16691" y="1964"/>
                  <a:pt x="16691" y="1964"/>
                </a:cubicBezTo>
                <a:close/>
                <a:moveTo>
                  <a:pt x="19145" y="1964"/>
                </a:moveTo>
                <a:cubicBezTo>
                  <a:pt x="18874" y="1964"/>
                  <a:pt x="18655" y="2184"/>
                  <a:pt x="18655" y="2455"/>
                </a:cubicBezTo>
                <a:cubicBezTo>
                  <a:pt x="18655" y="2726"/>
                  <a:pt x="18874" y="2945"/>
                  <a:pt x="19145" y="2945"/>
                </a:cubicBezTo>
                <a:cubicBezTo>
                  <a:pt x="19417" y="2945"/>
                  <a:pt x="19636" y="2726"/>
                  <a:pt x="19636" y="2455"/>
                </a:cubicBezTo>
                <a:cubicBezTo>
                  <a:pt x="19636" y="2184"/>
                  <a:pt x="19417" y="1964"/>
                  <a:pt x="19145" y="1964"/>
                </a:cubicBezTo>
                <a:moveTo>
                  <a:pt x="20618" y="16691"/>
                </a:moveTo>
                <a:cubicBezTo>
                  <a:pt x="20618" y="17233"/>
                  <a:pt x="20178" y="17673"/>
                  <a:pt x="19636" y="17673"/>
                </a:cubicBezTo>
                <a:lnTo>
                  <a:pt x="1964" y="17673"/>
                </a:lnTo>
                <a:cubicBezTo>
                  <a:pt x="1422" y="17673"/>
                  <a:pt x="982" y="17233"/>
                  <a:pt x="982" y="16691"/>
                </a:cubicBezTo>
                <a:lnTo>
                  <a:pt x="982" y="1964"/>
                </a:lnTo>
                <a:cubicBezTo>
                  <a:pt x="982" y="1422"/>
                  <a:pt x="1422" y="982"/>
                  <a:pt x="1964" y="982"/>
                </a:cubicBezTo>
                <a:lnTo>
                  <a:pt x="19636" y="982"/>
                </a:lnTo>
                <a:cubicBezTo>
                  <a:pt x="20178" y="982"/>
                  <a:pt x="20618" y="1422"/>
                  <a:pt x="20618" y="1964"/>
                </a:cubicBezTo>
                <a:cubicBezTo>
                  <a:pt x="20618" y="1964"/>
                  <a:pt x="20618" y="16691"/>
                  <a:pt x="20618" y="16691"/>
                </a:cubicBezTo>
                <a:close/>
                <a:moveTo>
                  <a:pt x="20618" y="19636"/>
                </a:moveTo>
                <a:cubicBezTo>
                  <a:pt x="20618" y="20178"/>
                  <a:pt x="20178" y="20618"/>
                  <a:pt x="19636" y="20618"/>
                </a:cubicBezTo>
                <a:lnTo>
                  <a:pt x="1964" y="20618"/>
                </a:lnTo>
                <a:cubicBezTo>
                  <a:pt x="1422" y="20618"/>
                  <a:pt x="982" y="20178"/>
                  <a:pt x="982" y="19636"/>
                </a:cubicBezTo>
                <a:lnTo>
                  <a:pt x="982" y="18382"/>
                </a:lnTo>
                <a:cubicBezTo>
                  <a:pt x="1271" y="18551"/>
                  <a:pt x="1604" y="18655"/>
                  <a:pt x="1964" y="18655"/>
                </a:cubicBezTo>
                <a:lnTo>
                  <a:pt x="19636" y="18655"/>
                </a:lnTo>
                <a:cubicBezTo>
                  <a:pt x="19996" y="18655"/>
                  <a:pt x="20329" y="18551"/>
                  <a:pt x="20618" y="18382"/>
                </a:cubicBezTo>
                <a:cubicBezTo>
                  <a:pt x="20618" y="18382"/>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800" y="11291"/>
                </a:moveTo>
                <a:cubicBezTo>
                  <a:pt x="10258" y="11291"/>
                  <a:pt x="9818" y="11072"/>
                  <a:pt x="9818" y="10800"/>
                </a:cubicBezTo>
                <a:cubicBezTo>
                  <a:pt x="9818" y="10529"/>
                  <a:pt x="10258" y="10309"/>
                  <a:pt x="10800" y="10309"/>
                </a:cubicBezTo>
                <a:cubicBezTo>
                  <a:pt x="11342" y="10309"/>
                  <a:pt x="11782" y="10529"/>
                  <a:pt x="11782" y="10800"/>
                </a:cubicBezTo>
                <a:cubicBezTo>
                  <a:pt x="11782" y="11072"/>
                  <a:pt x="11342" y="11291"/>
                  <a:pt x="10800" y="11291"/>
                </a:cubicBezTo>
                <a:moveTo>
                  <a:pt x="10800" y="9327"/>
                </a:moveTo>
                <a:cubicBezTo>
                  <a:pt x="9716" y="9327"/>
                  <a:pt x="8836" y="9986"/>
                  <a:pt x="8836" y="10800"/>
                </a:cubicBezTo>
                <a:cubicBezTo>
                  <a:pt x="8836" y="11614"/>
                  <a:pt x="9716" y="12273"/>
                  <a:pt x="10800" y="12273"/>
                </a:cubicBezTo>
                <a:cubicBezTo>
                  <a:pt x="11884" y="12273"/>
                  <a:pt x="12764" y="11614"/>
                  <a:pt x="12764" y="10800"/>
                </a:cubicBezTo>
                <a:cubicBezTo>
                  <a:pt x="12764" y="9986"/>
                  <a:pt x="11884" y="9327"/>
                  <a:pt x="10800" y="9327"/>
                </a:cubicBezTo>
                <a:moveTo>
                  <a:pt x="19145" y="15709"/>
                </a:moveTo>
                <a:cubicBezTo>
                  <a:pt x="18874" y="15709"/>
                  <a:pt x="18655" y="15929"/>
                  <a:pt x="18655" y="16200"/>
                </a:cubicBezTo>
                <a:cubicBezTo>
                  <a:pt x="18655" y="16472"/>
                  <a:pt x="18874" y="16691"/>
                  <a:pt x="19145" y="16691"/>
                </a:cubicBezTo>
                <a:cubicBezTo>
                  <a:pt x="19417" y="16691"/>
                  <a:pt x="19636" y="16472"/>
                  <a:pt x="19636" y="16200"/>
                </a:cubicBezTo>
                <a:cubicBezTo>
                  <a:pt x="19636" y="15929"/>
                  <a:pt x="19417" y="15709"/>
                  <a:pt x="19145" y="15709"/>
                </a:cubicBezTo>
                <a:moveTo>
                  <a:pt x="2455" y="15709"/>
                </a:moveTo>
                <a:cubicBezTo>
                  <a:pt x="2183" y="15709"/>
                  <a:pt x="1964" y="15929"/>
                  <a:pt x="1964" y="16200"/>
                </a:cubicBezTo>
                <a:cubicBezTo>
                  <a:pt x="1964" y="16472"/>
                  <a:pt x="2183" y="16691"/>
                  <a:pt x="2455" y="16691"/>
                </a:cubicBezTo>
                <a:cubicBezTo>
                  <a:pt x="2726" y="16691"/>
                  <a:pt x="2945" y="16472"/>
                  <a:pt x="2945" y="16200"/>
                </a:cubicBezTo>
                <a:cubicBezTo>
                  <a:pt x="2945" y="15929"/>
                  <a:pt x="2726" y="15709"/>
                  <a:pt x="2455" y="15709"/>
                </a:cubicBezTo>
                <a:moveTo>
                  <a:pt x="5645" y="4418"/>
                </a:moveTo>
                <a:lnTo>
                  <a:pt x="12027" y="4418"/>
                </a:lnTo>
                <a:cubicBezTo>
                  <a:pt x="12434" y="4418"/>
                  <a:pt x="12764" y="4088"/>
                  <a:pt x="12764" y="3682"/>
                </a:cubicBezTo>
                <a:cubicBezTo>
                  <a:pt x="12764" y="3275"/>
                  <a:pt x="12434" y="2945"/>
                  <a:pt x="12027" y="2945"/>
                </a:cubicBezTo>
                <a:lnTo>
                  <a:pt x="5645" y="2945"/>
                </a:lnTo>
                <a:cubicBezTo>
                  <a:pt x="5239" y="2945"/>
                  <a:pt x="4909" y="3275"/>
                  <a:pt x="4909" y="3682"/>
                </a:cubicBezTo>
                <a:cubicBezTo>
                  <a:pt x="4909" y="4088"/>
                  <a:pt x="5239" y="4418"/>
                  <a:pt x="5645" y="4418"/>
                </a:cubicBezTo>
                <a:moveTo>
                  <a:pt x="2455" y="1964"/>
                </a:moveTo>
                <a:cubicBezTo>
                  <a:pt x="2183" y="1964"/>
                  <a:pt x="1964" y="2184"/>
                  <a:pt x="1964" y="2455"/>
                </a:cubicBezTo>
                <a:cubicBezTo>
                  <a:pt x="1964" y="2726"/>
                  <a:pt x="2183" y="2945"/>
                  <a:pt x="2455" y="2945"/>
                </a:cubicBezTo>
                <a:cubicBezTo>
                  <a:pt x="2726" y="2945"/>
                  <a:pt x="2945" y="2726"/>
                  <a:pt x="2945" y="2455"/>
                </a:cubicBezTo>
                <a:cubicBezTo>
                  <a:pt x="2945" y="2184"/>
                  <a:pt x="2726"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3" name="Shape 2653"/>
          <p:cNvSpPr/>
          <p:nvPr/>
        </p:nvSpPr>
        <p:spPr>
          <a:xfrm>
            <a:off x="306032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5891"/>
                </a:moveTo>
                <a:lnTo>
                  <a:pt x="14727" y="5891"/>
                </a:lnTo>
                <a:lnTo>
                  <a:pt x="14727" y="1964"/>
                </a:lnTo>
                <a:lnTo>
                  <a:pt x="12764" y="1964"/>
                </a:lnTo>
                <a:cubicBezTo>
                  <a:pt x="12764" y="1964"/>
                  <a:pt x="12764" y="5891"/>
                  <a:pt x="12764" y="5891"/>
                </a:cubicBezTo>
                <a:close/>
                <a:moveTo>
                  <a:pt x="6873" y="2945"/>
                </a:moveTo>
                <a:lnTo>
                  <a:pt x="10800" y="2945"/>
                </a:lnTo>
                <a:lnTo>
                  <a:pt x="10800" y="1964"/>
                </a:lnTo>
                <a:lnTo>
                  <a:pt x="6873" y="1964"/>
                </a:lnTo>
                <a:cubicBezTo>
                  <a:pt x="6873" y="1964"/>
                  <a:pt x="6873" y="2945"/>
                  <a:pt x="6873" y="29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6873" y="4909"/>
                </a:moveTo>
                <a:lnTo>
                  <a:pt x="9818" y="4909"/>
                </a:lnTo>
                <a:lnTo>
                  <a:pt x="9818" y="3927"/>
                </a:lnTo>
                <a:lnTo>
                  <a:pt x="6873" y="3927"/>
                </a:lnTo>
                <a:cubicBezTo>
                  <a:pt x="6873" y="3927"/>
                  <a:pt x="6873" y="4909"/>
                  <a:pt x="6873"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4" name="Shape 2654"/>
          <p:cNvSpPr/>
          <p:nvPr/>
        </p:nvSpPr>
        <p:spPr>
          <a:xfrm>
            <a:off x="3460265"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6691"/>
                </a:lnTo>
                <a:lnTo>
                  <a:pt x="15709" y="16691"/>
                </a:lnTo>
                <a:cubicBezTo>
                  <a:pt x="15709" y="16691"/>
                  <a:pt x="15709" y="15709"/>
                  <a:pt x="15709" y="15709"/>
                </a:cubicBezTo>
                <a:close/>
                <a:moveTo>
                  <a:pt x="15709" y="17673"/>
                </a:moveTo>
                <a:lnTo>
                  <a:pt x="5891" y="17673"/>
                </a:lnTo>
                <a:lnTo>
                  <a:pt x="5891" y="18655"/>
                </a:lnTo>
                <a:lnTo>
                  <a:pt x="15709" y="18655"/>
                </a:lnTo>
                <a:cubicBezTo>
                  <a:pt x="15709" y="18655"/>
                  <a:pt x="15709" y="17673"/>
                  <a:pt x="15709" y="17673"/>
                </a:cubicBezTo>
                <a:close/>
                <a:moveTo>
                  <a:pt x="11782" y="13745"/>
                </a:moveTo>
                <a:lnTo>
                  <a:pt x="5891" y="13745"/>
                </a:lnTo>
                <a:lnTo>
                  <a:pt x="5891" y="14727"/>
                </a:lnTo>
                <a:lnTo>
                  <a:pt x="11782" y="14727"/>
                </a:lnTo>
                <a:cubicBezTo>
                  <a:pt x="11782" y="14727"/>
                  <a:pt x="11782" y="13745"/>
                  <a:pt x="11782" y="137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12764" y="5891"/>
                </a:moveTo>
                <a:lnTo>
                  <a:pt x="14727" y="5891"/>
                </a:lnTo>
                <a:lnTo>
                  <a:pt x="14727" y="1964"/>
                </a:lnTo>
                <a:lnTo>
                  <a:pt x="12764" y="1964"/>
                </a:lnTo>
                <a:cubicBezTo>
                  <a:pt x="12764" y="1964"/>
                  <a:pt x="12764" y="5891"/>
                  <a:pt x="12764"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5" name="Shape 2655"/>
          <p:cNvSpPr/>
          <p:nvPr/>
        </p:nvSpPr>
        <p:spPr>
          <a:xfrm>
            <a:off x="3860211" y="1488898"/>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14400"/>
                </a:moveTo>
                <a:lnTo>
                  <a:pt x="16349" y="14400"/>
                </a:lnTo>
                <a:cubicBezTo>
                  <a:pt x="16227" y="14820"/>
                  <a:pt x="16076" y="15221"/>
                  <a:pt x="15897" y="15600"/>
                </a:cubicBezTo>
                <a:lnTo>
                  <a:pt x="20618" y="15600"/>
                </a:lnTo>
                <a:lnTo>
                  <a:pt x="20618" y="19200"/>
                </a:lnTo>
                <a:cubicBezTo>
                  <a:pt x="20618" y="19862"/>
                  <a:pt x="20178" y="20400"/>
                  <a:pt x="19636" y="20400"/>
                </a:cubicBezTo>
                <a:lnTo>
                  <a:pt x="1964" y="20400"/>
                </a:lnTo>
                <a:cubicBezTo>
                  <a:pt x="1422" y="20400"/>
                  <a:pt x="982" y="19862"/>
                  <a:pt x="982" y="19200"/>
                </a:cubicBezTo>
                <a:lnTo>
                  <a:pt x="982" y="15600"/>
                </a:lnTo>
                <a:lnTo>
                  <a:pt x="5704" y="15600"/>
                </a:lnTo>
                <a:cubicBezTo>
                  <a:pt x="5524" y="15221"/>
                  <a:pt x="5373" y="14820"/>
                  <a:pt x="5251" y="14400"/>
                </a:cubicBezTo>
                <a:lnTo>
                  <a:pt x="982" y="14400"/>
                </a:lnTo>
                <a:lnTo>
                  <a:pt x="982" y="4800"/>
                </a:lnTo>
                <a:cubicBezTo>
                  <a:pt x="982" y="4138"/>
                  <a:pt x="1422" y="3600"/>
                  <a:pt x="1964" y="3600"/>
                </a:cubicBezTo>
                <a:lnTo>
                  <a:pt x="3927" y="3600"/>
                </a:lnTo>
                <a:cubicBezTo>
                  <a:pt x="5891" y="3600"/>
                  <a:pt x="5891" y="1200"/>
                  <a:pt x="7364" y="1200"/>
                </a:cubicBezTo>
                <a:lnTo>
                  <a:pt x="10800" y="1200"/>
                </a:lnTo>
                <a:lnTo>
                  <a:pt x="14236" y="1200"/>
                </a:lnTo>
                <a:cubicBezTo>
                  <a:pt x="15709" y="1200"/>
                  <a:pt x="15709" y="3600"/>
                  <a:pt x="17673" y="3600"/>
                </a:cubicBezTo>
                <a:lnTo>
                  <a:pt x="19636" y="3600"/>
                </a:lnTo>
                <a:cubicBezTo>
                  <a:pt x="20178" y="3600"/>
                  <a:pt x="20618" y="4138"/>
                  <a:pt x="20618" y="4800"/>
                </a:cubicBezTo>
                <a:cubicBezTo>
                  <a:pt x="20618" y="4800"/>
                  <a:pt x="20618" y="14400"/>
                  <a:pt x="20618" y="14400"/>
                </a:cubicBezTo>
                <a:close/>
                <a:moveTo>
                  <a:pt x="19636" y="2400"/>
                </a:moveTo>
                <a:lnTo>
                  <a:pt x="17673" y="2400"/>
                </a:lnTo>
                <a:cubicBezTo>
                  <a:pt x="16200" y="2400"/>
                  <a:pt x="16200" y="0"/>
                  <a:pt x="14236" y="0"/>
                </a:cubicBezTo>
                <a:lnTo>
                  <a:pt x="10800" y="0"/>
                </a:lnTo>
                <a:lnTo>
                  <a:pt x="7364" y="0"/>
                </a:lnTo>
                <a:cubicBezTo>
                  <a:pt x="5400" y="0"/>
                  <a:pt x="5400" y="2400"/>
                  <a:pt x="3927" y="2400"/>
                </a:cubicBezTo>
                <a:lnTo>
                  <a:pt x="1964" y="2400"/>
                </a:lnTo>
                <a:cubicBezTo>
                  <a:pt x="879" y="2400"/>
                  <a:pt x="0" y="3475"/>
                  <a:pt x="0" y="4800"/>
                </a:cubicBezTo>
                <a:lnTo>
                  <a:pt x="0" y="19200"/>
                </a:lnTo>
                <a:cubicBezTo>
                  <a:pt x="0" y="20525"/>
                  <a:pt x="879" y="21600"/>
                  <a:pt x="1964" y="21600"/>
                </a:cubicBezTo>
                <a:lnTo>
                  <a:pt x="19636" y="21600"/>
                </a:lnTo>
                <a:cubicBezTo>
                  <a:pt x="20721" y="21600"/>
                  <a:pt x="21600" y="20525"/>
                  <a:pt x="21600" y="19200"/>
                </a:cubicBezTo>
                <a:lnTo>
                  <a:pt x="21600" y="4800"/>
                </a:lnTo>
                <a:cubicBezTo>
                  <a:pt x="21600" y="3475"/>
                  <a:pt x="20721" y="2400"/>
                  <a:pt x="19636" y="2400"/>
                </a:cubicBezTo>
                <a:moveTo>
                  <a:pt x="18164" y="7200"/>
                </a:moveTo>
                <a:cubicBezTo>
                  <a:pt x="17892" y="7200"/>
                  <a:pt x="17673" y="6932"/>
                  <a:pt x="17673" y="6600"/>
                </a:cubicBezTo>
                <a:cubicBezTo>
                  <a:pt x="17673" y="6269"/>
                  <a:pt x="17892" y="6000"/>
                  <a:pt x="18164" y="6000"/>
                </a:cubicBezTo>
                <a:cubicBezTo>
                  <a:pt x="18435" y="6000"/>
                  <a:pt x="18655" y="6269"/>
                  <a:pt x="18655" y="6600"/>
                </a:cubicBezTo>
                <a:cubicBezTo>
                  <a:pt x="18655" y="6932"/>
                  <a:pt x="18435" y="7200"/>
                  <a:pt x="18164" y="7200"/>
                </a:cubicBezTo>
                <a:moveTo>
                  <a:pt x="18164" y="4800"/>
                </a:moveTo>
                <a:cubicBezTo>
                  <a:pt x="17351" y="4800"/>
                  <a:pt x="16691" y="5607"/>
                  <a:pt x="16691" y="6600"/>
                </a:cubicBezTo>
                <a:cubicBezTo>
                  <a:pt x="16691" y="7594"/>
                  <a:pt x="17351" y="8400"/>
                  <a:pt x="18164" y="8400"/>
                </a:cubicBezTo>
                <a:cubicBezTo>
                  <a:pt x="18977" y="8400"/>
                  <a:pt x="19636" y="7594"/>
                  <a:pt x="19636" y="6600"/>
                </a:cubicBezTo>
                <a:cubicBezTo>
                  <a:pt x="19636" y="5607"/>
                  <a:pt x="18977" y="4800"/>
                  <a:pt x="18164" y="4800"/>
                </a:cubicBezTo>
                <a:moveTo>
                  <a:pt x="18164" y="9600"/>
                </a:moveTo>
                <a:cubicBezTo>
                  <a:pt x="17892" y="9600"/>
                  <a:pt x="17673" y="9869"/>
                  <a:pt x="17673" y="10200"/>
                </a:cubicBezTo>
                <a:cubicBezTo>
                  <a:pt x="17673" y="10532"/>
                  <a:pt x="17892" y="10800"/>
                  <a:pt x="18164" y="10800"/>
                </a:cubicBezTo>
                <a:cubicBezTo>
                  <a:pt x="18435" y="10800"/>
                  <a:pt x="18655" y="10532"/>
                  <a:pt x="18655" y="10200"/>
                </a:cubicBezTo>
                <a:cubicBezTo>
                  <a:pt x="18655" y="9869"/>
                  <a:pt x="18435" y="9600"/>
                  <a:pt x="18164" y="9600"/>
                </a:cubicBezTo>
                <a:moveTo>
                  <a:pt x="10800" y="16800"/>
                </a:moveTo>
                <a:cubicBezTo>
                  <a:pt x="8631" y="16800"/>
                  <a:pt x="6873" y="14651"/>
                  <a:pt x="6873" y="12000"/>
                </a:cubicBezTo>
                <a:cubicBezTo>
                  <a:pt x="6873" y="9349"/>
                  <a:pt x="8631" y="7200"/>
                  <a:pt x="10800" y="7200"/>
                </a:cubicBezTo>
                <a:cubicBezTo>
                  <a:pt x="12969" y="7200"/>
                  <a:pt x="14727" y="9349"/>
                  <a:pt x="14727" y="12000"/>
                </a:cubicBezTo>
                <a:cubicBezTo>
                  <a:pt x="14727" y="14651"/>
                  <a:pt x="12969" y="16800"/>
                  <a:pt x="10800" y="16800"/>
                </a:cubicBezTo>
                <a:moveTo>
                  <a:pt x="10800" y="6000"/>
                </a:moveTo>
                <a:cubicBezTo>
                  <a:pt x="8088" y="6000"/>
                  <a:pt x="5891" y="8687"/>
                  <a:pt x="5891" y="12000"/>
                </a:cubicBezTo>
                <a:cubicBezTo>
                  <a:pt x="5891" y="15314"/>
                  <a:pt x="8088" y="18000"/>
                  <a:pt x="10800" y="18000"/>
                </a:cubicBezTo>
                <a:cubicBezTo>
                  <a:pt x="13512" y="18000"/>
                  <a:pt x="15709" y="15314"/>
                  <a:pt x="15709" y="12000"/>
                </a:cubicBezTo>
                <a:cubicBezTo>
                  <a:pt x="15709" y="8687"/>
                  <a:pt x="13512" y="6000"/>
                  <a:pt x="10800" y="6000"/>
                </a:cubicBezTo>
                <a:moveTo>
                  <a:pt x="10800" y="14400"/>
                </a:moveTo>
                <a:cubicBezTo>
                  <a:pt x="9716" y="14400"/>
                  <a:pt x="8836" y="13325"/>
                  <a:pt x="8836" y="12000"/>
                </a:cubicBezTo>
                <a:cubicBezTo>
                  <a:pt x="8836" y="10675"/>
                  <a:pt x="9716" y="9600"/>
                  <a:pt x="10800" y="9600"/>
                </a:cubicBezTo>
                <a:cubicBezTo>
                  <a:pt x="11884" y="9600"/>
                  <a:pt x="12764" y="10675"/>
                  <a:pt x="12764" y="12000"/>
                </a:cubicBezTo>
                <a:cubicBezTo>
                  <a:pt x="12764" y="13325"/>
                  <a:pt x="11884" y="14400"/>
                  <a:pt x="10800" y="14400"/>
                </a:cubicBezTo>
                <a:moveTo>
                  <a:pt x="10800" y="8400"/>
                </a:moveTo>
                <a:cubicBezTo>
                  <a:pt x="9173" y="8400"/>
                  <a:pt x="7855" y="10012"/>
                  <a:pt x="7855" y="12000"/>
                </a:cubicBezTo>
                <a:cubicBezTo>
                  <a:pt x="7855" y="13988"/>
                  <a:pt x="9173" y="15600"/>
                  <a:pt x="10800" y="15600"/>
                </a:cubicBezTo>
                <a:cubicBezTo>
                  <a:pt x="12426" y="15600"/>
                  <a:pt x="13745" y="13988"/>
                  <a:pt x="13745" y="12000"/>
                </a:cubicBezTo>
                <a:cubicBezTo>
                  <a:pt x="13745" y="10012"/>
                  <a:pt x="12426" y="8400"/>
                  <a:pt x="10800" y="8400"/>
                </a:cubicBezTo>
                <a:moveTo>
                  <a:pt x="8345" y="3600"/>
                </a:moveTo>
                <a:lnTo>
                  <a:pt x="13255" y="3600"/>
                </a:lnTo>
                <a:cubicBezTo>
                  <a:pt x="13526" y="3600"/>
                  <a:pt x="13745" y="3332"/>
                  <a:pt x="13745" y="3000"/>
                </a:cubicBezTo>
                <a:cubicBezTo>
                  <a:pt x="13745" y="2669"/>
                  <a:pt x="13526" y="2400"/>
                  <a:pt x="13255" y="2400"/>
                </a:cubicBezTo>
                <a:lnTo>
                  <a:pt x="8345" y="2400"/>
                </a:lnTo>
                <a:cubicBezTo>
                  <a:pt x="8074" y="2400"/>
                  <a:pt x="7855" y="2669"/>
                  <a:pt x="7855" y="3000"/>
                </a:cubicBezTo>
                <a:cubicBezTo>
                  <a:pt x="7855" y="3332"/>
                  <a:pt x="8074" y="3600"/>
                  <a:pt x="8345"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6" name="Shape 2656"/>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0800"/>
                </a:moveTo>
                <a:cubicBezTo>
                  <a:pt x="14186" y="10800"/>
                  <a:pt x="13745" y="11240"/>
                  <a:pt x="13745" y="11782"/>
                </a:cubicBezTo>
                <a:cubicBezTo>
                  <a:pt x="13745" y="12324"/>
                  <a:pt x="14186" y="12764"/>
                  <a:pt x="14727" y="12764"/>
                </a:cubicBezTo>
                <a:cubicBezTo>
                  <a:pt x="15269" y="12764"/>
                  <a:pt x="15709" y="12324"/>
                  <a:pt x="15709" y="11782"/>
                </a:cubicBezTo>
                <a:cubicBezTo>
                  <a:pt x="15709" y="11240"/>
                  <a:pt x="15269" y="10800"/>
                  <a:pt x="14727" y="10800"/>
                </a:cubicBezTo>
                <a:moveTo>
                  <a:pt x="20618" y="0"/>
                </a:moveTo>
                <a:lnTo>
                  <a:pt x="4909" y="0"/>
                </a:lnTo>
                <a:cubicBezTo>
                  <a:pt x="4367" y="0"/>
                  <a:pt x="3927" y="440"/>
                  <a:pt x="3927" y="982"/>
                </a:cubicBezTo>
                <a:lnTo>
                  <a:pt x="3927" y="5891"/>
                </a:lnTo>
                <a:cubicBezTo>
                  <a:pt x="3927" y="6162"/>
                  <a:pt x="4147" y="6382"/>
                  <a:pt x="4418" y="6382"/>
                </a:cubicBezTo>
                <a:cubicBezTo>
                  <a:pt x="4690" y="6382"/>
                  <a:pt x="4909" y="6162"/>
                  <a:pt x="4909" y="5891"/>
                </a:cubicBezTo>
                <a:lnTo>
                  <a:pt x="4909" y="982"/>
                </a:lnTo>
                <a:lnTo>
                  <a:pt x="20618" y="982"/>
                </a:lnTo>
                <a:lnTo>
                  <a:pt x="20618" y="12764"/>
                </a:lnTo>
                <a:lnTo>
                  <a:pt x="19145" y="12764"/>
                </a:lnTo>
                <a:cubicBezTo>
                  <a:pt x="18874" y="12764"/>
                  <a:pt x="18655" y="12984"/>
                  <a:pt x="18655" y="13255"/>
                </a:cubicBezTo>
                <a:cubicBezTo>
                  <a:pt x="18655" y="13526"/>
                  <a:pt x="18874" y="13745"/>
                  <a:pt x="19145" y="13745"/>
                </a:cubicBezTo>
                <a:lnTo>
                  <a:pt x="20618" y="13745"/>
                </a:lnTo>
                <a:lnTo>
                  <a:pt x="20618" y="16691"/>
                </a:lnTo>
                <a:lnTo>
                  <a:pt x="19145" y="16691"/>
                </a:lnTo>
                <a:cubicBezTo>
                  <a:pt x="18874" y="16691"/>
                  <a:pt x="18655" y="16911"/>
                  <a:pt x="18655" y="17182"/>
                </a:cubicBezTo>
                <a:cubicBezTo>
                  <a:pt x="18655" y="17453"/>
                  <a:pt x="18874" y="17673"/>
                  <a:pt x="19145" y="17673"/>
                </a:cubicBezTo>
                <a:lnTo>
                  <a:pt x="20618" y="17673"/>
                </a:lnTo>
                <a:cubicBezTo>
                  <a:pt x="21160" y="17673"/>
                  <a:pt x="21600" y="17234"/>
                  <a:pt x="21600" y="16691"/>
                </a:cubicBezTo>
                <a:lnTo>
                  <a:pt x="21600" y="982"/>
                </a:lnTo>
                <a:cubicBezTo>
                  <a:pt x="21600" y="440"/>
                  <a:pt x="21160" y="0"/>
                  <a:pt x="20618" y="0"/>
                </a:cubicBezTo>
                <a:moveTo>
                  <a:pt x="14727" y="13745"/>
                </a:moveTo>
                <a:cubicBezTo>
                  <a:pt x="14456" y="13745"/>
                  <a:pt x="14236" y="13966"/>
                  <a:pt x="14236" y="14236"/>
                </a:cubicBezTo>
                <a:cubicBezTo>
                  <a:pt x="14236" y="14508"/>
                  <a:pt x="14456" y="14727"/>
                  <a:pt x="14727" y="14727"/>
                </a:cubicBezTo>
                <a:cubicBezTo>
                  <a:pt x="14999" y="14727"/>
                  <a:pt x="15218" y="14508"/>
                  <a:pt x="15218" y="14236"/>
                </a:cubicBezTo>
                <a:cubicBezTo>
                  <a:pt x="15218" y="13966"/>
                  <a:pt x="14999" y="13745"/>
                  <a:pt x="14727" y="13745"/>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6"/>
                  <a:pt x="6668" y="18655"/>
                  <a:pt x="8836" y="18655"/>
                </a:cubicBezTo>
                <a:cubicBezTo>
                  <a:pt x="11005" y="18655"/>
                  <a:pt x="12764" y="16896"/>
                  <a:pt x="12764" y="14727"/>
                </a:cubicBezTo>
                <a:cubicBezTo>
                  <a:pt x="12764" y="12558"/>
                  <a:pt x="11005" y="10800"/>
                  <a:pt x="8836" y="10800"/>
                </a:cubicBezTo>
                <a:moveTo>
                  <a:pt x="8836" y="15709"/>
                </a:moveTo>
                <a:cubicBezTo>
                  <a:pt x="8295" y="15709"/>
                  <a:pt x="7855" y="15269"/>
                  <a:pt x="7855" y="14727"/>
                </a:cubicBezTo>
                <a:cubicBezTo>
                  <a:pt x="7855" y="14186"/>
                  <a:pt x="8295"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7" name="Shape 2657"/>
          <p:cNvSpPr/>
          <p:nvPr/>
        </p:nvSpPr>
        <p:spPr>
          <a:xfrm>
            <a:off x="66064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8" name="Shape 2658"/>
          <p:cNvSpPr/>
          <p:nvPr/>
        </p:nvSpPr>
        <p:spPr>
          <a:xfrm>
            <a:off x="1060590"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3745"/>
                </a:moveTo>
                <a:cubicBezTo>
                  <a:pt x="16420" y="13745"/>
                  <a:pt x="16200" y="13966"/>
                  <a:pt x="16200" y="14236"/>
                </a:cubicBezTo>
                <a:cubicBezTo>
                  <a:pt x="16200" y="14508"/>
                  <a:pt x="16420" y="14727"/>
                  <a:pt x="16691" y="14727"/>
                </a:cubicBezTo>
                <a:cubicBezTo>
                  <a:pt x="16962" y="14727"/>
                  <a:pt x="17182" y="14508"/>
                  <a:pt x="17182" y="14236"/>
                </a:cubicBezTo>
                <a:cubicBezTo>
                  <a:pt x="17182" y="13966"/>
                  <a:pt x="16962" y="13745"/>
                  <a:pt x="16691" y="13745"/>
                </a:cubicBezTo>
                <a:moveTo>
                  <a:pt x="16691" y="10800"/>
                </a:moveTo>
                <a:cubicBezTo>
                  <a:pt x="16149" y="10800"/>
                  <a:pt x="15709" y="11240"/>
                  <a:pt x="15709" y="11782"/>
                </a:cubicBezTo>
                <a:cubicBezTo>
                  <a:pt x="15709" y="12325"/>
                  <a:pt x="16149" y="12764"/>
                  <a:pt x="16691" y="12764"/>
                </a:cubicBezTo>
                <a:cubicBezTo>
                  <a:pt x="17233" y="12764"/>
                  <a:pt x="17673" y="12325"/>
                  <a:pt x="17673" y="11782"/>
                </a:cubicBezTo>
                <a:cubicBezTo>
                  <a:pt x="17673" y="11240"/>
                  <a:pt x="17233" y="10800"/>
                  <a:pt x="16691" y="10800"/>
                </a:cubicBezTo>
                <a:moveTo>
                  <a:pt x="14236" y="5891"/>
                </a:moveTo>
                <a:lnTo>
                  <a:pt x="17960" y="5891"/>
                </a:lnTo>
                <a:lnTo>
                  <a:pt x="16835" y="7017"/>
                </a:lnTo>
                <a:cubicBezTo>
                  <a:pt x="16746" y="7106"/>
                  <a:pt x="16691" y="7229"/>
                  <a:pt x="16691" y="7364"/>
                </a:cubicBezTo>
                <a:cubicBezTo>
                  <a:pt x="16691" y="7635"/>
                  <a:pt x="16911" y="7855"/>
                  <a:pt x="17182" y="7855"/>
                </a:cubicBezTo>
                <a:cubicBezTo>
                  <a:pt x="17317" y="7855"/>
                  <a:pt x="17440" y="7800"/>
                  <a:pt x="17529" y="7711"/>
                </a:cubicBezTo>
                <a:lnTo>
                  <a:pt x="19493" y="5748"/>
                </a:lnTo>
                <a:cubicBezTo>
                  <a:pt x="19581" y="5658"/>
                  <a:pt x="19636" y="5536"/>
                  <a:pt x="19636" y="5400"/>
                </a:cubicBezTo>
                <a:cubicBezTo>
                  <a:pt x="19636" y="5265"/>
                  <a:pt x="19581" y="5142"/>
                  <a:pt x="19493" y="5053"/>
                </a:cubicBezTo>
                <a:lnTo>
                  <a:pt x="17529" y="3089"/>
                </a:lnTo>
                <a:cubicBezTo>
                  <a:pt x="17440" y="3001"/>
                  <a:pt x="17317" y="2945"/>
                  <a:pt x="17182" y="2945"/>
                </a:cubicBezTo>
                <a:cubicBezTo>
                  <a:pt x="16911" y="2945"/>
                  <a:pt x="16691" y="3166"/>
                  <a:pt x="16691" y="3436"/>
                </a:cubicBezTo>
                <a:cubicBezTo>
                  <a:pt x="16691" y="3572"/>
                  <a:pt x="16746" y="3695"/>
                  <a:pt x="16835" y="3784"/>
                </a:cubicBezTo>
                <a:lnTo>
                  <a:pt x="17960" y="4909"/>
                </a:lnTo>
                <a:lnTo>
                  <a:pt x="14236" y="4909"/>
                </a:lnTo>
                <a:cubicBezTo>
                  <a:pt x="13966" y="4909"/>
                  <a:pt x="13745" y="5129"/>
                  <a:pt x="13745" y="5400"/>
                </a:cubicBezTo>
                <a:cubicBezTo>
                  <a:pt x="13745" y="5672"/>
                  <a:pt x="13966" y="5891"/>
                  <a:pt x="14236" y="5891"/>
                </a:cubicBezTo>
                <a:moveTo>
                  <a:pt x="10800" y="15709"/>
                </a:moveTo>
                <a:cubicBezTo>
                  <a:pt x="10258" y="15709"/>
                  <a:pt x="9818" y="15269"/>
                  <a:pt x="9818" y="14727"/>
                </a:cubicBezTo>
                <a:cubicBezTo>
                  <a:pt x="9818" y="14186"/>
                  <a:pt x="10258" y="13745"/>
                  <a:pt x="10800" y="13745"/>
                </a:cubicBezTo>
                <a:cubicBezTo>
                  <a:pt x="11342" y="13745"/>
                  <a:pt x="11782" y="14186"/>
                  <a:pt x="11782" y="14727"/>
                </a:cubicBezTo>
                <a:cubicBezTo>
                  <a:pt x="11782" y="15269"/>
                  <a:pt x="11342" y="15709"/>
                  <a:pt x="10800" y="15709"/>
                </a:cubicBezTo>
                <a:moveTo>
                  <a:pt x="10800" y="12764"/>
                </a:moveTo>
                <a:cubicBezTo>
                  <a:pt x="9716" y="12764"/>
                  <a:pt x="8836" y="13643"/>
                  <a:pt x="8836" y="14727"/>
                </a:cubicBezTo>
                <a:cubicBezTo>
                  <a:pt x="8836" y="15812"/>
                  <a:pt x="9716" y="16691"/>
                  <a:pt x="10800" y="16691"/>
                </a:cubicBezTo>
                <a:cubicBezTo>
                  <a:pt x="11884" y="16691"/>
                  <a:pt x="12764" y="15812"/>
                  <a:pt x="12764" y="14727"/>
                </a:cubicBezTo>
                <a:cubicBezTo>
                  <a:pt x="12764" y="13643"/>
                  <a:pt x="11884" y="12764"/>
                  <a:pt x="10800" y="12764"/>
                </a:cubicBezTo>
                <a:moveTo>
                  <a:pt x="4071" y="7711"/>
                </a:moveTo>
                <a:cubicBezTo>
                  <a:pt x="4160" y="7800"/>
                  <a:pt x="4283" y="7855"/>
                  <a:pt x="4418" y="7855"/>
                </a:cubicBezTo>
                <a:cubicBezTo>
                  <a:pt x="4689" y="7855"/>
                  <a:pt x="4909" y="7635"/>
                  <a:pt x="4909" y="7364"/>
                </a:cubicBezTo>
                <a:cubicBezTo>
                  <a:pt x="4909" y="7229"/>
                  <a:pt x="4854" y="7106"/>
                  <a:pt x="4765" y="7017"/>
                </a:cubicBezTo>
                <a:lnTo>
                  <a:pt x="3640" y="5891"/>
                </a:lnTo>
                <a:lnTo>
                  <a:pt x="7364" y="5891"/>
                </a:lnTo>
                <a:cubicBezTo>
                  <a:pt x="7634" y="5891"/>
                  <a:pt x="7855" y="5672"/>
                  <a:pt x="7855" y="5400"/>
                </a:cubicBezTo>
                <a:cubicBezTo>
                  <a:pt x="7855" y="5129"/>
                  <a:pt x="7634" y="4909"/>
                  <a:pt x="7364" y="4909"/>
                </a:cubicBezTo>
                <a:lnTo>
                  <a:pt x="3640" y="4909"/>
                </a:lnTo>
                <a:lnTo>
                  <a:pt x="4765" y="3784"/>
                </a:lnTo>
                <a:cubicBezTo>
                  <a:pt x="4854" y="3695"/>
                  <a:pt x="4909" y="3572"/>
                  <a:pt x="4909" y="3436"/>
                </a:cubicBezTo>
                <a:cubicBezTo>
                  <a:pt x="4909" y="3166"/>
                  <a:pt x="4689" y="2945"/>
                  <a:pt x="4418" y="2945"/>
                </a:cubicBezTo>
                <a:cubicBezTo>
                  <a:pt x="4283" y="2945"/>
                  <a:pt x="4160" y="3001"/>
                  <a:pt x="4071" y="3089"/>
                </a:cubicBezTo>
                <a:lnTo>
                  <a:pt x="2107" y="5053"/>
                </a:lnTo>
                <a:cubicBezTo>
                  <a:pt x="2019" y="5142"/>
                  <a:pt x="1964" y="5265"/>
                  <a:pt x="1964" y="5400"/>
                </a:cubicBezTo>
                <a:cubicBezTo>
                  <a:pt x="1964" y="5536"/>
                  <a:pt x="2019" y="5658"/>
                  <a:pt x="2107" y="5748"/>
                </a:cubicBezTo>
                <a:cubicBezTo>
                  <a:pt x="2107" y="5748"/>
                  <a:pt x="4071" y="7711"/>
                  <a:pt x="4071" y="7711"/>
                </a:cubicBezTo>
                <a:close/>
                <a:moveTo>
                  <a:pt x="20618" y="15709"/>
                </a:moveTo>
                <a:lnTo>
                  <a:pt x="19636" y="15709"/>
                </a:lnTo>
                <a:lnTo>
                  <a:pt x="19636" y="10800"/>
                </a:lnTo>
                <a:cubicBezTo>
                  <a:pt x="19636" y="9716"/>
                  <a:pt x="18757" y="8836"/>
                  <a:pt x="17673" y="8836"/>
                </a:cubicBezTo>
                <a:lnTo>
                  <a:pt x="15709" y="8836"/>
                </a:lnTo>
                <a:cubicBezTo>
                  <a:pt x="14236" y="8836"/>
                  <a:pt x="14236" y="6873"/>
                  <a:pt x="12273" y="6873"/>
                </a:cubicBezTo>
                <a:lnTo>
                  <a:pt x="9327" y="6873"/>
                </a:lnTo>
                <a:cubicBezTo>
                  <a:pt x="7364" y="6873"/>
                  <a:pt x="7364" y="8836"/>
                  <a:pt x="5891" y="8836"/>
                </a:cubicBezTo>
                <a:lnTo>
                  <a:pt x="3927" y="8836"/>
                </a:lnTo>
                <a:cubicBezTo>
                  <a:pt x="2843" y="8836"/>
                  <a:pt x="1964" y="9716"/>
                  <a:pt x="1964" y="10800"/>
                </a:cubicBezTo>
                <a:lnTo>
                  <a:pt x="1964" y="15709"/>
                </a:lnTo>
                <a:lnTo>
                  <a:pt x="982" y="15709"/>
                </a:lnTo>
                <a:lnTo>
                  <a:pt x="982" y="982"/>
                </a:lnTo>
                <a:lnTo>
                  <a:pt x="20618" y="982"/>
                </a:lnTo>
                <a:cubicBezTo>
                  <a:pt x="20618" y="982"/>
                  <a:pt x="20618" y="15709"/>
                  <a:pt x="20618" y="15709"/>
                </a:cubicBezTo>
                <a:close/>
                <a:moveTo>
                  <a:pt x="18655" y="19636"/>
                </a:moveTo>
                <a:cubicBezTo>
                  <a:pt x="18655" y="20178"/>
                  <a:pt x="18215" y="20618"/>
                  <a:pt x="17673" y="20618"/>
                </a:cubicBezTo>
                <a:lnTo>
                  <a:pt x="3927" y="20618"/>
                </a:lnTo>
                <a:cubicBezTo>
                  <a:pt x="3385" y="20618"/>
                  <a:pt x="2945" y="20178"/>
                  <a:pt x="2945" y="19636"/>
                </a:cubicBezTo>
                <a:lnTo>
                  <a:pt x="2945" y="10800"/>
                </a:lnTo>
                <a:cubicBezTo>
                  <a:pt x="2945" y="10258"/>
                  <a:pt x="3385" y="9818"/>
                  <a:pt x="3927" y="9818"/>
                </a:cubicBezTo>
                <a:lnTo>
                  <a:pt x="5891" y="9818"/>
                </a:lnTo>
                <a:cubicBezTo>
                  <a:pt x="7855" y="9818"/>
                  <a:pt x="7855" y="7855"/>
                  <a:pt x="9327" y="7855"/>
                </a:cubicBezTo>
                <a:lnTo>
                  <a:pt x="10800" y="7855"/>
                </a:lnTo>
                <a:lnTo>
                  <a:pt x="12273" y="7855"/>
                </a:lnTo>
                <a:cubicBezTo>
                  <a:pt x="13745" y="7855"/>
                  <a:pt x="13745" y="9818"/>
                  <a:pt x="15709" y="9818"/>
                </a:cubicBezTo>
                <a:lnTo>
                  <a:pt x="17673" y="9818"/>
                </a:lnTo>
                <a:cubicBezTo>
                  <a:pt x="18215" y="9818"/>
                  <a:pt x="18655" y="10258"/>
                  <a:pt x="18655" y="10800"/>
                </a:cubicBezTo>
                <a:cubicBezTo>
                  <a:pt x="18655" y="10800"/>
                  <a:pt x="18655" y="19636"/>
                  <a:pt x="18655" y="19636"/>
                </a:cubicBezTo>
                <a:close/>
                <a:moveTo>
                  <a:pt x="20618" y="0"/>
                </a:moveTo>
                <a:lnTo>
                  <a:pt x="982" y="0"/>
                </a:lnTo>
                <a:cubicBezTo>
                  <a:pt x="440" y="0"/>
                  <a:pt x="0" y="440"/>
                  <a:pt x="0" y="982"/>
                </a:cubicBezTo>
                <a:lnTo>
                  <a:pt x="0" y="15709"/>
                </a:lnTo>
                <a:cubicBezTo>
                  <a:pt x="0" y="16252"/>
                  <a:pt x="440" y="16691"/>
                  <a:pt x="982" y="16691"/>
                </a:cubicBezTo>
                <a:lnTo>
                  <a:pt x="1964" y="16691"/>
                </a:lnTo>
                <a:lnTo>
                  <a:pt x="1964" y="19636"/>
                </a:lnTo>
                <a:cubicBezTo>
                  <a:pt x="1964" y="20721"/>
                  <a:pt x="2843" y="21600"/>
                  <a:pt x="3927" y="21600"/>
                </a:cubicBezTo>
                <a:lnTo>
                  <a:pt x="17673" y="21600"/>
                </a:lnTo>
                <a:cubicBezTo>
                  <a:pt x="18757" y="21600"/>
                  <a:pt x="19636" y="20721"/>
                  <a:pt x="19636" y="19636"/>
                </a:cubicBezTo>
                <a:lnTo>
                  <a:pt x="19636" y="16691"/>
                </a:lnTo>
                <a:lnTo>
                  <a:pt x="20618" y="16691"/>
                </a:lnTo>
                <a:cubicBezTo>
                  <a:pt x="21160" y="16691"/>
                  <a:pt x="21600" y="16252"/>
                  <a:pt x="21600" y="15709"/>
                </a:cubicBezTo>
                <a:lnTo>
                  <a:pt x="21600" y="982"/>
                </a:lnTo>
                <a:cubicBezTo>
                  <a:pt x="21600" y="440"/>
                  <a:pt x="21160" y="0"/>
                  <a:pt x="20618" y="0"/>
                </a:cubicBezTo>
                <a:moveTo>
                  <a:pt x="10800" y="17673"/>
                </a:moveTo>
                <a:cubicBezTo>
                  <a:pt x="9173" y="17673"/>
                  <a:pt x="7855" y="16354"/>
                  <a:pt x="7855" y="14727"/>
                </a:cubicBezTo>
                <a:cubicBezTo>
                  <a:pt x="7855" y="13101"/>
                  <a:pt x="9173" y="11782"/>
                  <a:pt x="10800" y="11782"/>
                </a:cubicBezTo>
                <a:cubicBezTo>
                  <a:pt x="12427" y="11782"/>
                  <a:pt x="13745" y="13101"/>
                  <a:pt x="13745" y="14727"/>
                </a:cubicBezTo>
                <a:cubicBezTo>
                  <a:pt x="13745" y="16354"/>
                  <a:pt x="12427" y="17673"/>
                  <a:pt x="10800" y="17673"/>
                </a:cubicBezTo>
                <a:moveTo>
                  <a:pt x="10800" y="10800"/>
                </a:moveTo>
                <a:cubicBezTo>
                  <a:pt x="8631" y="10800"/>
                  <a:pt x="6873" y="12558"/>
                  <a:pt x="6873" y="14727"/>
                </a:cubicBezTo>
                <a:cubicBezTo>
                  <a:pt x="6873" y="16897"/>
                  <a:pt x="8631" y="18655"/>
                  <a:pt x="10800" y="18655"/>
                </a:cubicBezTo>
                <a:cubicBezTo>
                  <a:pt x="12969" y="18655"/>
                  <a:pt x="14727" y="16897"/>
                  <a:pt x="14727" y="14727"/>
                </a:cubicBezTo>
                <a:cubicBezTo>
                  <a:pt x="14727" y="12558"/>
                  <a:pt x="12969" y="10800"/>
                  <a:pt x="108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9" name="Shape 2659"/>
          <p:cNvSpPr/>
          <p:nvPr/>
        </p:nvSpPr>
        <p:spPr>
          <a:xfrm>
            <a:off x="1460536"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7855"/>
                </a:moveTo>
                <a:cubicBezTo>
                  <a:pt x="16052" y="7855"/>
                  <a:pt x="16376" y="7925"/>
                  <a:pt x="16682" y="8033"/>
                </a:cubicBezTo>
                <a:cubicBezTo>
                  <a:pt x="16684" y="7973"/>
                  <a:pt x="16691" y="7915"/>
                  <a:pt x="16691" y="7855"/>
                </a:cubicBezTo>
                <a:cubicBezTo>
                  <a:pt x="16691" y="5686"/>
                  <a:pt x="14932" y="3927"/>
                  <a:pt x="12764" y="3927"/>
                </a:cubicBezTo>
                <a:cubicBezTo>
                  <a:pt x="11311" y="3927"/>
                  <a:pt x="10045" y="4718"/>
                  <a:pt x="9366" y="5891"/>
                </a:cubicBezTo>
                <a:lnTo>
                  <a:pt x="10309" y="5891"/>
                </a:lnTo>
                <a:cubicBezTo>
                  <a:pt x="10401" y="5891"/>
                  <a:pt x="10481" y="5904"/>
                  <a:pt x="10567" y="5910"/>
                </a:cubicBezTo>
                <a:cubicBezTo>
                  <a:pt x="11107" y="5301"/>
                  <a:pt x="11886" y="4909"/>
                  <a:pt x="12764" y="4909"/>
                </a:cubicBezTo>
                <a:cubicBezTo>
                  <a:pt x="14390" y="4909"/>
                  <a:pt x="15709" y="6228"/>
                  <a:pt x="15709" y="7855"/>
                </a:cubicBezTo>
                <a:moveTo>
                  <a:pt x="11716" y="6199"/>
                </a:moveTo>
                <a:cubicBezTo>
                  <a:pt x="12102" y="6387"/>
                  <a:pt x="12403" y="6637"/>
                  <a:pt x="12649" y="6884"/>
                </a:cubicBezTo>
                <a:cubicBezTo>
                  <a:pt x="12687" y="6880"/>
                  <a:pt x="12724" y="6873"/>
                  <a:pt x="12764" y="6873"/>
                </a:cubicBezTo>
                <a:cubicBezTo>
                  <a:pt x="13306" y="6873"/>
                  <a:pt x="13745" y="7313"/>
                  <a:pt x="13745" y="7855"/>
                </a:cubicBezTo>
                <a:lnTo>
                  <a:pt x="14727" y="7855"/>
                </a:lnTo>
                <a:cubicBezTo>
                  <a:pt x="14727" y="6770"/>
                  <a:pt x="13848" y="5891"/>
                  <a:pt x="12764" y="5891"/>
                </a:cubicBezTo>
                <a:cubicBezTo>
                  <a:pt x="12377" y="5891"/>
                  <a:pt x="12020" y="6006"/>
                  <a:pt x="11716" y="6199"/>
                </a:cubicBezTo>
                <a:moveTo>
                  <a:pt x="19636" y="1964"/>
                </a:moveTo>
                <a:lnTo>
                  <a:pt x="17673" y="1964"/>
                </a:lnTo>
                <a:cubicBezTo>
                  <a:pt x="16200" y="1964"/>
                  <a:pt x="16200" y="0"/>
                  <a:pt x="14236" y="0"/>
                </a:cubicBezTo>
                <a:lnTo>
                  <a:pt x="11291" y="0"/>
                </a:lnTo>
                <a:cubicBezTo>
                  <a:pt x="9327" y="0"/>
                  <a:pt x="9327" y="1964"/>
                  <a:pt x="7855" y="1964"/>
                </a:cubicBezTo>
                <a:lnTo>
                  <a:pt x="5891" y="1964"/>
                </a:lnTo>
                <a:cubicBezTo>
                  <a:pt x="4806" y="1964"/>
                  <a:pt x="3927" y="2843"/>
                  <a:pt x="3927" y="3927"/>
                </a:cubicBezTo>
                <a:lnTo>
                  <a:pt x="3927" y="7855"/>
                </a:lnTo>
                <a:cubicBezTo>
                  <a:pt x="4125" y="7855"/>
                  <a:pt x="4236" y="7769"/>
                  <a:pt x="4627" y="7318"/>
                </a:cubicBezTo>
                <a:cubicBezTo>
                  <a:pt x="4712" y="7220"/>
                  <a:pt x="4807" y="7113"/>
                  <a:pt x="4909" y="7005"/>
                </a:cubicBezTo>
                <a:lnTo>
                  <a:pt x="4909" y="3927"/>
                </a:lnTo>
                <a:cubicBezTo>
                  <a:pt x="4909" y="3386"/>
                  <a:pt x="5349" y="2945"/>
                  <a:pt x="5891" y="2945"/>
                </a:cubicBezTo>
                <a:lnTo>
                  <a:pt x="7855" y="2945"/>
                </a:lnTo>
                <a:cubicBezTo>
                  <a:pt x="9818" y="2945"/>
                  <a:pt x="9818" y="982"/>
                  <a:pt x="11291" y="982"/>
                </a:cubicBezTo>
                <a:lnTo>
                  <a:pt x="12764" y="982"/>
                </a:lnTo>
                <a:lnTo>
                  <a:pt x="14236" y="982"/>
                </a:lnTo>
                <a:cubicBezTo>
                  <a:pt x="15709" y="982"/>
                  <a:pt x="15709" y="2945"/>
                  <a:pt x="17673" y="2945"/>
                </a:cubicBezTo>
                <a:lnTo>
                  <a:pt x="19636" y="2945"/>
                </a:lnTo>
                <a:cubicBezTo>
                  <a:pt x="20178" y="2945"/>
                  <a:pt x="20618" y="3386"/>
                  <a:pt x="20618" y="3927"/>
                </a:cubicBezTo>
                <a:lnTo>
                  <a:pt x="20618" y="12764"/>
                </a:lnTo>
                <a:cubicBezTo>
                  <a:pt x="20618" y="13306"/>
                  <a:pt x="20178" y="13745"/>
                  <a:pt x="19636" y="13745"/>
                </a:cubicBezTo>
                <a:lnTo>
                  <a:pt x="18655" y="13745"/>
                </a:lnTo>
                <a:lnTo>
                  <a:pt x="18655" y="14727"/>
                </a:lnTo>
                <a:lnTo>
                  <a:pt x="19636" y="14727"/>
                </a:lnTo>
                <a:cubicBezTo>
                  <a:pt x="20721" y="14727"/>
                  <a:pt x="21600" y="13849"/>
                  <a:pt x="21600" y="12764"/>
                </a:cubicBezTo>
                <a:lnTo>
                  <a:pt x="21600" y="3927"/>
                </a:lnTo>
                <a:cubicBezTo>
                  <a:pt x="21600" y="2843"/>
                  <a:pt x="20721" y="1964"/>
                  <a:pt x="19636" y="19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9636" y="4909"/>
                </a:moveTo>
                <a:cubicBezTo>
                  <a:pt x="19636" y="4367"/>
                  <a:pt x="19197" y="3927"/>
                  <a:pt x="18655" y="3927"/>
                </a:cubicBezTo>
                <a:cubicBezTo>
                  <a:pt x="18113" y="3927"/>
                  <a:pt x="17673" y="4367"/>
                  <a:pt x="17673" y="4909"/>
                </a:cubicBezTo>
                <a:cubicBezTo>
                  <a:pt x="17673" y="5451"/>
                  <a:pt x="18113" y="5891"/>
                  <a:pt x="18655" y="5891"/>
                </a:cubicBezTo>
                <a:cubicBezTo>
                  <a:pt x="19197" y="5891"/>
                  <a:pt x="19636" y="5451"/>
                  <a:pt x="19636" y="4909"/>
                </a:cubicBezTo>
                <a:moveTo>
                  <a:pt x="19145" y="7364"/>
                </a:moveTo>
                <a:cubicBezTo>
                  <a:pt x="19145" y="7093"/>
                  <a:pt x="18925" y="6873"/>
                  <a:pt x="18655" y="6873"/>
                </a:cubicBezTo>
                <a:cubicBezTo>
                  <a:pt x="18384" y="6873"/>
                  <a:pt x="18164" y="7093"/>
                  <a:pt x="18164" y="7364"/>
                </a:cubicBezTo>
                <a:cubicBezTo>
                  <a:pt x="18164" y="7635"/>
                  <a:pt x="18384" y="7855"/>
                  <a:pt x="18655" y="7855"/>
                </a:cubicBezTo>
                <a:cubicBezTo>
                  <a:pt x="18925" y="7855"/>
                  <a:pt x="19145" y="7635"/>
                  <a:pt x="19145" y="7364"/>
                </a:cubicBezTo>
                <a:moveTo>
                  <a:pt x="8836" y="15709"/>
                </a:moveTo>
                <a:cubicBezTo>
                  <a:pt x="8294" y="15709"/>
                  <a:pt x="7855" y="15269"/>
                  <a:pt x="7855" y="14727"/>
                </a:cubicBezTo>
                <a:cubicBezTo>
                  <a:pt x="7855" y="14186"/>
                  <a:pt x="8294"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4727" y="10800"/>
                </a:moveTo>
                <a:cubicBezTo>
                  <a:pt x="14185" y="10800"/>
                  <a:pt x="13745" y="11240"/>
                  <a:pt x="13745" y="11782"/>
                </a:cubicBezTo>
                <a:cubicBezTo>
                  <a:pt x="13745" y="12325"/>
                  <a:pt x="14185" y="12764"/>
                  <a:pt x="14727" y="12764"/>
                </a:cubicBezTo>
                <a:cubicBezTo>
                  <a:pt x="15269" y="12764"/>
                  <a:pt x="15709" y="12325"/>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7"/>
                  <a:pt x="6668" y="18655"/>
                  <a:pt x="8836" y="18655"/>
                </a:cubicBezTo>
                <a:cubicBezTo>
                  <a:pt x="11005" y="18655"/>
                  <a:pt x="12764" y="16897"/>
                  <a:pt x="12764" y="14727"/>
                </a:cubicBezTo>
                <a:cubicBezTo>
                  <a:pt x="12764" y="12558"/>
                  <a:pt x="11005" y="10800"/>
                  <a:pt x="8836"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0" name="Shape 2660"/>
          <p:cNvSpPr/>
          <p:nvPr/>
        </p:nvSpPr>
        <p:spPr>
          <a:xfrm>
            <a:off x="1860482"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1" name="Shape 2661"/>
          <p:cNvSpPr/>
          <p:nvPr/>
        </p:nvSpPr>
        <p:spPr>
          <a:xfrm>
            <a:off x="2260427"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7855"/>
                </a:moveTo>
                <a:lnTo>
                  <a:pt x="7855" y="7855"/>
                </a:lnTo>
                <a:lnTo>
                  <a:pt x="7855" y="9818"/>
                </a:lnTo>
                <a:lnTo>
                  <a:pt x="9818" y="9818"/>
                </a:lnTo>
                <a:cubicBezTo>
                  <a:pt x="9818" y="9818"/>
                  <a:pt x="9818" y="7855"/>
                  <a:pt x="9818" y="7855"/>
                </a:cubicBezTo>
                <a:close/>
                <a:moveTo>
                  <a:pt x="5891" y="7855"/>
                </a:moveTo>
                <a:lnTo>
                  <a:pt x="3927" y="7855"/>
                </a:lnTo>
                <a:lnTo>
                  <a:pt x="3927" y="9818"/>
                </a:lnTo>
                <a:lnTo>
                  <a:pt x="5891" y="9818"/>
                </a:lnTo>
                <a:cubicBezTo>
                  <a:pt x="5891" y="9818"/>
                  <a:pt x="5891" y="7855"/>
                  <a:pt x="5891" y="7855"/>
                </a:cubicBezTo>
                <a:close/>
                <a:moveTo>
                  <a:pt x="13745" y="7855"/>
                </a:moveTo>
                <a:lnTo>
                  <a:pt x="11782" y="7855"/>
                </a:lnTo>
                <a:lnTo>
                  <a:pt x="11782" y="9818"/>
                </a:lnTo>
                <a:lnTo>
                  <a:pt x="13745" y="9818"/>
                </a:lnTo>
                <a:cubicBezTo>
                  <a:pt x="13745" y="9818"/>
                  <a:pt x="13745" y="7855"/>
                  <a:pt x="13745" y="7855"/>
                </a:cubicBezTo>
                <a:close/>
                <a:moveTo>
                  <a:pt x="7855" y="13745"/>
                </a:moveTo>
                <a:lnTo>
                  <a:pt x="9818" y="13745"/>
                </a:lnTo>
                <a:lnTo>
                  <a:pt x="9818" y="11782"/>
                </a:lnTo>
                <a:lnTo>
                  <a:pt x="7855" y="11782"/>
                </a:lnTo>
                <a:cubicBezTo>
                  <a:pt x="7855" y="11782"/>
                  <a:pt x="7855" y="13745"/>
                  <a:pt x="7855" y="13745"/>
                </a:cubicBezTo>
                <a:close/>
                <a:moveTo>
                  <a:pt x="13745" y="11782"/>
                </a:moveTo>
                <a:lnTo>
                  <a:pt x="15709" y="11782"/>
                </a:lnTo>
                <a:lnTo>
                  <a:pt x="15709" y="9818"/>
                </a:lnTo>
                <a:lnTo>
                  <a:pt x="13745" y="9818"/>
                </a:lnTo>
                <a:cubicBezTo>
                  <a:pt x="13745" y="9818"/>
                  <a:pt x="13745" y="11782"/>
                  <a:pt x="13745" y="11782"/>
                </a:cubicBezTo>
                <a:close/>
                <a:moveTo>
                  <a:pt x="5891" y="11782"/>
                </a:moveTo>
                <a:lnTo>
                  <a:pt x="3927" y="11782"/>
                </a:lnTo>
                <a:lnTo>
                  <a:pt x="3927" y="13745"/>
                </a:lnTo>
                <a:lnTo>
                  <a:pt x="5891" y="13745"/>
                </a:lnTo>
                <a:cubicBezTo>
                  <a:pt x="5891" y="13745"/>
                  <a:pt x="5891" y="11782"/>
                  <a:pt x="5891" y="11782"/>
                </a:cubicBezTo>
                <a:close/>
                <a:moveTo>
                  <a:pt x="11782" y="13745"/>
                </a:moveTo>
                <a:lnTo>
                  <a:pt x="13745" y="13745"/>
                </a:lnTo>
                <a:lnTo>
                  <a:pt x="13745" y="11782"/>
                </a:lnTo>
                <a:lnTo>
                  <a:pt x="11782" y="11782"/>
                </a:lnTo>
                <a:cubicBezTo>
                  <a:pt x="11782" y="11782"/>
                  <a:pt x="11782" y="13745"/>
                  <a:pt x="11782" y="13745"/>
                </a:cubicBezTo>
                <a:close/>
                <a:moveTo>
                  <a:pt x="13745" y="15709"/>
                </a:moveTo>
                <a:lnTo>
                  <a:pt x="15709" y="15709"/>
                </a:lnTo>
                <a:lnTo>
                  <a:pt x="15709" y="13745"/>
                </a:lnTo>
                <a:lnTo>
                  <a:pt x="13745" y="13745"/>
                </a:lnTo>
                <a:cubicBezTo>
                  <a:pt x="13745" y="13745"/>
                  <a:pt x="13745" y="15709"/>
                  <a:pt x="13745" y="15709"/>
                </a:cubicBezTo>
                <a:close/>
                <a:moveTo>
                  <a:pt x="17673" y="7855"/>
                </a:moveTo>
                <a:lnTo>
                  <a:pt x="19636" y="7855"/>
                </a:lnTo>
                <a:lnTo>
                  <a:pt x="19636" y="5891"/>
                </a:lnTo>
                <a:lnTo>
                  <a:pt x="17673" y="5891"/>
                </a:lnTo>
                <a:cubicBezTo>
                  <a:pt x="17673" y="5891"/>
                  <a:pt x="17673" y="7855"/>
                  <a:pt x="17673" y="7855"/>
                </a:cubicBezTo>
                <a:close/>
                <a:moveTo>
                  <a:pt x="15709" y="9818"/>
                </a:moveTo>
                <a:lnTo>
                  <a:pt x="17673" y="9818"/>
                </a:lnTo>
                <a:lnTo>
                  <a:pt x="17673" y="7855"/>
                </a:lnTo>
                <a:lnTo>
                  <a:pt x="15709" y="7855"/>
                </a:lnTo>
                <a:cubicBezTo>
                  <a:pt x="15709" y="7855"/>
                  <a:pt x="15709" y="9818"/>
                  <a:pt x="15709" y="9818"/>
                </a:cubicBezTo>
                <a:close/>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2"/>
                  <a:pt x="13782" y="1233"/>
                </a:cubicBezTo>
                <a:lnTo>
                  <a:pt x="11088" y="3927"/>
                </a:lnTo>
                <a:lnTo>
                  <a:pt x="10513" y="3927"/>
                </a:lnTo>
                <a:lnTo>
                  <a:pt x="7818" y="1233"/>
                </a:lnTo>
                <a:cubicBezTo>
                  <a:pt x="7839" y="1152"/>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0"/>
                  <a:pt x="4147" y="21600"/>
                  <a:pt x="4418" y="21600"/>
                </a:cubicBezTo>
                <a:cubicBezTo>
                  <a:pt x="4689" y="21600"/>
                  <a:pt x="4909" y="21380"/>
                  <a:pt x="4909" y="21109"/>
                </a:cubicBezTo>
                <a:lnTo>
                  <a:pt x="4909" y="20618"/>
                </a:lnTo>
                <a:lnTo>
                  <a:pt x="16691" y="20618"/>
                </a:lnTo>
                <a:lnTo>
                  <a:pt x="16691" y="21109"/>
                </a:lnTo>
                <a:cubicBezTo>
                  <a:pt x="16691" y="21380"/>
                  <a:pt x="16911" y="21600"/>
                  <a:pt x="17182" y="21600"/>
                </a:cubicBezTo>
                <a:cubicBezTo>
                  <a:pt x="17453" y="21600"/>
                  <a:pt x="17673" y="21380"/>
                  <a:pt x="17673" y="21109"/>
                </a:cubicBezTo>
                <a:lnTo>
                  <a:pt x="17673" y="19637"/>
                </a:lnTo>
                <a:lnTo>
                  <a:pt x="19636" y="19637"/>
                </a:lnTo>
                <a:cubicBezTo>
                  <a:pt x="20721" y="19637"/>
                  <a:pt x="21600" y="18757"/>
                  <a:pt x="21600" y="17673"/>
                </a:cubicBezTo>
                <a:lnTo>
                  <a:pt x="21600" y="5891"/>
                </a:lnTo>
                <a:cubicBezTo>
                  <a:pt x="21600" y="4806"/>
                  <a:pt x="20721" y="3927"/>
                  <a:pt x="19636" y="3927"/>
                </a:cubicBezTo>
                <a:moveTo>
                  <a:pt x="5891" y="15709"/>
                </a:moveTo>
                <a:lnTo>
                  <a:pt x="7855" y="15709"/>
                </a:lnTo>
                <a:lnTo>
                  <a:pt x="7855" y="13745"/>
                </a:lnTo>
                <a:lnTo>
                  <a:pt x="5891" y="13745"/>
                </a:lnTo>
                <a:cubicBezTo>
                  <a:pt x="5891" y="13745"/>
                  <a:pt x="5891" y="15709"/>
                  <a:pt x="5891" y="15709"/>
                </a:cubicBezTo>
                <a:close/>
                <a:moveTo>
                  <a:pt x="9818" y="15709"/>
                </a:moveTo>
                <a:lnTo>
                  <a:pt x="11782" y="15709"/>
                </a:lnTo>
                <a:lnTo>
                  <a:pt x="11782" y="13745"/>
                </a:lnTo>
                <a:lnTo>
                  <a:pt x="9818" y="13745"/>
                </a:lnTo>
                <a:cubicBezTo>
                  <a:pt x="9818" y="13745"/>
                  <a:pt x="9818" y="15709"/>
                  <a:pt x="9818" y="15709"/>
                </a:cubicBezTo>
                <a:close/>
                <a:moveTo>
                  <a:pt x="7855" y="9818"/>
                </a:moveTo>
                <a:lnTo>
                  <a:pt x="5891" y="9818"/>
                </a:lnTo>
                <a:lnTo>
                  <a:pt x="5891" y="11782"/>
                </a:lnTo>
                <a:lnTo>
                  <a:pt x="7855" y="11782"/>
                </a:lnTo>
                <a:cubicBezTo>
                  <a:pt x="7855" y="11782"/>
                  <a:pt x="7855" y="9818"/>
                  <a:pt x="7855" y="9818"/>
                </a:cubicBezTo>
                <a:close/>
                <a:moveTo>
                  <a:pt x="15709" y="13745"/>
                </a:moveTo>
                <a:lnTo>
                  <a:pt x="17673" y="13745"/>
                </a:lnTo>
                <a:lnTo>
                  <a:pt x="17673" y="11782"/>
                </a:lnTo>
                <a:lnTo>
                  <a:pt x="15709" y="11782"/>
                </a:lnTo>
                <a:cubicBezTo>
                  <a:pt x="15709" y="11782"/>
                  <a:pt x="15709" y="13745"/>
                  <a:pt x="15709" y="13745"/>
                </a:cubicBezTo>
                <a:close/>
                <a:moveTo>
                  <a:pt x="1964" y="7855"/>
                </a:moveTo>
                <a:lnTo>
                  <a:pt x="3927" y="7855"/>
                </a:lnTo>
                <a:lnTo>
                  <a:pt x="3927" y="5891"/>
                </a:lnTo>
                <a:lnTo>
                  <a:pt x="1964" y="5891"/>
                </a:lnTo>
                <a:cubicBezTo>
                  <a:pt x="1964" y="5891"/>
                  <a:pt x="1964" y="7855"/>
                  <a:pt x="1964" y="7855"/>
                </a:cubicBezTo>
                <a:close/>
                <a:moveTo>
                  <a:pt x="3927" y="17673"/>
                </a:moveTo>
                <a:lnTo>
                  <a:pt x="5891" y="17673"/>
                </a:lnTo>
                <a:lnTo>
                  <a:pt x="5891" y="15709"/>
                </a:lnTo>
                <a:lnTo>
                  <a:pt x="3927" y="15709"/>
                </a:lnTo>
                <a:cubicBezTo>
                  <a:pt x="3927" y="15709"/>
                  <a:pt x="3927" y="17673"/>
                  <a:pt x="3927" y="17673"/>
                </a:cubicBezTo>
                <a:close/>
                <a:moveTo>
                  <a:pt x="11782" y="5891"/>
                </a:moveTo>
                <a:lnTo>
                  <a:pt x="9818" y="5891"/>
                </a:lnTo>
                <a:lnTo>
                  <a:pt x="9818" y="7855"/>
                </a:lnTo>
                <a:lnTo>
                  <a:pt x="11782" y="7855"/>
                </a:lnTo>
                <a:cubicBezTo>
                  <a:pt x="11782" y="7855"/>
                  <a:pt x="11782" y="5891"/>
                  <a:pt x="11782" y="5891"/>
                </a:cubicBezTo>
                <a:close/>
                <a:moveTo>
                  <a:pt x="7855" y="5891"/>
                </a:moveTo>
                <a:lnTo>
                  <a:pt x="5891" y="5891"/>
                </a:lnTo>
                <a:lnTo>
                  <a:pt x="5891" y="7855"/>
                </a:lnTo>
                <a:lnTo>
                  <a:pt x="7855" y="7855"/>
                </a:lnTo>
                <a:cubicBezTo>
                  <a:pt x="7855" y="7855"/>
                  <a:pt x="7855" y="5891"/>
                  <a:pt x="7855" y="5891"/>
                </a:cubicBezTo>
                <a:close/>
                <a:moveTo>
                  <a:pt x="1964" y="15709"/>
                </a:moveTo>
                <a:lnTo>
                  <a:pt x="3927" y="15709"/>
                </a:lnTo>
                <a:lnTo>
                  <a:pt x="3927" y="13745"/>
                </a:lnTo>
                <a:lnTo>
                  <a:pt x="1964" y="13745"/>
                </a:lnTo>
                <a:cubicBezTo>
                  <a:pt x="1964" y="13745"/>
                  <a:pt x="1964" y="15709"/>
                  <a:pt x="1964" y="15709"/>
                </a:cubicBezTo>
                <a:close/>
                <a:moveTo>
                  <a:pt x="1964" y="11782"/>
                </a:moveTo>
                <a:lnTo>
                  <a:pt x="3927" y="11782"/>
                </a:lnTo>
                <a:lnTo>
                  <a:pt x="3927" y="9818"/>
                </a:lnTo>
                <a:lnTo>
                  <a:pt x="1964" y="9818"/>
                </a:lnTo>
                <a:cubicBezTo>
                  <a:pt x="1964" y="9818"/>
                  <a:pt x="1964" y="11782"/>
                  <a:pt x="1964" y="11782"/>
                </a:cubicBezTo>
                <a:close/>
                <a:moveTo>
                  <a:pt x="7855" y="17673"/>
                </a:moveTo>
                <a:lnTo>
                  <a:pt x="9818" y="17673"/>
                </a:lnTo>
                <a:lnTo>
                  <a:pt x="9818" y="15709"/>
                </a:lnTo>
                <a:lnTo>
                  <a:pt x="7855" y="15709"/>
                </a:lnTo>
                <a:cubicBezTo>
                  <a:pt x="7855" y="15709"/>
                  <a:pt x="7855" y="17673"/>
                  <a:pt x="7855" y="17673"/>
                </a:cubicBezTo>
                <a:close/>
                <a:moveTo>
                  <a:pt x="11782" y="17673"/>
                </a:moveTo>
                <a:lnTo>
                  <a:pt x="13745" y="17673"/>
                </a:lnTo>
                <a:lnTo>
                  <a:pt x="13745" y="15709"/>
                </a:lnTo>
                <a:lnTo>
                  <a:pt x="11782" y="15709"/>
                </a:lnTo>
                <a:cubicBezTo>
                  <a:pt x="11782" y="15709"/>
                  <a:pt x="11782" y="17673"/>
                  <a:pt x="11782" y="17673"/>
                </a:cubicBezTo>
                <a:close/>
                <a:moveTo>
                  <a:pt x="15709" y="17673"/>
                </a:moveTo>
                <a:lnTo>
                  <a:pt x="17673" y="17673"/>
                </a:lnTo>
                <a:lnTo>
                  <a:pt x="17673" y="15709"/>
                </a:lnTo>
                <a:lnTo>
                  <a:pt x="15709" y="15709"/>
                </a:lnTo>
                <a:cubicBezTo>
                  <a:pt x="15709" y="15709"/>
                  <a:pt x="15709" y="17673"/>
                  <a:pt x="15709" y="17673"/>
                </a:cubicBezTo>
                <a:close/>
                <a:moveTo>
                  <a:pt x="11782" y="9818"/>
                </a:moveTo>
                <a:lnTo>
                  <a:pt x="9818" y="9818"/>
                </a:lnTo>
                <a:lnTo>
                  <a:pt x="9818" y="11782"/>
                </a:lnTo>
                <a:lnTo>
                  <a:pt x="11782" y="11782"/>
                </a:lnTo>
                <a:cubicBezTo>
                  <a:pt x="11782" y="11782"/>
                  <a:pt x="11782" y="9818"/>
                  <a:pt x="11782" y="9818"/>
                </a:cubicBezTo>
                <a:close/>
                <a:moveTo>
                  <a:pt x="19636" y="9818"/>
                </a:moveTo>
                <a:lnTo>
                  <a:pt x="17673" y="9818"/>
                </a:lnTo>
                <a:lnTo>
                  <a:pt x="17673" y="11782"/>
                </a:lnTo>
                <a:lnTo>
                  <a:pt x="19636" y="11782"/>
                </a:lnTo>
                <a:cubicBezTo>
                  <a:pt x="19636" y="11782"/>
                  <a:pt x="19636" y="9818"/>
                  <a:pt x="19636" y="9818"/>
                </a:cubicBezTo>
                <a:close/>
                <a:moveTo>
                  <a:pt x="19636" y="13745"/>
                </a:moveTo>
                <a:lnTo>
                  <a:pt x="17673" y="13745"/>
                </a:lnTo>
                <a:lnTo>
                  <a:pt x="17673" y="15709"/>
                </a:lnTo>
                <a:lnTo>
                  <a:pt x="19636" y="15709"/>
                </a:lnTo>
                <a:cubicBezTo>
                  <a:pt x="19636" y="15709"/>
                  <a:pt x="19636" y="13745"/>
                  <a:pt x="19636" y="13745"/>
                </a:cubicBezTo>
                <a:close/>
                <a:moveTo>
                  <a:pt x="15709" y="5891"/>
                </a:moveTo>
                <a:lnTo>
                  <a:pt x="13745" y="5891"/>
                </a:lnTo>
                <a:lnTo>
                  <a:pt x="13745" y="7855"/>
                </a:lnTo>
                <a:lnTo>
                  <a:pt x="15709" y="7855"/>
                </a:lnTo>
                <a:cubicBezTo>
                  <a:pt x="15709" y="7855"/>
                  <a:pt x="15709" y="5891"/>
                  <a:pt x="15709"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2" name="Shape 2662"/>
          <p:cNvSpPr/>
          <p:nvPr/>
        </p:nvSpPr>
        <p:spPr>
          <a:xfrm>
            <a:off x="266037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782"/>
                </a:moveTo>
                <a:cubicBezTo>
                  <a:pt x="18383" y="11782"/>
                  <a:pt x="18164" y="12002"/>
                  <a:pt x="18164" y="12273"/>
                </a:cubicBezTo>
                <a:cubicBezTo>
                  <a:pt x="18164" y="12544"/>
                  <a:pt x="18383" y="12764"/>
                  <a:pt x="18655" y="12764"/>
                </a:cubicBezTo>
                <a:cubicBezTo>
                  <a:pt x="18926" y="12764"/>
                  <a:pt x="19145" y="12544"/>
                  <a:pt x="19145" y="12273"/>
                </a:cubicBezTo>
                <a:cubicBezTo>
                  <a:pt x="19145" y="12002"/>
                  <a:pt x="18926" y="11782"/>
                  <a:pt x="18655" y="11782"/>
                </a:cubicBezTo>
                <a:moveTo>
                  <a:pt x="18655" y="13745"/>
                </a:moveTo>
                <a:cubicBezTo>
                  <a:pt x="18383" y="13745"/>
                  <a:pt x="18164" y="13966"/>
                  <a:pt x="18164" y="14236"/>
                </a:cubicBezTo>
                <a:cubicBezTo>
                  <a:pt x="18164" y="14508"/>
                  <a:pt x="18383" y="14727"/>
                  <a:pt x="18655" y="14727"/>
                </a:cubicBezTo>
                <a:cubicBezTo>
                  <a:pt x="18926" y="14727"/>
                  <a:pt x="19145" y="14508"/>
                  <a:pt x="19145" y="14236"/>
                </a:cubicBezTo>
                <a:cubicBezTo>
                  <a:pt x="19145" y="13966"/>
                  <a:pt x="18926" y="13745"/>
                  <a:pt x="18655" y="13745"/>
                </a:cubicBezTo>
                <a:moveTo>
                  <a:pt x="20618" y="19636"/>
                </a:moveTo>
                <a:cubicBezTo>
                  <a:pt x="20618" y="20178"/>
                  <a:pt x="20178" y="20618"/>
                  <a:pt x="19636" y="20618"/>
                </a:cubicBezTo>
                <a:lnTo>
                  <a:pt x="16691" y="20618"/>
                </a:lnTo>
                <a:lnTo>
                  <a:pt x="16691" y="6873"/>
                </a:lnTo>
                <a:lnTo>
                  <a:pt x="19636" y="6873"/>
                </a:lnTo>
                <a:cubicBezTo>
                  <a:pt x="20178" y="6873"/>
                  <a:pt x="20618" y="7313"/>
                  <a:pt x="20618" y="7855"/>
                </a:cubicBezTo>
                <a:cubicBezTo>
                  <a:pt x="20618" y="7855"/>
                  <a:pt x="20618" y="19636"/>
                  <a:pt x="20618" y="19636"/>
                </a:cubicBezTo>
                <a:close/>
                <a:moveTo>
                  <a:pt x="15709" y="20618"/>
                </a:moveTo>
                <a:lnTo>
                  <a:pt x="1964" y="20618"/>
                </a:lnTo>
                <a:cubicBezTo>
                  <a:pt x="1422" y="20618"/>
                  <a:pt x="982" y="20178"/>
                  <a:pt x="982" y="19636"/>
                </a:cubicBezTo>
                <a:lnTo>
                  <a:pt x="982" y="7855"/>
                </a:lnTo>
                <a:cubicBezTo>
                  <a:pt x="982" y="7313"/>
                  <a:pt x="1422" y="6873"/>
                  <a:pt x="1964" y="6873"/>
                </a:cubicBezTo>
                <a:lnTo>
                  <a:pt x="15709" y="6873"/>
                </a:lnTo>
                <a:cubicBezTo>
                  <a:pt x="15709" y="6873"/>
                  <a:pt x="15709" y="20618"/>
                  <a:pt x="15709" y="20618"/>
                </a:cubicBezTo>
                <a:close/>
                <a:moveTo>
                  <a:pt x="19636" y="5891"/>
                </a:moveTo>
                <a:lnTo>
                  <a:pt x="13205" y="5891"/>
                </a:lnTo>
                <a:cubicBezTo>
                  <a:pt x="13069" y="5222"/>
                  <a:pt x="12657" y="4657"/>
                  <a:pt x="12097" y="4306"/>
                </a:cubicBezTo>
                <a:lnTo>
                  <a:pt x="14476" y="1927"/>
                </a:lnTo>
                <a:cubicBezTo>
                  <a:pt x="14557" y="1949"/>
                  <a:pt x="14640" y="1964"/>
                  <a:pt x="14727" y="1964"/>
                </a:cubicBezTo>
                <a:cubicBezTo>
                  <a:pt x="15269" y="1964"/>
                  <a:pt x="15709" y="1524"/>
                  <a:pt x="15709" y="982"/>
                </a:cubicBezTo>
                <a:cubicBezTo>
                  <a:pt x="15709" y="440"/>
                  <a:pt x="15269" y="0"/>
                  <a:pt x="14727" y="0"/>
                </a:cubicBezTo>
                <a:cubicBezTo>
                  <a:pt x="14186" y="0"/>
                  <a:pt x="13745" y="440"/>
                  <a:pt x="13745" y="982"/>
                </a:cubicBezTo>
                <a:cubicBezTo>
                  <a:pt x="13745" y="1070"/>
                  <a:pt x="13761" y="1153"/>
                  <a:pt x="13782" y="1233"/>
                </a:cubicBezTo>
                <a:lnTo>
                  <a:pt x="11061" y="3954"/>
                </a:lnTo>
                <a:cubicBezTo>
                  <a:pt x="10975" y="3945"/>
                  <a:pt x="10889" y="3927"/>
                  <a:pt x="10800" y="3927"/>
                </a:cubicBezTo>
                <a:cubicBezTo>
                  <a:pt x="10711" y="3927"/>
                  <a:pt x="10625" y="3945"/>
                  <a:pt x="10539" y="3954"/>
                </a:cubicBezTo>
                <a:lnTo>
                  <a:pt x="7818" y="1233"/>
                </a:lnTo>
                <a:cubicBezTo>
                  <a:pt x="7839" y="1153"/>
                  <a:pt x="7855" y="1070"/>
                  <a:pt x="7855" y="982"/>
                </a:cubicBezTo>
                <a:cubicBezTo>
                  <a:pt x="7855" y="440"/>
                  <a:pt x="7414" y="0"/>
                  <a:pt x="6873" y="0"/>
                </a:cubicBezTo>
                <a:cubicBezTo>
                  <a:pt x="6331" y="0"/>
                  <a:pt x="5891" y="440"/>
                  <a:pt x="5891" y="982"/>
                </a:cubicBezTo>
                <a:cubicBezTo>
                  <a:pt x="5891" y="1524"/>
                  <a:pt x="6331" y="1964"/>
                  <a:pt x="6873" y="1964"/>
                </a:cubicBezTo>
                <a:cubicBezTo>
                  <a:pt x="6960" y="1964"/>
                  <a:pt x="7043" y="1949"/>
                  <a:pt x="7124" y="1927"/>
                </a:cubicBezTo>
                <a:lnTo>
                  <a:pt x="9503" y="4306"/>
                </a:lnTo>
                <a:cubicBezTo>
                  <a:pt x="8943" y="4657"/>
                  <a:pt x="8531" y="5222"/>
                  <a:pt x="8395" y="5891"/>
                </a:cubicBez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2764" y="17673"/>
                </a:moveTo>
                <a:lnTo>
                  <a:pt x="3927" y="17673"/>
                </a:lnTo>
                <a:lnTo>
                  <a:pt x="3927" y="9818"/>
                </a:lnTo>
                <a:lnTo>
                  <a:pt x="12764" y="9818"/>
                </a:lnTo>
                <a:cubicBezTo>
                  <a:pt x="12764" y="9818"/>
                  <a:pt x="12764" y="17673"/>
                  <a:pt x="12764" y="17673"/>
                </a:cubicBezTo>
                <a:close/>
                <a:moveTo>
                  <a:pt x="13745" y="8836"/>
                </a:moveTo>
                <a:lnTo>
                  <a:pt x="2945" y="8836"/>
                </a:lnTo>
                <a:lnTo>
                  <a:pt x="2945" y="18655"/>
                </a:lnTo>
                <a:lnTo>
                  <a:pt x="13745" y="18655"/>
                </a:lnTo>
                <a:cubicBezTo>
                  <a:pt x="13745" y="18655"/>
                  <a:pt x="13745" y="8836"/>
                  <a:pt x="13745" y="8836"/>
                </a:cubicBezTo>
                <a:close/>
                <a:moveTo>
                  <a:pt x="18655" y="8836"/>
                </a:moveTo>
                <a:cubicBezTo>
                  <a:pt x="18113" y="8836"/>
                  <a:pt x="17673" y="9276"/>
                  <a:pt x="17673" y="9818"/>
                </a:cubicBezTo>
                <a:cubicBezTo>
                  <a:pt x="17673" y="10360"/>
                  <a:pt x="18113" y="10800"/>
                  <a:pt x="18655" y="10800"/>
                </a:cubicBezTo>
                <a:cubicBezTo>
                  <a:pt x="19196" y="10800"/>
                  <a:pt x="19636" y="10360"/>
                  <a:pt x="19636" y="9818"/>
                </a:cubicBezTo>
                <a:cubicBezTo>
                  <a:pt x="19636" y="9276"/>
                  <a:pt x="19196" y="8836"/>
                  <a:pt x="1865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3" name="Shape 2663"/>
          <p:cNvSpPr/>
          <p:nvPr/>
        </p:nvSpPr>
        <p:spPr>
          <a:xfrm>
            <a:off x="3060320"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4" name="Shape 2664"/>
          <p:cNvSpPr/>
          <p:nvPr/>
        </p:nvSpPr>
        <p:spPr>
          <a:xfrm>
            <a:off x="3460265"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5" name="Shape 2665"/>
          <p:cNvSpPr/>
          <p:nvPr/>
        </p:nvSpPr>
        <p:spPr>
          <a:xfrm>
            <a:off x="3860211"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6" name="Shape 2666"/>
          <p:cNvSpPr/>
          <p:nvPr/>
        </p:nvSpPr>
        <p:spPr>
          <a:xfrm>
            <a:off x="4260157"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10800" y="18000"/>
                </a:lnTo>
                <a:lnTo>
                  <a:pt x="10800"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7" name="Shape 2667"/>
          <p:cNvSpPr/>
          <p:nvPr/>
        </p:nvSpPr>
        <p:spPr>
          <a:xfrm>
            <a:off x="660644"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4727" y="18000"/>
                </a:lnTo>
                <a:lnTo>
                  <a:pt x="14727"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8" name="Shape 2668"/>
          <p:cNvSpPr/>
          <p:nvPr/>
        </p:nvSpPr>
        <p:spPr>
          <a:xfrm>
            <a:off x="1060590"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8655" y="18000"/>
                </a:lnTo>
                <a:lnTo>
                  <a:pt x="18655"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9" name="Shape 2669"/>
          <p:cNvSpPr/>
          <p:nvPr/>
        </p:nvSpPr>
        <p:spPr>
          <a:xfrm>
            <a:off x="1470059" y="2269744"/>
            <a:ext cx="190451" cy="209501"/>
          </a:xfrm>
          <a:custGeom>
            <a:avLst/>
            <a:gdLst/>
            <a:ahLst/>
            <a:cxnLst>
              <a:cxn ang="0">
                <a:pos x="wd2" y="hd2"/>
              </a:cxn>
              <a:cxn ang="5400000">
                <a:pos x="wd2" y="hd2"/>
              </a:cxn>
              <a:cxn ang="10800000">
                <a:pos x="wd2" y="hd2"/>
              </a:cxn>
              <a:cxn ang="16200000">
                <a:pos x="wd2" y="hd2"/>
              </a:cxn>
            </a:cxnLst>
            <a:rect l="0" t="0" r="r" b="b"/>
            <a:pathLst>
              <a:path w="21600" h="21600" extrusionOk="0">
                <a:moveTo>
                  <a:pt x="12960" y="2161"/>
                </a:moveTo>
                <a:lnTo>
                  <a:pt x="12960" y="2178"/>
                </a:lnTo>
                <a:cubicBezTo>
                  <a:pt x="12662" y="2178"/>
                  <a:pt x="12420" y="2398"/>
                  <a:pt x="12420" y="2669"/>
                </a:cubicBezTo>
                <a:cubicBezTo>
                  <a:pt x="12420" y="2940"/>
                  <a:pt x="12662" y="3160"/>
                  <a:pt x="12960" y="3160"/>
                </a:cubicBezTo>
                <a:lnTo>
                  <a:pt x="12960" y="3172"/>
                </a:lnTo>
                <a:cubicBezTo>
                  <a:pt x="17287" y="4066"/>
                  <a:pt x="20520" y="7577"/>
                  <a:pt x="20520" y="11782"/>
                </a:cubicBezTo>
                <a:cubicBezTo>
                  <a:pt x="20520" y="16662"/>
                  <a:pt x="16168" y="20618"/>
                  <a:pt x="10800" y="20618"/>
                </a:cubicBezTo>
                <a:cubicBezTo>
                  <a:pt x="5432" y="20618"/>
                  <a:pt x="1080" y="16662"/>
                  <a:pt x="1080" y="11782"/>
                </a:cubicBezTo>
                <a:cubicBezTo>
                  <a:pt x="1080" y="7577"/>
                  <a:pt x="4313" y="4066"/>
                  <a:pt x="8640" y="3172"/>
                </a:cubicBezTo>
                <a:lnTo>
                  <a:pt x="8640" y="3160"/>
                </a:lnTo>
                <a:cubicBezTo>
                  <a:pt x="8938" y="3160"/>
                  <a:pt x="9180" y="2940"/>
                  <a:pt x="9180" y="2669"/>
                </a:cubicBezTo>
                <a:cubicBezTo>
                  <a:pt x="9180" y="2398"/>
                  <a:pt x="8938" y="2178"/>
                  <a:pt x="8640" y="2178"/>
                </a:cubicBezTo>
                <a:lnTo>
                  <a:pt x="8640" y="2161"/>
                </a:lnTo>
                <a:cubicBezTo>
                  <a:pt x="3710" y="3071"/>
                  <a:pt x="0" y="7031"/>
                  <a:pt x="0" y="11782"/>
                </a:cubicBezTo>
                <a:cubicBezTo>
                  <a:pt x="0" y="17204"/>
                  <a:pt x="4835" y="21600"/>
                  <a:pt x="10800" y="21600"/>
                </a:cubicBezTo>
                <a:cubicBezTo>
                  <a:pt x="16765" y="21600"/>
                  <a:pt x="21600" y="17204"/>
                  <a:pt x="21600" y="11782"/>
                </a:cubicBezTo>
                <a:cubicBezTo>
                  <a:pt x="21600" y="7031"/>
                  <a:pt x="17890" y="3071"/>
                  <a:pt x="12960" y="2161"/>
                </a:cubicBezTo>
                <a:moveTo>
                  <a:pt x="10800" y="12763"/>
                </a:moveTo>
                <a:cubicBezTo>
                  <a:pt x="11098" y="12763"/>
                  <a:pt x="11340" y="12544"/>
                  <a:pt x="11340" y="12272"/>
                </a:cubicBezTo>
                <a:lnTo>
                  <a:pt x="11340" y="491"/>
                </a:lnTo>
                <a:cubicBezTo>
                  <a:pt x="11340" y="220"/>
                  <a:pt x="11098" y="0"/>
                  <a:pt x="10800" y="0"/>
                </a:cubicBezTo>
                <a:cubicBezTo>
                  <a:pt x="10502" y="0"/>
                  <a:pt x="10260" y="220"/>
                  <a:pt x="10260" y="491"/>
                </a:cubicBezTo>
                <a:lnTo>
                  <a:pt x="10260" y="12272"/>
                </a:lnTo>
                <a:cubicBezTo>
                  <a:pt x="10260" y="12544"/>
                  <a:pt x="10502" y="12763"/>
                  <a:pt x="10800" y="1276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0" name="Shape 2670"/>
          <p:cNvSpPr/>
          <p:nvPr/>
        </p:nvSpPr>
        <p:spPr>
          <a:xfrm>
            <a:off x="1860482"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2273" y="21600"/>
                </a:moveTo>
                <a:lnTo>
                  <a:pt x="13255" y="21600"/>
                </a:lnTo>
                <a:lnTo>
                  <a:pt x="13255" y="0"/>
                </a:lnTo>
                <a:lnTo>
                  <a:pt x="12273" y="0"/>
                </a:lnTo>
                <a:cubicBezTo>
                  <a:pt x="12273" y="0"/>
                  <a:pt x="12273" y="21600"/>
                  <a:pt x="12273" y="21600"/>
                </a:cubicBezTo>
                <a:close/>
                <a:moveTo>
                  <a:pt x="14236" y="21600"/>
                </a:moveTo>
                <a:lnTo>
                  <a:pt x="16691" y="21600"/>
                </a:lnTo>
                <a:lnTo>
                  <a:pt x="16691" y="0"/>
                </a:lnTo>
                <a:lnTo>
                  <a:pt x="14236" y="0"/>
                </a:lnTo>
                <a:cubicBezTo>
                  <a:pt x="14236" y="0"/>
                  <a:pt x="14236" y="21600"/>
                  <a:pt x="14236" y="21600"/>
                </a:cubicBezTo>
                <a:close/>
                <a:moveTo>
                  <a:pt x="17673" y="21600"/>
                </a:moveTo>
                <a:lnTo>
                  <a:pt x="18655" y="21600"/>
                </a:lnTo>
                <a:lnTo>
                  <a:pt x="18655" y="0"/>
                </a:lnTo>
                <a:lnTo>
                  <a:pt x="17673" y="0"/>
                </a:lnTo>
                <a:cubicBezTo>
                  <a:pt x="17673" y="0"/>
                  <a:pt x="17673" y="21600"/>
                  <a:pt x="17673" y="21600"/>
                </a:cubicBezTo>
                <a:close/>
                <a:moveTo>
                  <a:pt x="20618" y="0"/>
                </a:moveTo>
                <a:lnTo>
                  <a:pt x="19636" y="0"/>
                </a:lnTo>
                <a:lnTo>
                  <a:pt x="19636" y="21600"/>
                </a:lnTo>
                <a:lnTo>
                  <a:pt x="20618" y="21600"/>
                </a:lnTo>
                <a:cubicBezTo>
                  <a:pt x="21160" y="21600"/>
                  <a:pt x="21600" y="20996"/>
                  <a:pt x="21600" y="20250"/>
                </a:cubicBezTo>
                <a:lnTo>
                  <a:pt x="21600" y="1350"/>
                </a:lnTo>
                <a:cubicBezTo>
                  <a:pt x="21600" y="605"/>
                  <a:pt x="21160" y="0"/>
                  <a:pt x="20618" y="0"/>
                </a:cubicBezTo>
                <a:moveTo>
                  <a:pt x="4909" y="21600"/>
                </a:moveTo>
                <a:lnTo>
                  <a:pt x="5891" y="21600"/>
                </a:lnTo>
                <a:lnTo>
                  <a:pt x="5891" y="0"/>
                </a:lnTo>
                <a:lnTo>
                  <a:pt x="4909" y="0"/>
                </a:lnTo>
                <a:cubicBezTo>
                  <a:pt x="4909" y="0"/>
                  <a:pt x="4909" y="21600"/>
                  <a:pt x="4909" y="21600"/>
                </a:cubicBezTo>
                <a:close/>
                <a:moveTo>
                  <a:pt x="0" y="1350"/>
                </a:moveTo>
                <a:lnTo>
                  <a:pt x="0" y="20250"/>
                </a:lnTo>
                <a:cubicBezTo>
                  <a:pt x="0" y="20996"/>
                  <a:pt x="440" y="21600"/>
                  <a:pt x="982" y="21600"/>
                </a:cubicBezTo>
                <a:lnTo>
                  <a:pt x="982" y="0"/>
                </a:lnTo>
                <a:cubicBezTo>
                  <a:pt x="440" y="0"/>
                  <a:pt x="0" y="605"/>
                  <a:pt x="0" y="1350"/>
                </a:cubicBezTo>
                <a:moveTo>
                  <a:pt x="1964" y="21600"/>
                </a:moveTo>
                <a:lnTo>
                  <a:pt x="3927" y="21600"/>
                </a:lnTo>
                <a:lnTo>
                  <a:pt x="3927" y="0"/>
                </a:lnTo>
                <a:lnTo>
                  <a:pt x="1964" y="0"/>
                </a:lnTo>
                <a:cubicBezTo>
                  <a:pt x="1964" y="0"/>
                  <a:pt x="1964" y="21600"/>
                  <a:pt x="1964" y="21600"/>
                </a:cubicBezTo>
                <a:close/>
                <a:moveTo>
                  <a:pt x="6873" y="21600"/>
                </a:moveTo>
                <a:lnTo>
                  <a:pt x="9327" y="21600"/>
                </a:lnTo>
                <a:lnTo>
                  <a:pt x="9327" y="0"/>
                </a:lnTo>
                <a:lnTo>
                  <a:pt x="6873" y="0"/>
                </a:lnTo>
                <a:cubicBezTo>
                  <a:pt x="6873" y="0"/>
                  <a:pt x="6873" y="21600"/>
                  <a:pt x="6873" y="21600"/>
                </a:cubicBezTo>
                <a:close/>
                <a:moveTo>
                  <a:pt x="10309" y="21600"/>
                </a:moveTo>
                <a:lnTo>
                  <a:pt x="11291" y="21600"/>
                </a:lnTo>
                <a:lnTo>
                  <a:pt x="11291" y="0"/>
                </a:lnTo>
                <a:lnTo>
                  <a:pt x="10309" y="0"/>
                </a:lnTo>
                <a:cubicBezTo>
                  <a:pt x="10309" y="0"/>
                  <a:pt x="10309" y="21600"/>
                  <a:pt x="10309" y="216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1" name="Shape 2671"/>
          <p:cNvSpPr/>
          <p:nvPr/>
        </p:nvSpPr>
        <p:spPr>
          <a:xfrm>
            <a:off x="2260427" y="2269744"/>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2" name="Shape 2672"/>
          <p:cNvSpPr/>
          <p:nvPr/>
        </p:nvSpPr>
        <p:spPr>
          <a:xfrm>
            <a:off x="2660374"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818" y="21600"/>
                </a:moveTo>
                <a:lnTo>
                  <a:pt x="11782" y="21600"/>
                </a:lnTo>
                <a:lnTo>
                  <a:pt x="11782" y="17550"/>
                </a:lnTo>
                <a:lnTo>
                  <a:pt x="9818" y="17550"/>
                </a:lnTo>
                <a:cubicBezTo>
                  <a:pt x="9818" y="17550"/>
                  <a:pt x="9818" y="21600"/>
                  <a:pt x="9818" y="21600"/>
                </a:cubicBezTo>
                <a:close/>
                <a:moveTo>
                  <a:pt x="7855" y="21600"/>
                </a:moveTo>
                <a:lnTo>
                  <a:pt x="8836" y="21600"/>
                </a:lnTo>
                <a:lnTo>
                  <a:pt x="8836" y="17550"/>
                </a:lnTo>
                <a:lnTo>
                  <a:pt x="7855" y="17550"/>
                </a:lnTo>
                <a:cubicBezTo>
                  <a:pt x="7855" y="17550"/>
                  <a:pt x="7855" y="21600"/>
                  <a:pt x="7855" y="21600"/>
                </a:cubicBezTo>
                <a:close/>
                <a:moveTo>
                  <a:pt x="2945" y="21600"/>
                </a:moveTo>
                <a:lnTo>
                  <a:pt x="3927" y="21600"/>
                </a:lnTo>
                <a:lnTo>
                  <a:pt x="3927" y="17550"/>
                </a:lnTo>
                <a:lnTo>
                  <a:pt x="2945" y="17550"/>
                </a:lnTo>
                <a:cubicBezTo>
                  <a:pt x="2945" y="17550"/>
                  <a:pt x="2945" y="21600"/>
                  <a:pt x="2945" y="21600"/>
                </a:cubicBezTo>
                <a:close/>
                <a:moveTo>
                  <a:pt x="4909" y="21600"/>
                </a:moveTo>
                <a:lnTo>
                  <a:pt x="6873" y="21600"/>
                </a:lnTo>
                <a:lnTo>
                  <a:pt x="6873" y="17550"/>
                </a:lnTo>
                <a:lnTo>
                  <a:pt x="4909" y="17550"/>
                </a:lnTo>
                <a:cubicBezTo>
                  <a:pt x="4909" y="17550"/>
                  <a:pt x="4909" y="21600"/>
                  <a:pt x="4909" y="21600"/>
                </a:cubicBezTo>
                <a:close/>
                <a:moveTo>
                  <a:pt x="12764" y="21600"/>
                </a:moveTo>
                <a:lnTo>
                  <a:pt x="13745" y="21600"/>
                </a:lnTo>
                <a:lnTo>
                  <a:pt x="13745" y="17550"/>
                </a:lnTo>
                <a:lnTo>
                  <a:pt x="12764" y="17550"/>
                </a:lnTo>
                <a:cubicBezTo>
                  <a:pt x="12764" y="17550"/>
                  <a:pt x="12764" y="21600"/>
                  <a:pt x="12764" y="21600"/>
                </a:cubicBezTo>
                <a:close/>
                <a:moveTo>
                  <a:pt x="20618" y="14850"/>
                </a:moveTo>
                <a:lnTo>
                  <a:pt x="982" y="14850"/>
                </a:lnTo>
                <a:lnTo>
                  <a:pt x="982" y="13500"/>
                </a:lnTo>
                <a:lnTo>
                  <a:pt x="20618" y="13500"/>
                </a:lnTo>
                <a:cubicBezTo>
                  <a:pt x="20618" y="13500"/>
                  <a:pt x="20618" y="14850"/>
                  <a:pt x="20618" y="14850"/>
                </a:cubicBezTo>
                <a:close/>
                <a:moveTo>
                  <a:pt x="20618" y="12150"/>
                </a:moveTo>
                <a:lnTo>
                  <a:pt x="982" y="12150"/>
                </a:lnTo>
                <a:cubicBezTo>
                  <a:pt x="440" y="12150"/>
                  <a:pt x="0" y="12755"/>
                  <a:pt x="0" y="13500"/>
                </a:cubicBezTo>
                <a:lnTo>
                  <a:pt x="0" y="14850"/>
                </a:lnTo>
                <a:cubicBezTo>
                  <a:pt x="0" y="15595"/>
                  <a:pt x="440" y="16200"/>
                  <a:pt x="982" y="16200"/>
                </a:cubicBezTo>
                <a:lnTo>
                  <a:pt x="20618" y="16200"/>
                </a:lnTo>
                <a:cubicBezTo>
                  <a:pt x="21160" y="16200"/>
                  <a:pt x="21600" y="15595"/>
                  <a:pt x="21600" y="14850"/>
                </a:cubicBezTo>
                <a:lnTo>
                  <a:pt x="21600" y="13500"/>
                </a:lnTo>
                <a:cubicBezTo>
                  <a:pt x="21600" y="12755"/>
                  <a:pt x="21160" y="12150"/>
                  <a:pt x="20618" y="12150"/>
                </a:cubicBezTo>
                <a:moveTo>
                  <a:pt x="982" y="20250"/>
                </a:moveTo>
                <a:cubicBezTo>
                  <a:pt x="982" y="20996"/>
                  <a:pt x="1422" y="21600"/>
                  <a:pt x="1964" y="21600"/>
                </a:cubicBezTo>
                <a:lnTo>
                  <a:pt x="1964" y="17550"/>
                </a:lnTo>
                <a:lnTo>
                  <a:pt x="982" y="17550"/>
                </a:lnTo>
                <a:cubicBezTo>
                  <a:pt x="982" y="17550"/>
                  <a:pt x="982" y="20250"/>
                  <a:pt x="982" y="20250"/>
                </a:cubicBezTo>
                <a:close/>
                <a:moveTo>
                  <a:pt x="16691" y="21600"/>
                </a:moveTo>
                <a:lnTo>
                  <a:pt x="17673" y="21600"/>
                </a:lnTo>
                <a:lnTo>
                  <a:pt x="17673" y="17550"/>
                </a:lnTo>
                <a:lnTo>
                  <a:pt x="16691" y="17550"/>
                </a:lnTo>
                <a:cubicBezTo>
                  <a:pt x="16691" y="17550"/>
                  <a:pt x="16691" y="21600"/>
                  <a:pt x="16691" y="21600"/>
                </a:cubicBezTo>
                <a:close/>
                <a:moveTo>
                  <a:pt x="14727" y="21600"/>
                </a:moveTo>
                <a:lnTo>
                  <a:pt x="15709" y="21600"/>
                </a:lnTo>
                <a:lnTo>
                  <a:pt x="15709" y="17550"/>
                </a:lnTo>
                <a:lnTo>
                  <a:pt x="14727" y="17550"/>
                </a:lnTo>
                <a:cubicBezTo>
                  <a:pt x="14727" y="17550"/>
                  <a:pt x="14727" y="21600"/>
                  <a:pt x="14727" y="21600"/>
                </a:cubicBezTo>
                <a:close/>
                <a:moveTo>
                  <a:pt x="18655" y="21600"/>
                </a:moveTo>
                <a:lnTo>
                  <a:pt x="19636" y="21600"/>
                </a:lnTo>
                <a:cubicBezTo>
                  <a:pt x="20178" y="21600"/>
                  <a:pt x="20618" y="20996"/>
                  <a:pt x="20618" y="20250"/>
                </a:cubicBezTo>
                <a:lnTo>
                  <a:pt x="20618" y="17550"/>
                </a:lnTo>
                <a:lnTo>
                  <a:pt x="18655" y="17550"/>
                </a:lnTo>
                <a:cubicBezTo>
                  <a:pt x="18655" y="17550"/>
                  <a:pt x="18655" y="21600"/>
                  <a:pt x="18655" y="21600"/>
                </a:cubicBezTo>
                <a:close/>
                <a:moveTo>
                  <a:pt x="15709" y="0"/>
                </a:moveTo>
                <a:lnTo>
                  <a:pt x="14727" y="0"/>
                </a:lnTo>
                <a:lnTo>
                  <a:pt x="14727" y="10800"/>
                </a:lnTo>
                <a:lnTo>
                  <a:pt x="15709" y="10800"/>
                </a:lnTo>
                <a:cubicBezTo>
                  <a:pt x="15709" y="10800"/>
                  <a:pt x="15709" y="0"/>
                  <a:pt x="15709" y="0"/>
                </a:cubicBezTo>
                <a:close/>
                <a:moveTo>
                  <a:pt x="20618" y="1350"/>
                </a:moveTo>
                <a:cubicBezTo>
                  <a:pt x="20618" y="605"/>
                  <a:pt x="20178" y="0"/>
                  <a:pt x="19636" y="0"/>
                </a:cubicBezTo>
                <a:lnTo>
                  <a:pt x="18655" y="0"/>
                </a:lnTo>
                <a:lnTo>
                  <a:pt x="18655" y="10800"/>
                </a:lnTo>
                <a:lnTo>
                  <a:pt x="20618" y="10800"/>
                </a:lnTo>
                <a:cubicBezTo>
                  <a:pt x="20618" y="10800"/>
                  <a:pt x="20618" y="1350"/>
                  <a:pt x="20618" y="1350"/>
                </a:cubicBezTo>
                <a:close/>
                <a:moveTo>
                  <a:pt x="13745" y="0"/>
                </a:moveTo>
                <a:lnTo>
                  <a:pt x="12764" y="0"/>
                </a:lnTo>
                <a:lnTo>
                  <a:pt x="12764" y="10800"/>
                </a:lnTo>
                <a:lnTo>
                  <a:pt x="13745" y="10800"/>
                </a:lnTo>
                <a:cubicBezTo>
                  <a:pt x="13745" y="10800"/>
                  <a:pt x="13745" y="0"/>
                  <a:pt x="13745" y="0"/>
                </a:cubicBezTo>
                <a:close/>
                <a:moveTo>
                  <a:pt x="17673" y="0"/>
                </a:moveTo>
                <a:lnTo>
                  <a:pt x="16691" y="0"/>
                </a:lnTo>
                <a:lnTo>
                  <a:pt x="16691" y="10800"/>
                </a:lnTo>
                <a:lnTo>
                  <a:pt x="17673" y="10800"/>
                </a:lnTo>
                <a:cubicBezTo>
                  <a:pt x="17673" y="10800"/>
                  <a:pt x="17673" y="0"/>
                  <a:pt x="17673" y="0"/>
                </a:cubicBezTo>
                <a:close/>
                <a:moveTo>
                  <a:pt x="1964" y="0"/>
                </a:moveTo>
                <a:cubicBezTo>
                  <a:pt x="1422" y="0"/>
                  <a:pt x="982" y="605"/>
                  <a:pt x="982" y="1350"/>
                </a:cubicBezTo>
                <a:lnTo>
                  <a:pt x="982" y="10800"/>
                </a:lnTo>
                <a:lnTo>
                  <a:pt x="1964" y="10800"/>
                </a:lnTo>
                <a:cubicBezTo>
                  <a:pt x="1964" y="10800"/>
                  <a:pt x="1964" y="0"/>
                  <a:pt x="1964" y="0"/>
                </a:cubicBezTo>
                <a:close/>
                <a:moveTo>
                  <a:pt x="3927" y="0"/>
                </a:moveTo>
                <a:lnTo>
                  <a:pt x="2945" y="0"/>
                </a:lnTo>
                <a:lnTo>
                  <a:pt x="2945" y="10800"/>
                </a:lnTo>
                <a:lnTo>
                  <a:pt x="3927" y="10800"/>
                </a:lnTo>
                <a:cubicBezTo>
                  <a:pt x="3927" y="10800"/>
                  <a:pt x="3927" y="0"/>
                  <a:pt x="3927" y="0"/>
                </a:cubicBezTo>
                <a:close/>
                <a:moveTo>
                  <a:pt x="6873" y="0"/>
                </a:moveTo>
                <a:lnTo>
                  <a:pt x="4909" y="0"/>
                </a:lnTo>
                <a:lnTo>
                  <a:pt x="4909" y="10800"/>
                </a:lnTo>
                <a:lnTo>
                  <a:pt x="6873" y="10800"/>
                </a:lnTo>
                <a:cubicBezTo>
                  <a:pt x="6873" y="10800"/>
                  <a:pt x="6873" y="0"/>
                  <a:pt x="6873" y="0"/>
                </a:cubicBezTo>
                <a:close/>
                <a:moveTo>
                  <a:pt x="8836" y="0"/>
                </a:moveTo>
                <a:lnTo>
                  <a:pt x="7855" y="0"/>
                </a:lnTo>
                <a:lnTo>
                  <a:pt x="7855" y="10800"/>
                </a:lnTo>
                <a:lnTo>
                  <a:pt x="8836" y="10800"/>
                </a:lnTo>
                <a:cubicBezTo>
                  <a:pt x="8836" y="10800"/>
                  <a:pt x="8836" y="0"/>
                  <a:pt x="8836" y="0"/>
                </a:cubicBezTo>
                <a:close/>
                <a:moveTo>
                  <a:pt x="11782" y="0"/>
                </a:moveTo>
                <a:lnTo>
                  <a:pt x="9818" y="0"/>
                </a:lnTo>
                <a:lnTo>
                  <a:pt x="9818" y="10800"/>
                </a:lnTo>
                <a:lnTo>
                  <a:pt x="11782" y="10800"/>
                </a:lnTo>
                <a:cubicBezTo>
                  <a:pt x="11782" y="10800"/>
                  <a:pt x="11782" y="0"/>
                  <a:pt x="11782"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3" name="Shape 2673"/>
          <p:cNvSpPr/>
          <p:nvPr/>
        </p:nvSpPr>
        <p:spPr>
          <a:xfrm>
            <a:off x="3060320" y="226974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4" name="Shape 2674"/>
          <p:cNvSpPr/>
          <p:nvPr/>
        </p:nvSpPr>
        <p:spPr>
          <a:xfrm>
            <a:off x="3469788" y="226974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5" name="Shape 2675"/>
          <p:cNvSpPr/>
          <p:nvPr/>
        </p:nvSpPr>
        <p:spPr>
          <a:xfrm>
            <a:off x="3907823" y="2269744"/>
            <a:ext cx="114327" cy="209495"/>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6" name="Shape 2676"/>
          <p:cNvSpPr/>
          <p:nvPr/>
        </p:nvSpPr>
        <p:spPr>
          <a:xfrm>
            <a:off x="4288725" y="226974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7" name="Shape 2677"/>
          <p:cNvSpPr/>
          <p:nvPr/>
        </p:nvSpPr>
        <p:spPr>
          <a:xfrm>
            <a:off x="4717310"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5660" y="7855"/>
                </a:moveTo>
                <a:cubicBezTo>
                  <a:pt x="15362" y="7855"/>
                  <a:pt x="15120" y="8075"/>
                  <a:pt x="15120" y="8345"/>
                </a:cubicBezTo>
                <a:cubicBezTo>
                  <a:pt x="15120" y="8617"/>
                  <a:pt x="15362" y="8836"/>
                  <a:pt x="15660" y="8836"/>
                </a:cubicBezTo>
                <a:cubicBezTo>
                  <a:pt x="16555" y="8836"/>
                  <a:pt x="17280" y="9716"/>
                  <a:pt x="17280" y="10800"/>
                </a:cubicBezTo>
                <a:cubicBezTo>
                  <a:pt x="17280" y="11884"/>
                  <a:pt x="16555" y="12764"/>
                  <a:pt x="15660" y="12764"/>
                </a:cubicBezTo>
                <a:cubicBezTo>
                  <a:pt x="15362" y="12764"/>
                  <a:pt x="15120" y="12984"/>
                  <a:pt x="15120" y="13255"/>
                </a:cubicBezTo>
                <a:cubicBezTo>
                  <a:pt x="15120" y="13526"/>
                  <a:pt x="15362" y="13745"/>
                  <a:pt x="15660" y="13745"/>
                </a:cubicBezTo>
                <a:cubicBezTo>
                  <a:pt x="17151" y="13745"/>
                  <a:pt x="18360" y="12427"/>
                  <a:pt x="18360" y="10800"/>
                </a:cubicBezTo>
                <a:cubicBezTo>
                  <a:pt x="18360" y="9174"/>
                  <a:pt x="17151" y="7855"/>
                  <a:pt x="15660" y="7855"/>
                </a:cubicBezTo>
                <a:moveTo>
                  <a:pt x="18472" y="5611"/>
                </a:moveTo>
                <a:lnTo>
                  <a:pt x="18463" y="5625"/>
                </a:lnTo>
                <a:cubicBezTo>
                  <a:pt x="18383" y="5584"/>
                  <a:pt x="18296" y="5554"/>
                  <a:pt x="18198" y="5554"/>
                </a:cubicBezTo>
                <a:cubicBezTo>
                  <a:pt x="17900" y="5554"/>
                  <a:pt x="17660" y="5774"/>
                  <a:pt x="17660" y="6044"/>
                </a:cubicBezTo>
                <a:cubicBezTo>
                  <a:pt x="17660" y="6216"/>
                  <a:pt x="17763" y="6361"/>
                  <a:pt x="17910" y="6449"/>
                </a:cubicBezTo>
                <a:lnTo>
                  <a:pt x="17909" y="6451"/>
                </a:lnTo>
                <a:cubicBezTo>
                  <a:pt x="19460" y="7271"/>
                  <a:pt x="20520" y="8909"/>
                  <a:pt x="20520" y="10800"/>
                </a:cubicBezTo>
                <a:cubicBezTo>
                  <a:pt x="20520" y="12689"/>
                  <a:pt x="19463" y="14325"/>
                  <a:pt x="17915" y="15147"/>
                </a:cubicBezTo>
                <a:lnTo>
                  <a:pt x="17919" y="15152"/>
                </a:lnTo>
                <a:cubicBezTo>
                  <a:pt x="17771" y="15239"/>
                  <a:pt x="17668" y="15384"/>
                  <a:pt x="17668" y="15556"/>
                </a:cubicBezTo>
                <a:cubicBezTo>
                  <a:pt x="17668" y="15827"/>
                  <a:pt x="17910" y="16046"/>
                  <a:pt x="18208" y="16046"/>
                </a:cubicBezTo>
                <a:cubicBezTo>
                  <a:pt x="18306" y="16046"/>
                  <a:pt x="18393" y="16016"/>
                  <a:pt x="18473" y="15975"/>
                </a:cubicBezTo>
                <a:lnTo>
                  <a:pt x="18480" y="15985"/>
                </a:lnTo>
                <a:cubicBezTo>
                  <a:pt x="20338" y="14990"/>
                  <a:pt x="21600" y="13041"/>
                  <a:pt x="21600" y="10800"/>
                </a:cubicBezTo>
                <a:cubicBezTo>
                  <a:pt x="21600" y="8556"/>
                  <a:pt x="20334" y="6606"/>
                  <a:pt x="18472" y="5611"/>
                </a:cubicBezTo>
                <a:moveTo>
                  <a:pt x="11880" y="20121"/>
                </a:moveTo>
                <a:cubicBezTo>
                  <a:pt x="11880" y="20393"/>
                  <a:pt x="11637" y="20612"/>
                  <a:pt x="11337" y="20612"/>
                </a:cubicBezTo>
                <a:cubicBezTo>
                  <a:pt x="11181" y="20612"/>
                  <a:pt x="11043" y="20552"/>
                  <a:pt x="10944" y="20457"/>
                </a:cubicBezTo>
                <a:lnTo>
                  <a:pt x="10942" y="20459"/>
                </a:lnTo>
                <a:lnTo>
                  <a:pt x="10800" y="20342"/>
                </a:lnTo>
                <a:lnTo>
                  <a:pt x="10800" y="1256"/>
                </a:lnTo>
                <a:lnTo>
                  <a:pt x="10958" y="1126"/>
                </a:lnTo>
                <a:lnTo>
                  <a:pt x="10960" y="1127"/>
                </a:lnTo>
                <a:cubicBezTo>
                  <a:pt x="11058" y="1042"/>
                  <a:pt x="11190" y="988"/>
                  <a:pt x="11337" y="988"/>
                </a:cubicBezTo>
                <a:cubicBezTo>
                  <a:pt x="11637" y="988"/>
                  <a:pt x="11880" y="1208"/>
                  <a:pt x="11880" y="1480"/>
                </a:cubicBezTo>
                <a:cubicBezTo>
                  <a:pt x="11880" y="1480"/>
                  <a:pt x="11880" y="20121"/>
                  <a:pt x="11880" y="20121"/>
                </a:cubicBezTo>
                <a:close/>
                <a:moveTo>
                  <a:pt x="9720" y="19448"/>
                </a:moveTo>
                <a:lnTo>
                  <a:pt x="4320" y="14979"/>
                </a:lnTo>
                <a:lnTo>
                  <a:pt x="4320" y="6607"/>
                </a:lnTo>
                <a:lnTo>
                  <a:pt x="4561" y="6407"/>
                </a:lnTo>
                <a:lnTo>
                  <a:pt x="4560" y="6406"/>
                </a:lnTo>
                <a:lnTo>
                  <a:pt x="9720" y="2147"/>
                </a:lnTo>
                <a:cubicBezTo>
                  <a:pt x="9720" y="2147"/>
                  <a:pt x="9720" y="19448"/>
                  <a:pt x="9720" y="19448"/>
                </a:cubicBezTo>
                <a:close/>
                <a:moveTo>
                  <a:pt x="3240" y="14649"/>
                </a:moveTo>
                <a:cubicBezTo>
                  <a:pt x="2008" y="14285"/>
                  <a:pt x="1080" y="12700"/>
                  <a:pt x="1080" y="10800"/>
                </a:cubicBezTo>
                <a:cubicBezTo>
                  <a:pt x="1080" y="8900"/>
                  <a:pt x="2008" y="7316"/>
                  <a:pt x="3240" y="6952"/>
                </a:cubicBezTo>
                <a:cubicBezTo>
                  <a:pt x="3240" y="6952"/>
                  <a:pt x="3240" y="14649"/>
                  <a:pt x="3240" y="14649"/>
                </a:cubicBezTo>
                <a:close/>
                <a:moveTo>
                  <a:pt x="12966" y="1472"/>
                </a:moveTo>
                <a:cubicBezTo>
                  <a:pt x="12966" y="659"/>
                  <a:pt x="12238" y="0"/>
                  <a:pt x="11339" y="0"/>
                </a:cubicBezTo>
                <a:cubicBezTo>
                  <a:pt x="10879" y="0"/>
                  <a:pt x="10466" y="175"/>
                  <a:pt x="10170" y="451"/>
                </a:cubicBezTo>
                <a:lnTo>
                  <a:pt x="3565" y="5905"/>
                </a:lnTo>
                <a:cubicBezTo>
                  <a:pt x="1578" y="6051"/>
                  <a:pt x="0" y="8183"/>
                  <a:pt x="0" y="10800"/>
                </a:cubicBezTo>
                <a:cubicBezTo>
                  <a:pt x="0" y="13426"/>
                  <a:pt x="1588" y="15564"/>
                  <a:pt x="3585" y="15697"/>
                </a:cubicBezTo>
                <a:lnTo>
                  <a:pt x="10170" y="21148"/>
                </a:lnTo>
                <a:cubicBezTo>
                  <a:pt x="10466" y="21426"/>
                  <a:pt x="10879" y="21600"/>
                  <a:pt x="11339" y="21600"/>
                </a:cubicBezTo>
                <a:cubicBezTo>
                  <a:pt x="12238" y="21600"/>
                  <a:pt x="12966" y="20941"/>
                  <a:pt x="12966" y="20129"/>
                </a:cubicBezTo>
                <a:cubicBezTo>
                  <a:pt x="12966" y="20110"/>
                  <a:pt x="12961" y="20093"/>
                  <a:pt x="12960" y="20074"/>
                </a:cubicBezTo>
                <a:lnTo>
                  <a:pt x="12960" y="1527"/>
                </a:lnTo>
                <a:cubicBezTo>
                  <a:pt x="12961" y="1508"/>
                  <a:pt x="12966" y="1490"/>
                  <a:pt x="12966" y="147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8" name="Shape 2678"/>
          <p:cNvSpPr/>
          <p:nvPr/>
        </p:nvSpPr>
        <p:spPr>
          <a:xfrm>
            <a:off x="510773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9" name="Shape 2679"/>
          <p:cNvSpPr/>
          <p:nvPr/>
        </p:nvSpPr>
        <p:spPr>
          <a:xfrm>
            <a:off x="5507680" y="1079430"/>
            <a:ext cx="209495" cy="190449"/>
          </a:xfrm>
          <a:custGeom>
            <a:avLst/>
            <a:gdLst/>
            <a:ahLst/>
            <a:cxnLst>
              <a:cxn ang="0">
                <a:pos x="wd2" y="hd2"/>
              </a:cxn>
              <a:cxn ang="5400000">
                <a:pos x="wd2" y="hd2"/>
              </a:cxn>
              <a:cxn ang="10800000">
                <a:pos x="wd2" y="hd2"/>
              </a:cxn>
              <a:cxn ang="16200000">
                <a:pos x="wd2" y="hd2"/>
              </a:cxn>
            </a:cxnLst>
            <a:rect l="0" t="0" r="r" b="b"/>
            <a:pathLst>
              <a:path w="21600" h="21524" extrusionOk="0">
                <a:moveTo>
                  <a:pt x="17182" y="13452"/>
                </a:moveTo>
                <a:cubicBezTo>
                  <a:pt x="16640" y="13452"/>
                  <a:pt x="16200" y="13935"/>
                  <a:pt x="16200" y="14529"/>
                </a:cubicBezTo>
                <a:cubicBezTo>
                  <a:pt x="16200" y="15123"/>
                  <a:pt x="16640" y="15605"/>
                  <a:pt x="17182" y="15605"/>
                </a:cubicBezTo>
                <a:cubicBezTo>
                  <a:pt x="17724" y="15605"/>
                  <a:pt x="18164" y="15123"/>
                  <a:pt x="18164" y="14529"/>
                </a:cubicBezTo>
                <a:cubicBezTo>
                  <a:pt x="18164" y="13935"/>
                  <a:pt x="17724" y="13452"/>
                  <a:pt x="17182" y="13452"/>
                </a:cubicBezTo>
                <a:moveTo>
                  <a:pt x="15218" y="15605"/>
                </a:moveTo>
                <a:cubicBezTo>
                  <a:pt x="14676" y="15605"/>
                  <a:pt x="14236" y="16087"/>
                  <a:pt x="14236" y="16681"/>
                </a:cubicBezTo>
                <a:cubicBezTo>
                  <a:pt x="14236" y="17276"/>
                  <a:pt x="14676" y="17757"/>
                  <a:pt x="15218" y="17757"/>
                </a:cubicBezTo>
                <a:cubicBezTo>
                  <a:pt x="15760" y="17757"/>
                  <a:pt x="16200" y="17276"/>
                  <a:pt x="16200" y="16681"/>
                </a:cubicBezTo>
                <a:cubicBezTo>
                  <a:pt x="16200" y="16087"/>
                  <a:pt x="15760" y="15605"/>
                  <a:pt x="15218" y="15605"/>
                </a:cubicBezTo>
                <a:moveTo>
                  <a:pt x="16200" y="20448"/>
                </a:moveTo>
                <a:cubicBezTo>
                  <a:pt x="14668" y="20448"/>
                  <a:pt x="13319" y="19593"/>
                  <a:pt x="12527" y="18295"/>
                </a:cubicBezTo>
                <a:lnTo>
                  <a:pt x="9073" y="18295"/>
                </a:lnTo>
                <a:cubicBezTo>
                  <a:pt x="8281" y="19593"/>
                  <a:pt x="6932" y="20448"/>
                  <a:pt x="5400" y="20448"/>
                </a:cubicBezTo>
                <a:cubicBezTo>
                  <a:pt x="2960" y="20448"/>
                  <a:pt x="982" y="18280"/>
                  <a:pt x="982" y="15605"/>
                </a:cubicBezTo>
                <a:cubicBezTo>
                  <a:pt x="982" y="12930"/>
                  <a:pt x="2960" y="10762"/>
                  <a:pt x="5400" y="10762"/>
                </a:cubicBezTo>
                <a:lnTo>
                  <a:pt x="16200" y="10762"/>
                </a:lnTo>
                <a:cubicBezTo>
                  <a:pt x="18640" y="10762"/>
                  <a:pt x="20618" y="12930"/>
                  <a:pt x="20618" y="15605"/>
                </a:cubicBezTo>
                <a:cubicBezTo>
                  <a:pt x="20618" y="18280"/>
                  <a:pt x="18640" y="20448"/>
                  <a:pt x="16200" y="20448"/>
                </a:cubicBezTo>
                <a:moveTo>
                  <a:pt x="16200" y="9686"/>
                </a:moveTo>
                <a:lnTo>
                  <a:pt x="11319" y="9686"/>
                </a:lnTo>
                <a:cubicBezTo>
                  <a:pt x="10837" y="8713"/>
                  <a:pt x="11227" y="8217"/>
                  <a:pt x="11943" y="7448"/>
                </a:cubicBezTo>
                <a:cubicBezTo>
                  <a:pt x="12528" y="6820"/>
                  <a:pt x="13255" y="6038"/>
                  <a:pt x="13255" y="4843"/>
                </a:cubicBezTo>
                <a:cubicBezTo>
                  <a:pt x="13255" y="1854"/>
                  <a:pt x="10169" y="128"/>
                  <a:pt x="10038" y="56"/>
                </a:cubicBezTo>
                <a:cubicBezTo>
                  <a:pt x="9796" y="-76"/>
                  <a:pt x="9501" y="32"/>
                  <a:pt x="9379" y="297"/>
                </a:cubicBezTo>
                <a:cubicBezTo>
                  <a:pt x="9258" y="562"/>
                  <a:pt x="9356" y="886"/>
                  <a:pt x="9598" y="1019"/>
                </a:cubicBezTo>
                <a:cubicBezTo>
                  <a:pt x="9625" y="1034"/>
                  <a:pt x="12273" y="2523"/>
                  <a:pt x="12273" y="4843"/>
                </a:cubicBezTo>
                <a:cubicBezTo>
                  <a:pt x="12273" y="5586"/>
                  <a:pt x="11779" y="6117"/>
                  <a:pt x="11255" y="6679"/>
                </a:cubicBezTo>
                <a:cubicBezTo>
                  <a:pt x="10584" y="7401"/>
                  <a:pt x="9775" y="8296"/>
                  <a:pt x="10277" y="9686"/>
                </a:cubicBezTo>
                <a:lnTo>
                  <a:pt x="5400" y="9686"/>
                </a:lnTo>
                <a:cubicBezTo>
                  <a:pt x="2418" y="9686"/>
                  <a:pt x="0" y="12336"/>
                  <a:pt x="0" y="15605"/>
                </a:cubicBezTo>
                <a:cubicBezTo>
                  <a:pt x="0" y="18874"/>
                  <a:pt x="2418" y="21524"/>
                  <a:pt x="5400" y="21524"/>
                </a:cubicBezTo>
                <a:cubicBezTo>
                  <a:pt x="7077" y="21524"/>
                  <a:pt x="8575" y="20686"/>
                  <a:pt x="9565" y="19372"/>
                </a:cubicBezTo>
                <a:lnTo>
                  <a:pt x="12035" y="19372"/>
                </a:lnTo>
                <a:cubicBezTo>
                  <a:pt x="13025" y="20686"/>
                  <a:pt x="14523" y="21524"/>
                  <a:pt x="16200" y="21524"/>
                </a:cubicBezTo>
                <a:cubicBezTo>
                  <a:pt x="19182" y="21524"/>
                  <a:pt x="21600" y="18874"/>
                  <a:pt x="21600" y="15605"/>
                </a:cubicBezTo>
                <a:cubicBezTo>
                  <a:pt x="21600" y="12336"/>
                  <a:pt x="19182" y="9686"/>
                  <a:pt x="16200" y="9686"/>
                </a:cubicBezTo>
                <a:moveTo>
                  <a:pt x="6873" y="15067"/>
                </a:moveTo>
                <a:lnTo>
                  <a:pt x="5891" y="15067"/>
                </a:lnTo>
                <a:lnTo>
                  <a:pt x="5891" y="13990"/>
                </a:lnTo>
                <a:cubicBezTo>
                  <a:pt x="5891" y="13694"/>
                  <a:pt x="5671" y="13452"/>
                  <a:pt x="5400" y="13452"/>
                </a:cubicBezTo>
                <a:cubicBezTo>
                  <a:pt x="5129" y="13452"/>
                  <a:pt x="4909" y="13694"/>
                  <a:pt x="4909" y="13990"/>
                </a:cubicBezTo>
                <a:lnTo>
                  <a:pt x="4909" y="15067"/>
                </a:lnTo>
                <a:lnTo>
                  <a:pt x="3927" y="15067"/>
                </a:lnTo>
                <a:cubicBezTo>
                  <a:pt x="3656" y="15067"/>
                  <a:pt x="3436" y="15307"/>
                  <a:pt x="3436" y="15605"/>
                </a:cubicBezTo>
                <a:cubicBezTo>
                  <a:pt x="3436" y="15903"/>
                  <a:pt x="3656" y="16143"/>
                  <a:pt x="3927" y="16143"/>
                </a:cubicBezTo>
                <a:lnTo>
                  <a:pt x="4909" y="16143"/>
                </a:lnTo>
                <a:lnTo>
                  <a:pt x="4909" y="17219"/>
                </a:lnTo>
                <a:cubicBezTo>
                  <a:pt x="4909" y="17517"/>
                  <a:pt x="5129" y="17757"/>
                  <a:pt x="5400" y="17757"/>
                </a:cubicBezTo>
                <a:cubicBezTo>
                  <a:pt x="5671" y="17757"/>
                  <a:pt x="5891" y="17517"/>
                  <a:pt x="5891" y="17219"/>
                </a:cubicBezTo>
                <a:lnTo>
                  <a:pt x="5891" y="16143"/>
                </a:lnTo>
                <a:lnTo>
                  <a:pt x="6873" y="16143"/>
                </a:lnTo>
                <a:cubicBezTo>
                  <a:pt x="7144" y="16143"/>
                  <a:pt x="7364" y="15903"/>
                  <a:pt x="7364" y="15605"/>
                </a:cubicBezTo>
                <a:cubicBezTo>
                  <a:pt x="7364" y="15307"/>
                  <a:pt x="7144" y="15067"/>
                  <a:pt x="6873" y="15067"/>
                </a:cubicBezTo>
                <a:moveTo>
                  <a:pt x="12273" y="12376"/>
                </a:moveTo>
                <a:cubicBezTo>
                  <a:pt x="12002" y="12376"/>
                  <a:pt x="11782" y="12617"/>
                  <a:pt x="11782" y="12914"/>
                </a:cubicBezTo>
                <a:cubicBezTo>
                  <a:pt x="11782" y="13212"/>
                  <a:pt x="12002" y="13452"/>
                  <a:pt x="12273" y="13452"/>
                </a:cubicBezTo>
                <a:cubicBezTo>
                  <a:pt x="12544" y="13452"/>
                  <a:pt x="12764" y="13212"/>
                  <a:pt x="12764" y="12914"/>
                </a:cubicBezTo>
                <a:cubicBezTo>
                  <a:pt x="12764" y="12617"/>
                  <a:pt x="12544" y="12376"/>
                  <a:pt x="12273" y="12376"/>
                </a:cubicBezTo>
                <a:moveTo>
                  <a:pt x="9327" y="12376"/>
                </a:moveTo>
                <a:cubicBezTo>
                  <a:pt x="9056" y="12376"/>
                  <a:pt x="8836" y="12617"/>
                  <a:pt x="8836" y="12914"/>
                </a:cubicBezTo>
                <a:cubicBezTo>
                  <a:pt x="8836" y="13212"/>
                  <a:pt x="9056" y="13452"/>
                  <a:pt x="9327" y="13452"/>
                </a:cubicBezTo>
                <a:cubicBezTo>
                  <a:pt x="9598" y="13452"/>
                  <a:pt x="9818" y="13212"/>
                  <a:pt x="9818" y="12914"/>
                </a:cubicBezTo>
                <a:cubicBezTo>
                  <a:pt x="9818" y="12617"/>
                  <a:pt x="9598" y="12376"/>
                  <a:pt x="9327" y="12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0" name="Shape 2680"/>
          <p:cNvSpPr/>
          <p:nvPr/>
        </p:nvSpPr>
        <p:spPr>
          <a:xfrm>
            <a:off x="590762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255" y="15709"/>
                </a:moveTo>
                <a:lnTo>
                  <a:pt x="10309" y="15709"/>
                </a:lnTo>
                <a:cubicBezTo>
                  <a:pt x="10038" y="15709"/>
                  <a:pt x="9818" y="15929"/>
                  <a:pt x="9818" y="16200"/>
                </a:cubicBezTo>
                <a:cubicBezTo>
                  <a:pt x="9818" y="16472"/>
                  <a:pt x="10038" y="16691"/>
                  <a:pt x="10309" y="16691"/>
                </a:cubicBezTo>
                <a:lnTo>
                  <a:pt x="13255" y="16691"/>
                </a:lnTo>
                <a:cubicBezTo>
                  <a:pt x="13525" y="16691"/>
                  <a:pt x="13745" y="16472"/>
                  <a:pt x="13745" y="16200"/>
                </a:cubicBezTo>
                <a:cubicBezTo>
                  <a:pt x="13745" y="15929"/>
                  <a:pt x="13525" y="15709"/>
                  <a:pt x="13255" y="15709"/>
                </a:cubicBezTo>
                <a:moveTo>
                  <a:pt x="9818" y="12273"/>
                </a:moveTo>
                <a:cubicBezTo>
                  <a:pt x="9818" y="12112"/>
                  <a:pt x="9736" y="11976"/>
                  <a:pt x="9617" y="11887"/>
                </a:cubicBezTo>
                <a:lnTo>
                  <a:pt x="9622" y="11880"/>
                </a:lnTo>
                <a:lnTo>
                  <a:pt x="5695" y="8935"/>
                </a:lnTo>
                <a:lnTo>
                  <a:pt x="5690" y="8941"/>
                </a:lnTo>
                <a:cubicBezTo>
                  <a:pt x="5608" y="8880"/>
                  <a:pt x="5511" y="8836"/>
                  <a:pt x="5400" y="8836"/>
                </a:cubicBezTo>
                <a:cubicBezTo>
                  <a:pt x="5129" y="8836"/>
                  <a:pt x="4909" y="9056"/>
                  <a:pt x="4909" y="9327"/>
                </a:cubicBezTo>
                <a:cubicBezTo>
                  <a:pt x="4909" y="9488"/>
                  <a:pt x="4991" y="9624"/>
                  <a:pt x="5110" y="9713"/>
                </a:cubicBezTo>
                <a:lnTo>
                  <a:pt x="5105" y="9720"/>
                </a:lnTo>
                <a:lnTo>
                  <a:pt x="8509" y="12273"/>
                </a:lnTo>
                <a:lnTo>
                  <a:pt x="5105" y="14826"/>
                </a:lnTo>
                <a:lnTo>
                  <a:pt x="5110" y="14832"/>
                </a:lnTo>
                <a:cubicBezTo>
                  <a:pt x="4991" y="14922"/>
                  <a:pt x="4909" y="15058"/>
                  <a:pt x="4909" y="15218"/>
                </a:cubicBezTo>
                <a:cubicBezTo>
                  <a:pt x="4909" y="15490"/>
                  <a:pt x="5129" y="15709"/>
                  <a:pt x="5400" y="15709"/>
                </a:cubicBezTo>
                <a:cubicBezTo>
                  <a:pt x="5511" y="15709"/>
                  <a:pt x="5607" y="15666"/>
                  <a:pt x="5690" y="15604"/>
                </a:cubicBezTo>
                <a:lnTo>
                  <a:pt x="5695" y="15611"/>
                </a:lnTo>
                <a:lnTo>
                  <a:pt x="9622" y="12666"/>
                </a:lnTo>
                <a:lnTo>
                  <a:pt x="9617" y="12659"/>
                </a:lnTo>
                <a:cubicBezTo>
                  <a:pt x="9736" y="12569"/>
                  <a:pt x="9818" y="12433"/>
                  <a:pt x="9818" y="12273"/>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1" name="Shape 2681"/>
          <p:cNvSpPr/>
          <p:nvPr/>
        </p:nvSpPr>
        <p:spPr>
          <a:xfrm>
            <a:off x="6307571"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36"/>
                </a:moveTo>
                <a:lnTo>
                  <a:pt x="11291" y="19636"/>
                </a:lnTo>
                <a:cubicBezTo>
                  <a:pt x="11562" y="19636"/>
                  <a:pt x="11782" y="19416"/>
                  <a:pt x="11782" y="19146"/>
                </a:cubicBezTo>
                <a:cubicBezTo>
                  <a:pt x="11782" y="18874"/>
                  <a:pt x="11562" y="18655"/>
                  <a:pt x="11291" y="18655"/>
                </a:cubicBezTo>
                <a:lnTo>
                  <a:pt x="6382" y="18655"/>
                </a:lnTo>
                <a:cubicBezTo>
                  <a:pt x="6111" y="18655"/>
                  <a:pt x="5891" y="18874"/>
                  <a:pt x="5891" y="19146"/>
                </a:cubicBezTo>
                <a:cubicBezTo>
                  <a:pt x="5891" y="19416"/>
                  <a:pt x="6111" y="19636"/>
                  <a:pt x="6382" y="19636"/>
                </a:cubicBezTo>
                <a:moveTo>
                  <a:pt x="20618" y="19636"/>
                </a:moveTo>
                <a:cubicBezTo>
                  <a:pt x="20618" y="20178"/>
                  <a:pt x="20178" y="20618"/>
                  <a:pt x="19636" y="20618"/>
                </a:cubicBezTo>
                <a:lnTo>
                  <a:pt x="1964" y="20618"/>
                </a:lnTo>
                <a:cubicBezTo>
                  <a:pt x="1422" y="20618"/>
                  <a:pt x="982" y="20178"/>
                  <a:pt x="982" y="19636"/>
                </a:cubicBezTo>
                <a:lnTo>
                  <a:pt x="982" y="17673"/>
                </a:lnTo>
                <a:lnTo>
                  <a:pt x="20618" y="17673"/>
                </a:lnTo>
                <a:cubicBezTo>
                  <a:pt x="20618" y="17673"/>
                  <a:pt x="20618" y="19636"/>
                  <a:pt x="20618" y="19636"/>
                </a:cubicBezTo>
                <a:close/>
                <a:moveTo>
                  <a:pt x="2822" y="10800"/>
                </a:moveTo>
                <a:lnTo>
                  <a:pt x="18778" y="10800"/>
                </a:lnTo>
                <a:lnTo>
                  <a:pt x="20461" y="16691"/>
                </a:lnTo>
                <a:lnTo>
                  <a:pt x="1139" y="16691"/>
                </a:lnTo>
                <a:cubicBezTo>
                  <a:pt x="1139" y="16691"/>
                  <a:pt x="2822" y="10800"/>
                  <a:pt x="2822" y="10800"/>
                </a:cubicBezTo>
                <a:close/>
                <a:moveTo>
                  <a:pt x="21600" y="17182"/>
                </a:moveTo>
                <a:cubicBezTo>
                  <a:pt x="21600" y="17118"/>
                  <a:pt x="21586" y="17057"/>
                  <a:pt x="21563" y="17000"/>
                </a:cubicBezTo>
                <a:lnTo>
                  <a:pt x="21565" y="17000"/>
                </a:lnTo>
                <a:lnTo>
                  <a:pt x="19602" y="10127"/>
                </a:lnTo>
                <a:lnTo>
                  <a:pt x="19599" y="10128"/>
                </a:lnTo>
                <a:cubicBezTo>
                  <a:pt x="19527" y="9947"/>
                  <a:pt x="19352" y="9818"/>
                  <a:pt x="19145" y="9818"/>
                </a:cubicBezTo>
                <a:lnTo>
                  <a:pt x="18164" y="9818"/>
                </a:lnTo>
                <a:lnTo>
                  <a:pt x="18164" y="3927"/>
                </a:lnTo>
                <a:cubicBezTo>
                  <a:pt x="18164" y="3656"/>
                  <a:pt x="17944" y="3436"/>
                  <a:pt x="17673" y="3436"/>
                </a:cubicBezTo>
                <a:cubicBezTo>
                  <a:pt x="17402" y="3436"/>
                  <a:pt x="17182" y="3656"/>
                  <a:pt x="17182" y="3927"/>
                </a:cubicBezTo>
                <a:lnTo>
                  <a:pt x="17182" y="9818"/>
                </a:lnTo>
                <a:lnTo>
                  <a:pt x="4418" y="9818"/>
                </a:lnTo>
                <a:lnTo>
                  <a:pt x="4418" y="3927"/>
                </a:lnTo>
                <a:cubicBezTo>
                  <a:pt x="4418" y="3656"/>
                  <a:pt x="4198" y="3436"/>
                  <a:pt x="3927" y="3436"/>
                </a:cubicBezTo>
                <a:cubicBezTo>
                  <a:pt x="3656" y="3436"/>
                  <a:pt x="3436" y="3656"/>
                  <a:pt x="3436" y="3927"/>
                </a:cubicBezTo>
                <a:lnTo>
                  <a:pt x="3436" y="9818"/>
                </a:lnTo>
                <a:lnTo>
                  <a:pt x="2455" y="9818"/>
                </a:lnTo>
                <a:cubicBezTo>
                  <a:pt x="2248" y="9818"/>
                  <a:pt x="2073" y="9947"/>
                  <a:pt x="2001" y="10128"/>
                </a:cubicBezTo>
                <a:lnTo>
                  <a:pt x="1998" y="10127"/>
                </a:lnTo>
                <a:lnTo>
                  <a:pt x="35" y="17000"/>
                </a:lnTo>
                <a:lnTo>
                  <a:pt x="37" y="17001"/>
                </a:lnTo>
                <a:cubicBezTo>
                  <a:pt x="14" y="17057"/>
                  <a:pt x="0" y="17118"/>
                  <a:pt x="0" y="17182"/>
                </a:cubicBezTo>
                <a:lnTo>
                  <a:pt x="0" y="18164"/>
                </a:lnTo>
                <a:lnTo>
                  <a:pt x="68" y="18164"/>
                </a:lnTo>
                <a:cubicBezTo>
                  <a:pt x="25" y="18320"/>
                  <a:pt x="0" y="18484"/>
                  <a:pt x="0" y="18655"/>
                </a:cubicBezTo>
                <a:lnTo>
                  <a:pt x="0" y="19636"/>
                </a:lnTo>
                <a:cubicBezTo>
                  <a:pt x="0" y="20721"/>
                  <a:pt x="879" y="21600"/>
                  <a:pt x="1964" y="21600"/>
                </a:cubicBezTo>
                <a:lnTo>
                  <a:pt x="19636" y="21600"/>
                </a:lnTo>
                <a:cubicBezTo>
                  <a:pt x="20721" y="21600"/>
                  <a:pt x="21600" y="20721"/>
                  <a:pt x="21600" y="19636"/>
                </a:cubicBezTo>
                <a:lnTo>
                  <a:pt x="21600" y="18655"/>
                </a:lnTo>
                <a:cubicBezTo>
                  <a:pt x="21600" y="18484"/>
                  <a:pt x="21575" y="18320"/>
                  <a:pt x="21532" y="18164"/>
                </a:cubicBezTo>
                <a:lnTo>
                  <a:pt x="21600" y="18164"/>
                </a:lnTo>
                <a:cubicBezTo>
                  <a:pt x="21600" y="18164"/>
                  <a:pt x="21600" y="17182"/>
                  <a:pt x="21600" y="17182"/>
                </a:cubicBezTo>
                <a:close/>
                <a:moveTo>
                  <a:pt x="4418" y="19636"/>
                </a:moveTo>
                <a:cubicBezTo>
                  <a:pt x="4689" y="19636"/>
                  <a:pt x="4909" y="19416"/>
                  <a:pt x="4909" y="19146"/>
                </a:cubicBezTo>
                <a:cubicBezTo>
                  <a:pt x="4909" y="18874"/>
                  <a:pt x="4689" y="18655"/>
                  <a:pt x="4418" y="18655"/>
                </a:cubicBezTo>
                <a:cubicBezTo>
                  <a:pt x="4147" y="18655"/>
                  <a:pt x="3927" y="18874"/>
                  <a:pt x="3927" y="19146"/>
                </a:cubicBezTo>
                <a:cubicBezTo>
                  <a:pt x="3927" y="19416"/>
                  <a:pt x="4147" y="19636"/>
                  <a:pt x="4418" y="19636"/>
                </a:cubicBezTo>
                <a:moveTo>
                  <a:pt x="2455" y="19636"/>
                </a:moveTo>
                <a:cubicBezTo>
                  <a:pt x="2725" y="19636"/>
                  <a:pt x="2945" y="19416"/>
                  <a:pt x="2945" y="19146"/>
                </a:cubicBezTo>
                <a:cubicBezTo>
                  <a:pt x="2945" y="18874"/>
                  <a:pt x="2725" y="18655"/>
                  <a:pt x="2455" y="18655"/>
                </a:cubicBezTo>
                <a:cubicBezTo>
                  <a:pt x="2184" y="18655"/>
                  <a:pt x="1964" y="18874"/>
                  <a:pt x="1964" y="19146"/>
                </a:cubicBezTo>
                <a:cubicBezTo>
                  <a:pt x="1964" y="19416"/>
                  <a:pt x="2184" y="19636"/>
                  <a:pt x="2455" y="19636"/>
                </a:cubicBezTo>
                <a:moveTo>
                  <a:pt x="12003" y="3573"/>
                </a:moveTo>
                <a:lnTo>
                  <a:pt x="12664" y="2838"/>
                </a:lnTo>
                <a:cubicBezTo>
                  <a:pt x="12214" y="2308"/>
                  <a:pt x="11550" y="1964"/>
                  <a:pt x="10800" y="1964"/>
                </a:cubicBezTo>
                <a:cubicBezTo>
                  <a:pt x="9997" y="1964"/>
                  <a:pt x="9290" y="2355"/>
                  <a:pt x="8842" y="2952"/>
                </a:cubicBezTo>
                <a:lnTo>
                  <a:pt x="9546" y="3655"/>
                </a:lnTo>
                <a:cubicBezTo>
                  <a:pt x="9805" y="3231"/>
                  <a:pt x="10267" y="2945"/>
                  <a:pt x="10800" y="2945"/>
                </a:cubicBezTo>
                <a:cubicBezTo>
                  <a:pt x="11298" y="2945"/>
                  <a:pt x="11736" y="3194"/>
                  <a:pt x="12003" y="3573"/>
                </a:cubicBezTo>
                <a:moveTo>
                  <a:pt x="10309" y="4418"/>
                </a:moveTo>
                <a:cubicBezTo>
                  <a:pt x="10309" y="4690"/>
                  <a:pt x="10529" y="4909"/>
                  <a:pt x="10800" y="4909"/>
                </a:cubicBezTo>
                <a:cubicBezTo>
                  <a:pt x="11071" y="4909"/>
                  <a:pt x="11291" y="4690"/>
                  <a:pt x="11291" y="4418"/>
                </a:cubicBezTo>
                <a:cubicBezTo>
                  <a:pt x="11291" y="4147"/>
                  <a:pt x="11071" y="3927"/>
                  <a:pt x="10800" y="3927"/>
                </a:cubicBezTo>
                <a:cubicBezTo>
                  <a:pt x="10529" y="3927"/>
                  <a:pt x="10309" y="4147"/>
                  <a:pt x="10309" y="4418"/>
                </a:cubicBezTo>
                <a:moveTo>
                  <a:pt x="10800" y="982"/>
                </a:moveTo>
                <a:cubicBezTo>
                  <a:pt x="11802" y="982"/>
                  <a:pt x="12701" y="1414"/>
                  <a:pt x="13330" y="2098"/>
                </a:cubicBezTo>
                <a:lnTo>
                  <a:pt x="13989" y="1366"/>
                </a:lnTo>
                <a:cubicBezTo>
                  <a:pt x="13185" y="525"/>
                  <a:pt x="12055" y="0"/>
                  <a:pt x="10800" y="0"/>
                </a:cubicBezTo>
                <a:cubicBezTo>
                  <a:pt x="9455" y="0"/>
                  <a:pt x="8252" y="603"/>
                  <a:pt x="7442" y="1551"/>
                </a:cubicBezTo>
                <a:lnTo>
                  <a:pt x="8138" y="2246"/>
                </a:lnTo>
                <a:cubicBezTo>
                  <a:pt x="8768" y="1475"/>
                  <a:pt x="9726" y="982"/>
                  <a:pt x="10800"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2" name="Shape 2682"/>
          <p:cNvSpPr/>
          <p:nvPr/>
        </p:nvSpPr>
        <p:spPr>
          <a:xfrm>
            <a:off x="670751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3" name="Shape 2683"/>
          <p:cNvSpPr/>
          <p:nvPr/>
        </p:nvSpPr>
        <p:spPr>
          <a:xfrm>
            <a:off x="7136030" y="1069907"/>
            <a:ext cx="152359" cy="20946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4" name="Shape 2684"/>
          <p:cNvSpPr/>
          <p:nvPr/>
        </p:nvSpPr>
        <p:spPr>
          <a:xfrm>
            <a:off x="7507409" y="1069906"/>
            <a:ext cx="209495" cy="209705"/>
          </a:xfrm>
          <a:custGeom>
            <a:avLst/>
            <a:gdLst/>
            <a:ahLst/>
            <a:cxnLst>
              <a:cxn ang="0">
                <a:pos x="wd2" y="hd2"/>
              </a:cxn>
              <a:cxn ang="5400000">
                <a:pos x="wd2" y="hd2"/>
              </a:cxn>
              <a:cxn ang="10800000">
                <a:pos x="wd2" y="hd2"/>
              </a:cxn>
              <a:cxn ang="16200000">
                <a:pos x="wd2" y="hd2"/>
              </a:cxn>
            </a:cxnLst>
            <a:rect l="0" t="0" r="r" b="b"/>
            <a:pathLst>
              <a:path w="21600" h="21540" extrusionOk="0">
                <a:moveTo>
                  <a:pt x="4418" y="19095"/>
                </a:moveTo>
                <a:lnTo>
                  <a:pt x="5400" y="19095"/>
                </a:lnTo>
                <a:lnTo>
                  <a:pt x="5400" y="18117"/>
                </a:lnTo>
                <a:lnTo>
                  <a:pt x="4418" y="18117"/>
                </a:lnTo>
                <a:cubicBezTo>
                  <a:pt x="4418" y="18117"/>
                  <a:pt x="4418" y="19095"/>
                  <a:pt x="4418" y="19095"/>
                </a:cubicBezTo>
                <a:close/>
                <a:moveTo>
                  <a:pt x="6382" y="16160"/>
                </a:moveTo>
                <a:lnTo>
                  <a:pt x="5400" y="16160"/>
                </a:lnTo>
                <a:lnTo>
                  <a:pt x="5400" y="17139"/>
                </a:lnTo>
                <a:lnTo>
                  <a:pt x="6382" y="17139"/>
                </a:lnTo>
                <a:cubicBezTo>
                  <a:pt x="6382" y="17139"/>
                  <a:pt x="6382" y="16160"/>
                  <a:pt x="6382" y="16160"/>
                </a:cubicBezTo>
                <a:close/>
                <a:moveTo>
                  <a:pt x="2455" y="19095"/>
                </a:moveTo>
                <a:lnTo>
                  <a:pt x="3436" y="19095"/>
                </a:lnTo>
                <a:lnTo>
                  <a:pt x="3436" y="18117"/>
                </a:lnTo>
                <a:lnTo>
                  <a:pt x="2455" y="18117"/>
                </a:lnTo>
                <a:cubicBezTo>
                  <a:pt x="2455" y="18117"/>
                  <a:pt x="2455" y="19095"/>
                  <a:pt x="2455" y="19095"/>
                </a:cubicBezTo>
                <a:close/>
                <a:moveTo>
                  <a:pt x="4418" y="16160"/>
                </a:moveTo>
                <a:lnTo>
                  <a:pt x="2455" y="16160"/>
                </a:lnTo>
                <a:lnTo>
                  <a:pt x="2455" y="17139"/>
                </a:lnTo>
                <a:lnTo>
                  <a:pt x="4418" y="17139"/>
                </a:lnTo>
                <a:cubicBezTo>
                  <a:pt x="4418" y="17139"/>
                  <a:pt x="4418" y="16160"/>
                  <a:pt x="4418" y="16160"/>
                </a:cubicBezTo>
                <a:close/>
                <a:moveTo>
                  <a:pt x="3436" y="12248"/>
                </a:moveTo>
                <a:lnTo>
                  <a:pt x="2455" y="12248"/>
                </a:lnTo>
                <a:lnTo>
                  <a:pt x="2455" y="13226"/>
                </a:lnTo>
                <a:lnTo>
                  <a:pt x="3436" y="13226"/>
                </a:lnTo>
                <a:cubicBezTo>
                  <a:pt x="3436" y="13226"/>
                  <a:pt x="3436" y="12248"/>
                  <a:pt x="3436" y="12248"/>
                </a:cubicBezTo>
                <a:close/>
                <a:moveTo>
                  <a:pt x="3436" y="14204"/>
                </a:moveTo>
                <a:lnTo>
                  <a:pt x="2455" y="14204"/>
                </a:lnTo>
                <a:lnTo>
                  <a:pt x="2455" y="15182"/>
                </a:lnTo>
                <a:lnTo>
                  <a:pt x="3436" y="15182"/>
                </a:lnTo>
                <a:cubicBezTo>
                  <a:pt x="3436" y="15182"/>
                  <a:pt x="3436" y="14204"/>
                  <a:pt x="3436" y="14204"/>
                </a:cubicBezTo>
                <a:close/>
                <a:moveTo>
                  <a:pt x="6382" y="19095"/>
                </a:moveTo>
                <a:lnTo>
                  <a:pt x="13255" y="19095"/>
                </a:lnTo>
                <a:lnTo>
                  <a:pt x="13255" y="18117"/>
                </a:lnTo>
                <a:lnTo>
                  <a:pt x="6382" y="18117"/>
                </a:lnTo>
                <a:cubicBezTo>
                  <a:pt x="6382" y="18117"/>
                  <a:pt x="6382" y="19095"/>
                  <a:pt x="6382" y="19095"/>
                </a:cubicBezTo>
                <a:close/>
                <a:moveTo>
                  <a:pt x="18164" y="15182"/>
                </a:moveTo>
                <a:lnTo>
                  <a:pt x="19145" y="15182"/>
                </a:lnTo>
                <a:lnTo>
                  <a:pt x="19145" y="14204"/>
                </a:lnTo>
                <a:lnTo>
                  <a:pt x="18164" y="14204"/>
                </a:lnTo>
                <a:cubicBezTo>
                  <a:pt x="18164" y="14204"/>
                  <a:pt x="18164" y="15182"/>
                  <a:pt x="18164" y="15182"/>
                </a:cubicBezTo>
                <a:close/>
                <a:moveTo>
                  <a:pt x="5400" y="14204"/>
                </a:moveTo>
                <a:lnTo>
                  <a:pt x="4418" y="14204"/>
                </a:lnTo>
                <a:lnTo>
                  <a:pt x="4418" y="15182"/>
                </a:lnTo>
                <a:lnTo>
                  <a:pt x="5400" y="15182"/>
                </a:lnTo>
                <a:cubicBezTo>
                  <a:pt x="5400" y="15182"/>
                  <a:pt x="5400" y="14204"/>
                  <a:pt x="5400" y="14204"/>
                </a:cubicBezTo>
                <a:close/>
                <a:moveTo>
                  <a:pt x="14236" y="16160"/>
                </a:moveTo>
                <a:lnTo>
                  <a:pt x="13255" y="16160"/>
                </a:lnTo>
                <a:lnTo>
                  <a:pt x="13255" y="17139"/>
                </a:lnTo>
                <a:lnTo>
                  <a:pt x="14236" y="17139"/>
                </a:lnTo>
                <a:cubicBezTo>
                  <a:pt x="14236" y="17139"/>
                  <a:pt x="14236" y="16160"/>
                  <a:pt x="14236" y="16160"/>
                </a:cubicBezTo>
                <a:close/>
                <a:moveTo>
                  <a:pt x="20618" y="19584"/>
                </a:moveTo>
                <a:cubicBezTo>
                  <a:pt x="20618" y="20124"/>
                  <a:pt x="20178" y="20562"/>
                  <a:pt x="19636" y="20562"/>
                </a:cubicBezTo>
                <a:lnTo>
                  <a:pt x="1964" y="20562"/>
                </a:lnTo>
                <a:cubicBezTo>
                  <a:pt x="1421" y="20562"/>
                  <a:pt x="982" y="20124"/>
                  <a:pt x="982" y="19584"/>
                </a:cubicBezTo>
                <a:lnTo>
                  <a:pt x="982" y="11759"/>
                </a:lnTo>
                <a:cubicBezTo>
                  <a:pt x="982" y="11219"/>
                  <a:pt x="1421" y="10781"/>
                  <a:pt x="1964" y="10781"/>
                </a:cubicBezTo>
                <a:lnTo>
                  <a:pt x="19636" y="10781"/>
                </a:lnTo>
                <a:cubicBezTo>
                  <a:pt x="20178" y="10781"/>
                  <a:pt x="20618" y="11219"/>
                  <a:pt x="20618" y="11759"/>
                </a:cubicBezTo>
                <a:cubicBezTo>
                  <a:pt x="20618" y="11759"/>
                  <a:pt x="20618" y="19584"/>
                  <a:pt x="20618" y="19584"/>
                </a:cubicBezTo>
                <a:close/>
                <a:moveTo>
                  <a:pt x="19636" y="9803"/>
                </a:moveTo>
                <a:lnTo>
                  <a:pt x="10965" y="9803"/>
                </a:lnTo>
                <a:cubicBezTo>
                  <a:pt x="10831" y="9456"/>
                  <a:pt x="10774" y="9056"/>
                  <a:pt x="10870" y="8651"/>
                </a:cubicBezTo>
                <a:cubicBezTo>
                  <a:pt x="11059" y="7853"/>
                  <a:pt x="11782" y="7224"/>
                  <a:pt x="12961" y="6833"/>
                </a:cubicBezTo>
                <a:cubicBezTo>
                  <a:pt x="14940" y="6175"/>
                  <a:pt x="15841" y="4938"/>
                  <a:pt x="16249" y="4015"/>
                </a:cubicBezTo>
                <a:cubicBezTo>
                  <a:pt x="16747" y="2886"/>
                  <a:pt x="16801" y="1546"/>
                  <a:pt x="16396" y="335"/>
                </a:cubicBezTo>
                <a:cubicBezTo>
                  <a:pt x="16310" y="79"/>
                  <a:pt x="16032" y="-60"/>
                  <a:pt x="15774" y="25"/>
                </a:cubicBezTo>
                <a:cubicBezTo>
                  <a:pt x="15517" y="112"/>
                  <a:pt x="15378" y="388"/>
                  <a:pt x="15464" y="644"/>
                </a:cubicBezTo>
                <a:cubicBezTo>
                  <a:pt x="16091" y="2519"/>
                  <a:pt x="15480" y="4964"/>
                  <a:pt x="12650" y="5904"/>
                </a:cubicBezTo>
                <a:cubicBezTo>
                  <a:pt x="10733" y="6542"/>
                  <a:pt x="10105" y="7627"/>
                  <a:pt x="9915" y="8427"/>
                </a:cubicBezTo>
                <a:cubicBezTo>
                  <a:pt x="9809" y="8876"/>
                  <a:pt x="9824" y="9351"/>
                  <a:pt x="9937" y="9803"/>
                </a:cubicBezTo>
                <a:lnTo>
                  <a:pt x="1964" y="9803"/>
                </a:lnTo>
                <a:cubicBezTo>
                  <a:pt x="879" y="9803"/>
                  <a:pt x="0" y="10679"/>
                  <a:pt x="0" y="11759"/>
                </a:cubicBezTo>
                <a:lnTo>
                  <a:pt x="0" y="19584"/>
                </a:lnTo>
                <a:cubicBezTo>
                  <a:pt x="0" y="20664"/>
                  <a:pt x="879" y="21540"/>
                  <a:pt x="1964" y="21540"/>
                </a:cubicBezTo>
                <a:lnTo>
                  <a:pt x="19636" y="21540"/>
                </a:lnTo>
                <a:cubicBezTo>
                  <a:pt x="20721" y="21540"/>
                  <a:pt x="21600" y="20664"/>
                  <a:pt x="21600" y="19584"/>
                </a:cubicBezTo>
                <a:lnTo>
                  <a:pt x="21600" y="11759"/>
                </a:lnTo>
                <a:cubicBezTo>
                  <a:pt x="21600" y="10679"/>
                  <a:pt x="20721" y="9803"/>
                  <a:pt x="19636" y="9803"/>
                </a:cubicBezTo>
                <a:moveTo>
                  <a:pt x="17182" y="17139"/>
                </a:moveTo>
                <a:lnTo>
                  <a:pt x="19145" y="17139"/>
                </a:lnTo>
                <a:lnTo>
                  <a:pt x="19145" y="16160"/>
                </a:lnTo>
                <a:lnTo>
                  <a:pt x="17182" y="16160"/>
                </a:lnTo>
                <a:cubicBezTo>
                  <a:pt x="17182" y="16160"/>
                  <a:pt x="17182" y="17139"/>
                  <a:pt x="17182" y="17139"/>
                </a:cubicBezTo>
                <a:close/>
                <a:moveTo>
                  <a:pt x="14236" y="19095"/>
                </a:moveTo>
                <a:lnTo>
                  <a:pt x="15218" y="19095"/>
                </a:lnTo>
                <a:lnTo>
                  <a:pt x="15218" y="18117"/>
                </a:lnTo>
                <a:lnTo>
                  <a:pt x="14236" y="18117"/>
                </a:lnTo>
                <a:cubicBezTo>
                  <a:pt x="14236" y="18117"/>
                  <a:pt x="14236" y="19095"/>
                  <a:pt x="14236" y="19095"/>
                </a:cubicBezTo>
                <a:close/>
                <a:moveTo>
                  <a:pt x="16200" y="19095"/>
                </a:moveTo>
                <a:lnTo>
                  <a:pt x="17182" y="19095"/>
                </a:lnTo>
                <a:lnTo>
                  <a:pt x="17182" y="18117"/>
                </a:lnTo>
                <a:lnTo>
                  <a:pt x="16200" y="18117"/>
                </a:lnTo>
                <a:cubicBezTo>
                  <a:pt x="16200" y="18117"/>
                  <a:pt x="16200" y="19095"/>
                  <a:pt x="16200" y="19095"/>
                </a:cubicBezTo>
                <a:close/>
                <a:moveTo>
                  <a:pt x="18164" y="19095"/>
                </a:moveTo>
                <a:lnTo>
                  <a:pt x="19145" y="19095"/>
                </a:lnTo>
                <a:lnTo>
                  <a:pt x="19145" y="18117"/>
                </a:lnTo>
                <a:lnTo>
                  <a:pt x="18164" y="18117"/>
                </a:lnTo>
                <a:cubicBezTo>
                  <a:pt x="18164" y="18117"/>
                  <a:pt x="18164" y="19095"/>
                  <a:pt x="18164" y="19095"/>
                </a:cubicBezTo>
                <a:close/>
                <a:moveTo>
                  <a:pt x="16200" y="16160"/>
                </a:moveTo>
                <a:lnTo>
                  <a:pt x="15218" y="16160"/>
                </a:lnTo>
                <a:lnTo>
                  <a:pt x="15218" y="17139"/>
                </a:lnTo>
                <a:lnTo>
                  <a:pt x="16200" y="17139"/>
                </a:lnTo>
                <a:cubicBezTo>
                  <a:pt x="16200" y="17139"/>
                  <a:pt x="16200" y="16160"/>
                  <a:pt x="16200" y="16160"/>
                </a:cubicBezTo>
                <a:close/>
                <a:moveTo>
                  <a:pt x="18164" y="13226"/>
                </a:moveTo>
                <a:lnTo>
                  <a:pt x="19145" y="13226"/>
                </a:lnTo>
                <a:lnTo>
                  <a:pt x="19145" y="12248"/>
                </a:lnTo>
                <a:lnTo>
                  <a:pt x="18164" y="12248"/>
                </a:lnTo>
                <a:cubicBezTo>
                  <a:pt x="18164" y="12248"/>
                  <a:pt x="18164" y="13226"/>
                  <a:pt x="18164" y="13226"/>
                </a:cubicBezTo>
                <a:close/>
                <a:moveTo>
                  <a:pt x="13255" y="12248"/>
                </a:moveTo>
                <a:lnTo>
                  <a:pt x="12273" y="12248"/>
                </a:lnTo>
                <a:lnTo>
                  <a:pt x="12273" y="13226"/>
                </a:lnTo>
                <a:lnTo>
                  <a:pt x="13255" y="13226"/>
                </a:lnTo>
                <a:cubicBezTo>
                  <a:pt x="13255" y="13226"/>
                  <a:pt x="13255" y="12248"/>
                  <a:pt x="13255" y="12248"/>
                </a:cubicBezTo>
                <a:close/>
                <a:moveTo>
                  <a:pt x="13255" y="14204"/>
                </a:moveTo>
                <a:lnTo>
                  <a:pt x="12273" y="14204"/>
                </a:lnTo>
                <a:lnTo>
                  <a:pt x="12273" y="15182"/>
                </a:lnTo>
                <a:lnTo>
                  <a:pt x="13255" y="15182"/>
                </a:lnTo>
                <a:cubicBezTo>
                  <a:pt x="13255" y="15182"/>
                  <a:pt x="13255" y="14204"/>
                  <a:pt x="13255" y="14204"/>
                </a:cubicBezTo>
                <a:close/>
                <a:moveTo>
                  <a:pt x="15218" y="14204"/>
                </a:moveTo>
                <a:lnTo>
                  <a:pt x="14236" y="14204"/>
                </a:lnTo>
                <a:lnTo>
                  <a:pt x="14236" y="15182"/>
                </a:lnTo>
                <a:lnTo>
                  <a:pt x="15218" y="15182"/>
                </a:lnTo>
                <a:cubicBezTo>
                  <a:pt x="15218" y="15182"/>
                  <a:pt x="15218" y="14204"/>
                  <a:pt x="15218" y="14204"/>
                </a:cubicBezTo>
                <a:close/>
                <a:moveTo>
                  <a:pt x="17182" y="14204"/>
                </a:moveTo>
                <a:lnTo>
                  <a:pt x="16200" y="14204"/>
                </a:lnTo>
                <a:lnTo>
                  <a:pt x="16200" y="15182"/>
                </a:lnTo>
                <a:lnTo>
                  <a:pt x="17182" y="15182"/>
                </a:lnTo>
                <a:cubicBezTo>
                  <a:pt x="17182" y="15182"/>
                  <a:pt x="17182" y="14204"/>
                  <a:pt x="17182" y="14204"/>
                </a:cubicBezTo>
                <a:close/>
                <a:moveTo>
                  <a:pt x="15218" y="12248"/>
                </a:moveTo>
                <a:lnTo>
                  <a:pt x="14236" y="12248"/>
                </a:lnTo>
                <a:lnTo>
                  <a:pt x="14236" y="13226"/>
                </a:lnTo>
                <a:lnTo>
                  <a:pt x="15218" y="13226"/>
                </a:lnTo>
                <a:cubicBezTo>
                  <a:pt x="15218" y="13226"/>
                  <a:pt x="15218" y="12248"/>
                  <a:pt x="15218" y="12248"/>
                </a:cubicBezTo>
                <a:close/>
                <a:moveTo>
                  <a:pt x="17182" y="12248"/>
                </a:moveTo>
                <a:lnTo>
                  <a:pt x="16200" y="12248"/>
                </a:lnTo>
                <a:lnTo>
                  <a:pt x="16200" y="13226"/>
                </a:lnTo>
                <a:lnTo>
                  <a:pt x="17182" y="13226"/>
                </a:lnTo>
                <a:cubicBezTo>
                  <a:pt x="17182" y="13226"/>
                  <a:pt x="17182" y="12248"/>
                  <a:pt x="17182" y="12248"/>
                </a:cubicBezTo>
                <a:close/>
                <a:moveTo>
                  <a:pt x="11291" y="12248"/>
                </a:moveTo>
                <a:lnTo>
                  <a:pt x="10309" y="12248"/>
                </a:lnTo>
                <a:lnTo>
                  <a:pt x="10309" y="13226"/>
                </a:lnTo>
                <a:lnTo>
                  <a:pt x="11291" y="13226"/>
                </a:lnTo>
                <a:cubicBezTo>
                  <a:pt x="11291" y="13226"/>
                  <a:pt x="11291" y="12248"/>
                  <a:pt x="11291" y="12248"/>
                </a:cubicBezTo>
                <a:close/>
                <a:moveTo>
                  <a:pt x="5400" y="12248"/>
                </a:moveTo>
                <a:lnTo>
                  <a:pt x="4418" y="12248"/>
                </a:lnTo>
                <a:lnTo>
                  <a:pt x="4418" y="13226"/>
                </a:lnTo>
                <a:lnTo>
                  <a:pt x="5400" y="13226"/>
                </a:lnTo>
                <a:cubicBezTo>
                  <a:pt x="5400" y="13226"/>
                  <a:pt x="5400" y="12248"/>
                  <a:pt x="5400" y="12248"/>
                </a:cubicBezTo>
                <a:close/>
                <a:moveTo>
                  <a:pt x="7364" y="17139"/>
                </a:moveTo>
                <a:lnTo>
                  <a:pt x="8345" y="17139"/>
                </a:lnTo>
                <a:lnTo>
                  <a:pt x="8345" y="16160"/>
                </a:lnTo>
                <a:lnTo>
                  <a:pt x="7364" y="16160"/>
                </a:lnTo>
                <a:cubicBezTo>
                  <a:pt x="7364" y="16160"/>
                  <a:pt x="7364" y="17139"/>
                  <a:pt x="7364" y="17139"/>
                </a:cubicBezTo>
                <a:close/>
                <a:moveTo>
                  <a:pt x="7364" y="14204"/>
                </a:moveTo>
                <a:lnTo>
                  <a:pt x="6382" y="14204"/>
                </a:lnTo>
                <a:lnTo>
                  <a:pt x="6382" y="15182"/>
                </a:lnTo>
                <a:lnTo>
                  <a:pt x="7364" y="15182"/>
                </a:lnTo>
                <a:cubicBezTo>
                  <a:pt x="7364" y="15182"/>
                  <a:pt x="7364" y="14204"/>
                  <a:pt x="7364" y="14204"/>
                </a:cubicBezTo>
                <a:close/>
                <a:moveTo>
                  <a:pt x="7364" y="12248"/>
                </a:moveTo>
                <a:lnTo>
                  <a:pt x="6382" y="12248"/>
                </a:lnTo>
                <a:lnTo>
                  <a:pt x="6382" y="13226"/>
                </a:lnTo>
                <a:lnTo>
                  <a:pt x="7364" y="13226"/>
                </a:lnTo>
                <a:cubicBezTo>
                  <a:pt x="7364" y="13226"/>
                  <a:pt x="7364" y="12248"/>
                  <a:pt x="7364" y="12248"/>
                </a:cubicBezTo>
                <a:close/>
                <a:moveTo>
                  <a:pt x="9327" y="14204"/>
                </a:moveTo>
                <a:lnTo>
                  <a:pt x="8345" y="14204"/>
                </a:lnTo>
                <a:lnTo>
                  <a:pt x="8345" y="15182"/>
                </a:lnTo>
                <a:lnTo>
                  <a:pt x="9327" y="15182"/>
                </a:lnTo>
                <a:cubicBezTo>
                  <a:pt x="9327" y="15182"/>
                  <a:pt x="9327" y="14204"/>
                  <a:pt x="9327" y="14204"/>
                </a:cubicBezTo>
                <a:close/>
                <a:moveTo>
                  <a:pt x="11291" y="14204"/>
                </a:moveTo>
                <a:lnTo>
                  <a:pt x="10309" y="14204"/>
                </a:lnTo>
                <a:lnTo>
                  <a:pt x="10309" y="15182"/>
                </a:lnTo>
                <a:lnTo>
                  <a:pt x="11291" y="15182"/>
                </a:lnTo>
                <a:cubicBezTo>
                  <a:pt x="11291" y="15182"/>
                  <a:pt x="11291" y="14204"/>
                  <a:pt x="11291" y="14204"/>
                </a:cubicBezTo>
                <a:close/>
                <a:moveTo>
                  <a:pt x="9327" y="12248"/>
                </a:moveTo>
                <a:lnTo>
                  <a:pt x="8345" y="12248"/>
                </a:lnTo>
                <a:lnTo>
                  <a:pt x="8345" y="13226"/>
                </a:lnTo>
                <a:lnTo>
                  <a:pt x="9327" y="13226"/>
                </a:lnTo>
                <a:cubicBezTo>
                  <a:pt x="9327" y="13226"/>
                  <a:pt x="9327" y="12248"/>
                  <a:pt x="9327" y="12248"/>
                </a:cubicBezTo>
                <a:close/>
                <a:moveTo>
                  <a:pt x="11291" y="17139"/>
                </a:moveTo>
                <a:lnTo>
                  <a:pt x="12273" y="17139"/>
                </a:lnTo>
                <a:lnTo>
                  <a:pt x="12273" y="16160"/>
                </a:lnTo>
                <a:lnTo>
                  <a:pt x="11291" y="16160"/>
                </a:lnTo>
                <a:cubicBezTo>
                  <a:pt x="11291" y="16160"/>
                  <a:pt x="11291" y="17139"/>
                  <a:pt x="11291" y="17139"/>
                </a:cubicBezTo>
                <a:close/>
                <a:moveTo>
                  <a:pt x="9327" y="17139"/>
                </a:moveTo>
                <a:lnTo>
                  <a:pt x="10309" y="17139"/>
                </a:lnTo>
                <a:lnTo>
                  <a:pt x="10309" y="16160"/>
                </a:lnTo>
                <a:lnTo>
                  <a:pt x="9327" y="16160"/>
                </a:lnTo>
                <a:cubicBezTo>
                  <a:pt x="9327" y="16160"/>
                  <a:pt x="9327" y="17139"/>
                  <a:pt x="9327" y="1713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5" name="Shape 2685"/>
          <p:cNvSpPr/>
          <p:nvPr/>
        </p:nvSpPr>
        <p:spPr>
          <a:xfrm>
            <a:off x="790735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145"/>
                </a:moveTo>
                <a:cubicBezTo>
                  <a:pt x="20618" y="19959"/>
                  <a:pt x="19959" y="20618"/>
                  <a:pt x="19145" y="20618"/>
                </a:cubicBezTo>
                <a:cubicBezTo>
                  <a:pt x="18332" y="20618"/>
                  <a:pt x="17673" y="19959"/>
                  <a:pt x="17673" y="19145"/>
                </a:cubicBezTo>
                <a:lnTo>
                  <a:pt x="17673" y="14236"/>
                </a:lnTo>
                <a:cubicBezTo>
                  <a:pt x="17673" y="13424"/>
                  <a:pt x="18332" y="12764"/>
                  <a:pt x="19145" y="12764"/>
                </a:cubicBezTo>
                <a:cubicBezTo>
                  <a:pt x="19959" y="12764"/>
                  <a:pt x="20618" y="13424"/>
                  <a:pt x="20618" y="14236"/>
                </a:cubicBezTo>
                <a:cubicBezTo>
                  <a:pt x="20618" y="14236"/>
                  <a:pt x="20618" y="19145"/>
                  <a:pt x="20618" y="19145"/>
                </a:cubicBezTo>
                <a:close/>
                <a:moveTo>
                  <a:pt x="3927" y="14236"/>
                </a:moveTo>
                <a:lnTo>
                  <a:pt x="3927" y="19145"/>
                </a:lnTo>
                <a:cubicBezTo>
                  <a:pt x="3927" y="19959"/>
                  <a:pt x="3268" y="20618"/>
                  <a:pt x="2455" y="20618"/>
                </a:cubicBezTo>
                <a:cubicBezTo>
                  <a:pt x="1641" y="20618"/>
                  <a:pt x="982" y="19959"/>
                  <a:pt x="982" y="19145"/>
                </a:cubicBezTo>
                <a:lnTo>
                  <a:pt x="982" y="14236"/>
                </a:lnTo>
                <a:cubicBezTo>
                  <a:pt x="982" y="13424"/>
                  <a:pt x="1641" y="12764"/>
                  <a:pt x="2455" y="12764"/>
                </a:cubicBezTo>
                <a:cubicBezTo>
                  <a:pt x="3268" y="12764"/>
                  <a:pt x="3927" y="13424"/>
                  <a:pt x="3927" y="14236"/>
                </a:cubicBezTo>
                <a:moveTo>
                  <a:pt x="19636" y="11831"/>
                </a:moveTo>
                <a:lnTo>
                  <a:pt x="19636" y="5891"/>
                </a:lnTo>
                <a:cubicBezTo>
                  <a:pt x="19636" y="2638"/>
                  <a:pt x="16999" y="0"/>
                  <a:pt x="13745" y="0"/>
                </a:cubicBezTo>
                <a:lnTo>
                  <a:pt x="7855" y="0"/>
                </a:lnTo>
                <a:cubicBezTo>
                  <a:pt x="4601" y="0"/>
                  <a:pt x="1964" y="2638"/>
                  <a:pt x="1964" y="5891"/>
                </a:cubicBezTo>
                <a:lnTo>
                  <a:pt x="1964" y="11831"/>
                </a:lnTo>
                <a:cubicBezTo>
                  <a:pt x="843" y="12059"/>
                  <a:pt x="0" y="13049"/>
                  <a:pt x="0" y="14236"/>
                </a:cubicBezTo>
                <a:lnTo>
                  <a:pt x="0" y="19145"/>
                </a:lnTo>
                <a:cubicBezTo>
                  <a:pt x="0" y="20501"/>
                  <a:pt x="1099" y="21600"/>
                  <a:pt x="2455" y="21600"/>
                </a:cubicBezTo>
                <a:cubicBezTo>
                  <a:pt x="3810" y="21600"/>
                  <a:pt x="4909" y="20501"/>
                  <a:pt x="4909" y="19145"/>
                </a:cubicBezTo>
                <a:lnTo>
                  <a:pt x="4909" y="14236"/>
                </a:lnTo>
                <a:cubicBezTo>
                  <a:pt x="4909" y="13049"/>
                  <a:pt x="4066" y="12059"/>
                  <a:pt x="2945" y="11831"/>
                </a:cubicBezTo>
                <a:lnTo>
                  <a:pt x="2945" y="5891"/>
                </a:lnTo>
                <a:cubicBezTo>
                  <a:pt x="2945" y="3180"/>
                  <a:pt x="5144" y="982"/>
                  <a:pt x="7855" y="982"/>
                </a:cubicBezTo>
                <a:lnTo>
                  <a:pt x="13745" y="982"/>
                </a:lnTo>
                <a:cubicBezTo>
                  <a:pt x="16457" y="982"/>
                  <a:pt x="18655" y="3180"/>
                  <a:pt x="18655" y="5891"/>
                </a:cubicBezTo>
                <a:lnTo>
                  <a:pt x="18655" y="11831"/>
                </a:lnTo>
                <a:cubicBezTo>
                  <a:pt x="17534" y="12059"/>
                  <a:pt x="16691" y="13049"/>
                  <a:pt x="16691" y="14236"/>
                </a:cubicBezTo>
                <a:lnTo>
                  <a:pt x="16691" y="19145"/>
                </a:lnTo>
                <a:cubicBezTo>
                  <a:pt x="16691" y="20501"/>
                  <a:pt x="17790" y="21600"/>
                  <a:pt x="19145" y="21600"/>
                </a:cubicBezTo>
                <a:cubicBezTo>
                  <a:pt x="20501" y="21600"/>
                  <a:pt x="21600" y="20501"/>
                  <a:pt x="21600" y="19145"/>
                </a:cubicBezTo>
                <a:lnTo>
                  <a:pt x="21600" y="14236"/>
                </a:lnTo>
                <a:cubicBezTo>
                  <a:pt x="21600" y="13049"/>
                  <a:pt x="20757" y="12059"/>
                  <a:pt x="19636" y="1183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6" name="Shape 2686"/>
          <p:cNvSpPr/>
          <p:nvPr/>
        </p:nvSpPr>
        <p:spPr>
          <a:xfrm>
            <a:off x="830730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36" y="14727"/>
                </a:lnTo>
                <a:cubicBezTo>
                  <a:pt x="20178" y="14727"/>
                  <a:pt x="20618" y="15167"/>
                  <a:pt x="20618" y="15709"/>
                </a:cubicBezTo>
                <a:cubicBezTo>
                  <a:pt x="20618" y="15709"/>
                  <a:pt x="20618" y="17673"/>
                  <a:pt x="20618" y="17673"/>
                </a:cubicBezTo>
                <a:close/>
                <a:moveTo>
                  <a:pt x="18655" y="19145"/>
                </a:moveTo>
                <a:cubicBezTo>
                  <a:pt x="18655" y="19959"/>
                  <a:pt x="17995" y="20618"/>
                  <a:pt x="17182" y="20618"/>
                </a:cubicBezTo>
                <a:cubicBezTo>
                  <a:pt x="16368" y="20618"/>
                  <a:pt x="15709" y="19959"/>
                  <a:pt x="15709" y="19145"/>
                </a:cubicBezTo>
                <a:lnTo>
                  <a:pt x="15709" y="14236"/>
                </a:lnTo>
                <a:cubicBezTo>
                  <a:pt x="15709" y="13424"/>
                  <a:pt x="16368" y="12764"/>
                  <a:pt x="17182" y="12764"/>
                </a:cubicBezTo>
                <a:cubicBezTo>
                  <a:pt x="17995" y="12764"/>
                  <a:pt x="18655" y="13424"/>
                  <a:pt x="18655" y="14236"/>
                </a:cubicBezTo>
                <a:cubicBezTo>
                  <a:pt x="18655" y="14236"/>
                  <a:pt x="18655" y="19145"/>
                  <a:pt x="18655" y="19145"/>
                </a:cubicBezTo>
                <a:close/>
                <a:moveTo>
                  <a:pt x="4418" y="12764"/>
                </a:moveTo>
                <a:cubicBezTo>
                  <a:pt x="5231" y="12764"/>
                  <a:pt x="5891" y="13424"/>
                  <a:pt x="5891" y="14236"/>
                </a:cubicBezTo>
                <a:lnTo>
                  <a:pt x="5891" y="19145"/>
                </a:lnTo>
                <a:cubicBezTo>
                  <a:pt x="5891" y="19959"/>
                  <a:pt x="5231" y="20618"/>
                  <a:pt x="4418" y="20618"/>
                </a:cubicBezTo>
                <a:cubicBezTo>
                  <a:pt x="3605" y="20618"/>
                  <a:pt x="2945" y="19959"/>
                  <a:pt x="2945" y="19145"/>
                </a:cubicBezTo>
                <a:lnTo>
                  <a:pt x="2945" y="14236"/>
                </a:lnTo>
                <a:cubicBezTo>
                  <a:pt x="2945" y="13424"/>
                  <a:pt x="3605" y="12764"/>
                  <a:pt x="4418" y="12764"/>
                </a:cubicBezTo>
                <a:moveTo>
                  <a:pt x="1964" y="18655"/>
                </a:moveTo>
                <a:cubicBezTo>
                  <a:pt x="1422" y="18655"/>
                  <a:pt x="982" y="18215"/>
                  <a:pt x="982" y="17673"/>
                </a:cubicBezTo>
                <a:lnTo>
                  <a:pt x="982" y="15709"/>
                </a:lnTo>
                <a:cubicBezTo>
                  <a:pt x="982" y="15167"/>
                  <a:pt x="1422" y="14727"/>
                  <a:pt x="1964" y="14727"/>
                </a:cubicBezTo>
                <a:cubicBezTo>
                  <a:pt x="1964" y="14727"/>
                  <a:pt x="1964" y="18655"/>
                  <a:pt x="1964" y="18655"/>
                </a:cubicBezTo>
                <a:close/>
                <a:moveTo>
                  <a:pt x="19636" y="13745"/>
                </a:moveTo>
                <a:lnTo>
                  <a:pt x="19636" y="5891"/>
                </a:lnTo>
                <a:cubicBezTo>
                  <a:pt x="19636" y="2638"/>
                  <a:pt x="16999" y="0"/>
                  <a:pt x="13745" y="0"/>
                </a:cubicBezTo>
                <a:lnTo>
                  <a:pt x="7855" y="0"/>
                </a:lnTo>
                <a:cubicBezTo>
                  <a:pt x="4601" y="0"/>
                  <a:pt x="1964" y="2638"/>
                  <a:pt x="1964" y="5891"/>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3" y="11782"/>
                  <a:pt x="3357" y="11973"/>
                  <a:pt x="2945" y="12284"/>
                </a:cubicBezTo>
                <a:lnTo>
                  <a:pt x="2945" y="5891"/>
                </a:lnTo>
                <a:cubicBezTo>
                  <a:pt x="2945" y="3180"/>
                  <a:pt x="5144" y="982"/>
                  <a:pt x="7855" y="982"/>
                </a:cubicBezTo>
                <a:lnTo>
                  <a:pt x="13745" y="982"/>
                </a:lnTo>
                <a:cubicBezTo>
                  <a:pt x="16456" y="982"/>
                  <a:pt x="18655" y="3180"/>
                  <a:pt x="18655" y="5891"/>
                </a:cubicBezTo>
                <a:lnTo>
                  <a:pt x="18655" y="12284"/>
                </a:lnTo>
                <a:cubicBezTo>
                  <a:pt x="18243" y="11973"/>
                  <a:pt x="17737" y="11782"/>
                  <a:pt x="17182" y="11782"/>
                </a:cubicBezTo>
                <a:cubicBezTo>
                  <a:pt x="15826" y="11782"/>
                  <a:pt x="14727" y="12881"/>
                  <a:pt x="14727" y="14236"/>
                </a:cubicBezTo>
                <a:lnTo>
                  <a:pt x="14727" y="19145"/>
                </a:lnTo>
                <a:cubicBezTo>
                  <a:pt x="14727" y="20501"/>
                  <a:pt x="15826" y="21600"/>
                  <a:pt x="17182" y="21600"/>
                </a:cubicBezTo>
                <a:cubicBezTo>
                  <a:pt x="18369" y="21600"/>
                  <a:pt x="19359"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7" name="Shape 2687"/>
          <p:cNvSpPr/>
          <p:nvPr/>
        </p:nvSpPr>
        <p:spPr>
          <a:xfrm>
            <a:off x="470778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6200"/>
                </a:moveTo>
                <a:lnTo>
                  <a:pt x="15709" y="16200"/>
                </a:lnTo>
                <a:lnTo>
                  <a:pt x="15709" y="14727"/>
                </a:lnTo>
                <a:lnTo>
                  <a:pt x="18655" y="14727"/>
                </a:lnTo>
                <a:cubicBezTo>
                  <a:pt x="18655" y="14727"/>
                  <a:pt x="18655" y="16200"/>
                  <a:pt x="18655" y="16200"/>
                </a:cubicBezTo>
                <a:close/>
                <a:moveTo>
                  <a:pt x="18655" y="18655"/>
                </a:moveTo>
                <a:lnTo>
                  <a:pt x="15709" y="18655"/>
                </a:lnTo>
                <a:lnTo>
                  <a:pt x="15709" y="17182"/>
                </a:lnTo>
                <a:lnTo>
                  <a:pt x="18655" y="17182"/>
                </a:lnTo>
                <a:cubicBezTo>
                  <a:pt x="18655" y="17182"/>
                  <a:pt x="18655" y="18655"/>
                  <a:pt x="18655" y="18655"/>
                </a:cubicBezTo>
                <a:close/>
                <a:moveTo>
                  <a:pt x="17182" y="20618"/>
                </a:moveTo>
                <a:cubicBezTo>
                  <a:pt x="16542" y="20618"/>
                  <a:pt x="16002" y="20207"/>
                  <a:pt x="15799" y="19636"/>
                </a:cubicBezTo>
                <a:lnTo>
                  <a:pt x="18564" y="19636"/>
                </a:lnTo>
                <a:cubicBezTo>
                  <a:pt x="18361" y="20207"/>
                  <a:pt x="17822" y="20618"/>
                  <a:pt x="17182" y="20618"/>
                </a:cubicBezTo>
                <a:moveTo>
                  <a:pt x="17182" y="12764"/>
                </a:moveTo>
                <a:cubicBezTo>
                  <a:pt x="17822" y="12764"/>
                  <a:pt x="18361" y="13175"/>
                  <a:pt x="18564" y="13745"/>
                </a:cubicBezTo>
                <a:lnTo>
                  <a:pt x="15799" y="13745"/>
                </a:lnTo>
                <a:cubicBezTo>
                  <a:pt x="16002" y="13175"/>
                  <a:pt x="16542" y="12764"/>
                  <a:pt x="17182" y="12764"/>
                </a:cubicBezTo>
                <a:moveTo>
                  <a:pt x="5891" y="16200"/>
                </a:moveTo>
                <a:lnTo>
                  <a:pt x="2945" y="16200"/>
                </a:lnTo>
                <a:lnTo>
                  <a:pt x="2945" y="14727"/>
                </a:lnTo>
                <a:lnTo>
                  <a:pt x="5891" y="14727"/>
                </a:lnTo>
                <a:cubicBezTo>
                  <a:pt x="5891" y="14727"/>
                  <a:pt x="5891" y="16200"/>
                  <a:pt x="5891" y="16200"/>
                </a:cubicBezTo>
                <a:close/>
                <a:moveTo>
                  <a:pt x="4418" y="12764"/>
                </a:moveTo>
                <a:cubicBezTo>
                  <a:pt x="5058" y="12764"/>
                  <a:pt x="5598" y="13175"/>
                  <a:pt x="5801" y="13745"/>
                </a:cubicBezTo>
                <a:lnTo>
                  <a:pt x="3036" y="13745"/>
                </a:lnTo>
                <a:cubicBezTo>
                  <a:pt x="3239" y="13175"/>
                  <a:pt x="3778" y="12764"/>
                  <a:pt x="4418" y="12764"/>
                </a:cubicBezTo>
                <a:moveTo>
                  <a:pt x="5891" y="18655"/>
                </a:moveTo>
                <a:lnTo>
                  <a:pt x="2945" y="18655"/>
                </a:lnTo>
                <a:lnTo>
                  <a:pt x="2945" y="17182"/>
                </a:lnTo>
                <a:lnTo>
                  <a:pt x="5891" y="17182"/>
                </a:lnTo>
                <a:cubicBezTo>
                  <a:pt x="5891" y="17182"/>
                  <a:pt x="5891" y="18655"/>
                  <a:pt x="5891" y="18655"/>
                </a:cubicBezTo>
                <a:close/>
                <a:moveTo>
                  <a:pt x="4418" y="20618"/>
                </a:moveTo>
                <a:cubicBezTo>
                  <a:pt x="3778" y="20618"/>
                  <a:pt x="3239" y="20207"/>
                  <a:pt x="3036" y="19636"/>
                </a:cubicBezTo>
                <a:lnTo>
                  <a:pt x="5801" y="19636"/>
                </a:lnTo>
                <a:cubicBezTo>
                  <a:pt x="5598" y="20207"/>
                  <a:pt x="5058" y="20618"/>
                  <a:pt x="4418" y="20618"/>
                </a:cubicBezTo>
                <a:moveTo>
                  <a:pt x="19636" y="13745"/>
                </a:moveTo>
                <a:lnTo>
                  <a:pt x="19636" y="8836"/>
                </a:lnTo>
                <a:cubicBezTo>
                  <a:pt x="19636" y="3956"/>
                  <a:pt x="15680" y="0"/>
                  <a:pt x="10800" y="0"/>
                </a:cubicBezTo>
                <a:cubicBezTo>
                  <a:pt x="5920" y="0"/>
                  <a:pt x="1964" y="3956"/>
                  <a:pt x="1964" y="8836"/>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4" y="11782"/>
                  <a:pt x="3356" y="11971"/>
                  <a:pt x="2945" y="12282"/>
                </a:cubicBezTo>
                <a:lnTo>
                  <a:pt x="2945" y="8836"/>
                </a:lnTo>
                <a:cubicBezTo>
                  <a:pt x="2945" y="4499"/>
                  <a:pt x="6462" y="982"/>
                  <a:pt x="10800" y="982"/>
                </a:cubicBezTo>
                <a:cubicBezTo>
                  <a:pt x="15138" y="982"/>
                  <a:pt x="18655" y="4499"/>
                  <a:pt x="18655" y="8836"/>
                </a:cubicBezTo>
                <a:lnTo>
                  <a:pt x="18655" y="12282"/>
                </a:lnTo>
                <a:cubicBezTo>
                  <a:pt x="18244" y="11971"/>
                  <a:pt x="17736" y="11782"/>
                  <a:pt x="17182" y="11782"/>
                </a:cubicBezTo>
                <a:cubicBezTo>
                  <a:pt x="15826" y="11782"/>
                  <a:pt x="14727" y="12881"/>
                  <a:pt x="14727" y="14236"/>
                </a:cubicBezTo>
                <a:lnTo>
                  <a:pt x="14727" y="19145"/>
                </a:lnTo>
                <a:cubicBezTo>
                  <a:pt x="14727" y="20501"/>
                  <a:pt x="15826" y="21600"/>
                  <a:pt x="17182" y="21600"/>
                </a:cubicBezTo>
                <a:cubicBezTo>
                  <a:pt x="18369" y="21600"/>
                  <a:pt x="19360"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8" name="Shape 2688"/>
          <p:cNvSpPr/>
          <p:nvPr/>
        </p:nvSpPr>
        <p:spPr>
          <a:xfrm>
            <a:off x="510773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9" name="Shape 2689"/>
          <p:cNvSpPr/>
          <p:nvPr/>
        </p:nvSpPr>
        <p:spPr>
          <a:xfrm>
            <a:off x="550768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0" name="Shape 2690"/>
          <p:cNvSpPr/>
          <p:nvPr/>
        </p:nvSpPr>
        <p:spPr>
          <a:xfrm>
            <a:off x="5907625"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1" name="Shape 2691"/>
          <p:cNvSpPr/>
          <p:nvPr/>
        </p:nvSpPr>
        <p:spPr>
          <a:xfrm>
            <a:off x="6355183" y="1469853"/>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9924"/>
                </a:moveTo>
                <a:lnTo>
                  <a:pt x="12600" y="12476"/>
                </a:lnTo>
                <a:lnTo>
                  <a:pt x="19427" y="16200"/>
                </a:lnTo>
                <a:cubicBezTo>
                  <a:pt x="19427" y="16200"/>
                  <a:pt x="12600" y="19924"/>
                  <a:pt x="12600" y="19924"/>
                </a:cubicBezTo>
                <a:close/>
                <a:moveTo>
                  <a:pt x="12600" y="1676"/>
                </a:moveTo>
                <a:lnTo>
                  <a:pt x="19427" y="5400"/>
                </a:lnTo>
                <a:lnTo>
                  <a:pt x="12600" y="9124"/>
                </a:lnTo>
                <a:cubicBezTo>
                  <a:pt x="12600" y="9124"/>
                  <a:pt x="12600" y="1676"/>
                  <a:pt x="12600" y="1676"/>
                </a:cubicBezTo>
                <a:close/>
                <a:moveTo>
                  <a:pt x="21352" y="15862"/>
                </a:moveTo>
                <a:lnTo>
                  <a:pt x="21337" y="15854"/>
                </a:lnTo>
                <a:cubicBezTo>
                  <a:pt x="21336" y="15853"/>
                  <a:pt x="21335" y="15853"/>
                  <a:pt x="21335" y="15852"/>
                </a:cubicBezTo>
                <a:lnTo>
                  <a:pt x="12600" y="11088"/>
                </a:lnTo>
                <a:lnTo>
                  <a:pt x="12600" y="10512"/>
                </a:lnTo>
                <a:lnTo>
                  <a:pt x="21335" y="5748"/>
                </a:lnTo>
                <a:lnTo>
                  <a:pt x="21336" y="5747"/>
                </a:lnTo>
                <a:lnTo>
                  <a:pt x="21352" y="5739"/>
                </a:lnTo>
                <a:lnTo>
                  <a:pt x="21349" y="5738"/>
                </a:lnTo>
                <a:cubicBezTo>
                  <a:pt x="21503" y="5649"/>
                  <a:pt x="21600" y="5532"/>
                  <a:pt x="21600" y="5400"/>
                </a:cubicBezTo>
                <a:cubicBezTo>
                  <a:pt x="21600" y="5265"/>
                  <a:pt x="21499" y="5142"/>
                  <a:pt x="21336" y="5053"/>
                </a:cubicBezTo>
                <a:lnTo>
                  <a:pt x="12336" y="144"/>
                </a:lnTo>
                <a:cubicBezTo>
                  <a:pt x="12173" y="55"/>
                  <a:pt x="11948" y="0"/>
                  <a:pt x="11700" y="0"/>
                </a:cubicBezTo>
                <a:cubicBezTo>
                  <a:pt x="11203" y="0"/>
                  <a:pt x="10800" y="220"/>
                  <a:pt x="10800" y="491"/>
                </a:cubicBezTo>
                <a:lnTo>
                  <a:pt x="10800" y="10106"/>
                </a:lnTo>
                <a:lnTo>
                  <a:pt x="1552" y="5062"/>
                </a:lnTo>
                <a:lnTo>
                  <a:pt x="1549" y="5063"/>
                </a:lnTo>
                <a:cubicBezTo>
                  <a:pt x="1385" y="4969"/>
                  <a:pt x="1157" y="4909"/>
                  <a:pt x="900" y="4909"/>
                </a:cubicBezTo>
                <a:cubicBezTo>
                  <a:pt x="403" y="4909"/>
                  <a:pt x="0" y="5129"/>
                  <a:pt x="0" y="5400"/>
                </a:cubicBezTo>
                <a:cubicBezTo>
                  <a:pt x="0" y="5532"/>
                  <a:pt x="97" y="5649"/>
                  <a:pt x="251" y="5738"/>
                </a:cubicBezTo>
                <a:lnTo>
                  <a:pt x="248" y="5739"/>
                </a:lnTo>
                <a:lnTo>
                  <a:pt x="264" y="5747"/>
                </a:lnTo>
                <a:lnTo>
                  <a:pt x="264" y="5748"/>
                </a:lnTo>
                <a:lnTo>
                  <a:pt x="9527" y="10800"/>
                </a:lnTo>
                <a:lnTo>
                  <a:pt x="265" y="15852"/>
                </a:lnTo>
                <a:cubicBezTo>
                  <a:pt x="265" y="15853"/>
                  <a:pt x="264" y="15853"/>
                  <a:pt x="263" y="15854"/>
                </a:cubicBezTo>
                <a:lnTo>
                  <a:pt x="248" y="15862"/>
                </a:lnTo>
                <a:lnTo>
                  <a:pt x="251" y="15863"/>
                </a:lnTo>
                <a:cubicBezTo>
                  <a:pt x="97" y="15951"/>
                  <a:pt x="0" y="16069"/>
                  <a:pt x="0" y="16200"/>
                </a:cubicBezTo>
                <a:cubicBezTo>
                  <a:pt x="0" y="16471"/>
                  <a:pt x="403" y="16691"/>
                  <a:pt x="900" y="16691"/>
                </a:cubicBezTo>
                <a:cubicBezTo>
                  <a:pt x="1157" y="16691"/>
                  <a:pt x="1385" y="16631"/>
                  <a:pt x="1549" y="16537"/>
                </a:cubicBezTo>
                <a:lnTo>
                  <a:pt x="1552" y="16539"/>
                </a:lnTo>
                <a:lnTo>
                  <a:pt x="10800" y="11494"/>
                </a:lnTo>
                <a:lnTo>
                  <a:pt x="10800" y="21109"/>
                </a:lnTo>
                <a:cubicBezTo>
                  <a:pt x="10800" y="21380"/>
                  <a:pt x="11203" y="21600"/>
                  <a:pt x="11700" y="21600"/>
                </a:cubicBezTo>
                <a:cubicBezTo>
                  <a:pt x="11948" y="21600"/>
                  <a:pt x="12173" y="21546"/>
                  <a:pt x="12336" y="21456"/>
                </a:cubicBezTo>
                <a:lnTo>
                  <a:pt x="21336" y="16547"/>
                </a:lnTo>
                <a:cubicBezTo>
                  <a:pt x="21499" y="16458"/>
                  <a:pt x="21600" y="16336"/>
                  <a:pt x="21600" y="16200"/>
                </a:cubicBezTo>
                <a:cubicBezTo>
                  <a:pt x="21600" y="16069"/>
                  <a:pt x="21503" y="15951"/>
                  <a:pt x="21349" y="15863"/>
                </a:cubicBezTo>
                <a:cubicBezTo>
                  <a:pt x="21349" y="15863"/>
                  <a:pt x="21352" y="15862"/>
                  <a:pt x="21352" y="1586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2" name="Shape 2692"/>
          <p:cNvSpPr/>
          <p:nvPr/>
        </p:nvSpPr>
        <p:spPr>
          <a:xfrm>
            <a:off x="6726562"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200" y="16691"/>
                </a:moveTo>
                <a:lnTo>
                  <a:pt x="15600" y="16691"/>
                </a:lnTo>
                <a:lnTo>
                  <a:pt x="15600" y="14727"/>
                </a:lnTo>
                <a:lnTo>
                  <a:pt x="13200" y="14727"/>
                </a:lnTo>
                <a:cubicBezTo>
                  <a:pt x="13200" y="14727"/>
                  <a:pt x="13200" y="16691"/>
                  <a:pt x="13200" y="16691"/>
                </a:cubicBezTo>
                <a:close/>
                <a:moveTo>
                  <a:pt x="9600" y="10800"/>
                </a:moveTo>
                <a:lnTo>
                  <a:pt x="12000" y="10800"/>
                </a:lnTo>
                <a:lnTo>
                  <a:pt x="12000" y="8836"/>
                </a:lnTo>
                <a:lnTo>
                  <a:pt x="9600" y="8836"/>
                </a:lnTo>
                <a:cubicBezTo>
                  <a:pt x="9600" y="8836"/>
                  <a:pt x="9600" y="10800"/>
                  <a:pt x="9600" y="10800"/>
                </a:cubicBezTo>
                <a:close/>
                <a:moveTo>
                  <a:pt x="13200" y="19636"/>
                </a:moveTo>
                <a:lnTo>
                  <a:pt x="15600" y="19636"/>
                </a:lnTo>
                <a:lnTo>
                  <a:pt x="15600" y="17673"/>
                </a:lnTo>
                <a:lnTo>
                  <a:pt x="13200" y="17673"/>
                </a:lnTo>
                <a:cubicBezTo>
                  <a:pt x="13200" y="17673"/>
                  <a:pt x="13200" y="19636"/>
                  <a:pt x="13200" y="19636"/>
                </a:cubicBezTo>
                <a:close/>
                <a:moveTo>
                  <a:pt x="13200" y="13745"/>
                </a:moveTo>
                <a:lnTo>
                  <a:pt x="15600" y="13745"/>
                </a:lnTo>
                <a:lnTo>
                  <a:pt x="15600" y="11782"/>
                </a:lnTo>
                <a:lnTo>
                  <a:pt x="13200" y="11782"/>
                </a:lnTo>
                <a:cubicBezTo>
                  <a:pt x="13200" y="11782"/>
                  <a:pt x="13200" y="13745"/>
                  <a:pt x="13200" y="13745"/>
                </a:cubicBezTo>
                <a:close/>
                <a:moveTo>
                  <a:pt x="16800" y="10800"/>
                </a:moveTo>
                <a:lnTo>
                  <a:pt x="19200" y="10800"/>
                </a:lnTo>
                <a:lnTo>
                  <a:pt x="19200" y="8836"/>
                </a:lnTo>
                <a:lnTo>
                  <a:pt x="16800" y="8836"/>
                </a:lnTo>
                <a:cubicBezTo>
                  <a:pt x="16800" y="8836"/>
                  <a:pt x="16800" y="10800"/>
                  <a:pt x="16800" y="10800"/>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13200" y="10800"/>
                </a:moveTo>
                <a:lnTo>
                  <a:pt x="15600" y="10800"/>
                </a:lnTo>
                <a:lnTo>
                  <a:pt x="15600" y="8836"/>
                </a:lnTo>
                <a:lnTo>
                  <a:pt x="13200" y="8836"/>
                </a:lnTo>
                <a:cubicBezTo>
                  <a:pt x="13200" y="8836"/>
                  <a:pt x="13200" y="10800"/>
                  <a:pt x="13200" y="10800"/>
                </a:cubicBezTo>
                <a:close/>
                <a:moveTo>
                  <a:pt x="3600" y="2945"/>
                </a:moveTo>
                <a:lnTo>
                  <a:pt x="18000" y="2945"/>
                </a:lnTo>
                <a:lnTo>
                  <a:pt x="18000" y="6873"/>
                </a:lnTo>
                <a:lnTo>
                  <a:pt x="3600" y="6873"/>
                </a:lnTo>
                <a:cubicBezTo>
                  <a:pt x="3600" y="6873"/>
                  <a:pt x="3600" y="2945"/>
                  <a:pt x="3600" y="2945"/>
                </a:cubicBezTo>
                <a:close/>
                <a:moveTo>
                  <a:pt x="2400" y="7855"/>
                </a:moveTo>
                <a:lnTo>
                  <a:pt x="19200" y="7855"/>
                </a:lnTo>
                <a:lnTo>
                  <a:pt x="19200" y="1964"/>
                </a:lnTo>
                <a:lnTo>
                  <a:pt x="2400" y="1964"/>
                </a:lnTo>
                <a:cubicBezTo>
                  <a:pt x="2400" y="1964"/>
                  <a:pt x="2400" y="7855"/>
                  <a:pt x="2400" y="7855"/>
                </a:cubicBezTo>
                <a:close/>
                <a:moveTo>
                  <a:pt x="9600" y="13745"/>
                </a:moveTo>
                <a:lnTo>
                  <a:pt x="12000" y="13745"/>
                </a:lnTo>
                <a:lnTo>
                  <a:pt x="12000" y="11782"/>
                </a:lnTo>
                <a:lnTo>
                  <a:pt x="9600" y="11782"/>
                </a:lnTo>
                <a:cubicBezTo>
                  <a:pt x="9600" y="11782"/>
                  <a:pt x="9600" y="13745"/>
                  <a:pt x="9600" y="13745"/>
                </a:cubicBezTo>
                <a:close/>
                <a:moveTo>
                  <a:pt x="16800" y="19636"/>
                </a:moveTo>
                <a:lnTo>
                  <a:pt x="19200" y="19636"/>
                </a:lnTo>
                <a:lnTo>
                  <a:pt x="19200" y="11782"/>
                </a:lnTo>
                <a:lnTo>
                  <a:pt x="16800" y="11782"/>
                </a:lnTo>
                <a:cubicBezTo>
                  <a:pt x="16800" y="11782"/>
                  <a:pt x="16800" y="19636"/>
                  <a:pt x="16800" y="19636"/>
                </a:cubicBezTo>
                <a:close/>
                <a:moveTo>
                  <a:pt x="2400" y="16691"/>
                </a:moveTo>
                <a:lnTo>
                  <a:pt x="4800" y="16691"/>
                </a:lnTo>
                <a:lnTo>
                  <a:pt x="4800" y="14727"/>
                </a:lnTo>
                <a:lnTo>
                  <a:pt x="2400" y="14727"/>
                </a:lnTo>
                <a:cubicBezTo>
                  <a:pt x="2400" y="14727"/>
                  <a:pt x="2400" y="16691"/>
                  <a:pt x="2400" y="16691"/>
                </a:cubicBezTo>
                <a:close/>
                <a:moveTo>
                  <a:pt x="2400" y="10800"/>
                </a:moveTo>
                <a:lnTo>
                  <a:pt x="4800" y="10800"/>
                </a:lnTo>
                <a:lnTo>
                  <a:pt x="4800" y="8836"/>
                </a:lnTo>
                <a:lnTo>
                  <a:pt x="2400" y="8836"/>
                </a:lnTo>
                <a:cubicBezTo>
                  <a:pt x="2400" y="8836"/>
                  <a:pt x="2400" y="10800"/>
                  <a:pt x="2400" y="10800"/>
                </a:cubicBezTo>
                <a:close/>
                <a:moveTo>
                  <a:pt x="2400" y="19636"/>
                </a:moveTo>
                <a:lnTo>
                  <a:pt x="4800" y="19636"/>
                </a:lnTo>
                <a:lnTo>
                  <a:pt x="4800" y="17673"/>
                </a:lnTo>
                <a:lnTo>
                  <a:pt x="2400" y="17673"/>
                </a:lnTo>
                <a:cubicBezTo>
                  <a:pt x="2400" y="17673"/>
                  <a:pt x="2400" y="19636"/>
                  <a:pt x="2400" y="19636"/>
                </a:cubicBezTo>
                <a:close/>
                <a:moveTo>
                  <a:pt x="2400" y="13745"/>
                </a:moveTo>
                <a:lnTo>
                  <a:pt x="4800" y="13745"/>
                </a:lnTo>
                <a:lnTo>
                  <a:pt x="4800" y="11782"/>
                </a:lnTo>
                <a:lnTo>
                  <a:pt x="2400" y="11782"/>
                </a:lnTo>
                <a:cubicBezTo>
                  <a:pt x="2400" y="11782"/>
                  <a:pt x="2400" y="13745"/>
                  <a:pt x="2400" y="13745"/>
                </a:cubicBezTo>
                <a:close/>
                <a:moveTo>
                  <a:pt x="9600" y="16691"/>
                </a:moveTo>
                <a:lnTo>
                  <a:pt x="12000" y="16691"/>
                </a:lnTo>
                <a:lnTo>
                  <a:pt x="12000" y="14727"/>
                </a:lnTo>
                <a:lnTo>
                  <a:pt x="9600" y="14727"/>
                </a:lnTo>
                <a:cubicBezTo>
                  <a:pt x="9600" y="14727"/>
                  <a:pt x="9600" y="16691"/>
                  <a:pt x="9600" y="16691"/>
                </a:cubicBezTo>
                <a:close/>
                <a:moveTo>
                  <a:pt x="6000" y="19636"/>
                </a:moveTo>
                <a:lnTo>
                  <a:pt x="8400" y="19636"/>
                </a:lnTo>
                <a:lnTo>
                  <a:pt x="8400" y="17673"/>
                </a:lnTo>
                <a:lnTo>
                  <a:pt x="6000" y="17673"/>
                </a:lnTo>
                <a:cubicBezTo>
                  <a:pt x="6000" y="17673"/>
                  <a:pt x="6000" y="19636"/>
                  <a:pt x="6000" y="19636"/>
                </a:cubicBezTo>
                <a:close/>
                <a:moveTo>
                  <a:pt x="9600" y="19636"/>
                </a:moveTo>
                <a:lnTo>
                  <a:pt x="12000" y="19636"/>
                </a:lnTo>
                <a:lnTo>
                  <a:pt x="12000" y="17673"/>
                </a:lnTo>
                <a:lnTo>
                  <a:pt x="9600" y="17673"/>
                </a:lnTo>
                <a:cubicBezTo>
                  <a:pt x="9600" y="17673"/>
                  <a:pt x="9600" y="19636"/>
                  <a:pt x="9600" y="19636"/>
                </a:cubicBezTo>
                <a:close/>
                <a:moveTo>
                  <a:pt x="6000" y="16691"/>
                </a:moveTo>
                <a:lnTo>
                  <a:pt x="8400" y="16691"/>
                </a:lnTo>
                <a:lnTo>
                  <a:pt x="8400" y="14727"/>
                </a:lnTo>
                <a:lnTo>
                  <a:pt x="6000" y="14727"/>
                </a:lnTo>
                <a:cubicBezTo>
                  <a:pt x="6000" y="14727"/>
                  <a:pt x="6000" y="16691"/>
                  <a:pt x="6000" y="16691"/>
                </a:cubicBezTo>
                <a:close/>
                <a:moveTo>
                  <a:pt x="6000" y="13745"/>
                </a:moveTo>
                <a:lnTo>
                  <a:pt x="8400" y="13745"/>
                </a:lnTo>
                <a:lnTo>
                  <a:pt x="8400" y="11782"/>
                </a:lnTo>
                <a:lnTo>
                  <a:pt x="6000" y="11782"/>
                </a:lnTo>
                <a:cubicBezTo>
                  <a:pt x="6000" y="11782"/>
                  <a:pt x="6000" y="13745"/>
                  <a:pt x="6000" y="13745"/>
                </a:cubicBezTo>
                <a:close/>
                <a:moveTo>
                  <a:pt x="6000" y="10800"/>
                </a:moveTo>
                <a:lnTo>
                  <a:pt x="8400" y="10800"/>
                </a:lnTo>
                <a:lnTo>
                  <a:pt x="8400" y="8836"/>
                </a:lnTo>
                <a:lnTo>
                  <a:pt x="6000" y="8836"/>
                </a:lnTo>
                <a:cubicBezTo>
                  <a:pt x="6000" y="8836"/>
                  <a:pt x="6000" y="10800"/>
                  <a:pt x="6000"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3" name="Shape 2693"/>
          <p:cNvSpPr/>
          <p:nvPr/>
        </p:nvSpPr>
        <p:spPr>
          <a:xfrm>
            <a:off x="7107463"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1782"/>
                </a:moveTo>
                <a:lnTo>
                  <a:pt x="9818" y="11782"/>
                </a:lnTo>
                <a:lnTo>
                  <a:pt x="9818" y="13745"/>
                </a:lnTo>
                <a:lnTo>
                  <a:pt x="11782" y="13745"/>
                </a:lnTo>
                <a:cubicBezTo>
                  <a:pt x="11782" y="13745"/>
                  <a:pt x="11782" y="11782"/>
                  <a:pt x="11782" y="11782"/>
                </a:cubicBezTo>
                <a:close/>
                <a:moveTo>
                  <a:pt x="7855" y="17673"/>
                </a:moveTo>
                <a:lnTo>
                  <a:pt x="9818" y="17673"/>
                </a:lnTo>
                <a:lnTo>
                  <a:pt x="9818" y="16691"/>
                </a:lnTo>
                <a:lnTo>
                  <a:pt x="7855" y="16691"/>
                </a:lnTo>
                <a:cubicBezTo>
                  <a:pt x="7855" y="16691"/>
                  <a:pt x="7855" y="17673"/>
                  <a:pt x="7855" y="17673"/>
                </a:cubicBezTo>
                <a:close/>
                <a:moveTo>
                  <a:pt x="11782" y="17673"/>
                </a:moveTo>
                <a:lnTo>
                  <a:pt x="13745" y="17673"/>
                </a:lnTo>
                <a:lnTo>
                  <a:pt x="13745" y="16691"/>
                </a:lnTo>
                <a:lnTo>
                  <a:pt x="11782" y="16691"/>
                </a:lnTo>
                <a:cubicBezTo>
                  <a:pt x="11782" y="16691"/>
                  <a:pt x="11782" y="17673"/>
                  <a:pt x="11782" y="17673"/>
                </a:cubicBezTo>
                <a:close/>
                <a:moveTo>
                  <a:pt x="12764" y="8836"/>
                </a:moveTo>
                <a:cubicBezTo>
                  <a:pt x="12492" y="8836"/>
                  <a:pt x="12273" y="9056"/>
                  <a:pt x="12273" y="9327"/>
                </a:cubicBezTo>
                <a:cubicBezTo>
                  <a:pt x="12273" y="9599"/>
                  <a:pt x="12492" y="9818"/>
                  <a:pt x="12764" y="9818"/>
                </a:cubicBezTo>
                <a:cubicBezTo>
                  <a:pt x="13035" y="9818"/>
                  <a:pt x="13255" y="9599"/>
                  <a:pt x="13255" y="9327"/>
                </a:cubicBezTo>
                <a:cubicBezTo>
                  <a:pt x="13255" y="9056"/>
                  <a:pt x="13035" y="8836"/>
                  <a:pt x="12764" y="8836"/>
                </a:cubicBezTo>
                <a:moveTo>
                  <a:pt x="3927" y="12764"/>
                </a:moveTo>
                <a:cubicBezTo>
                  <a:pt x="3927" y="11679"/>
                  <a:pt x="4806" y="10800"/>
                  <a:pt x="5891" y="10800"/>
                </a:cubicBezTo>
                <a:cubicBezTo>
                  <a:pt x="6975" y="10800"/>
                  <a:pt x="7855" y="11679"/>
                  <a:pt x="7855" y="12764"/>
                </a:cubicBezTo>
                <a:cubicBezTo>
                  <a:pt x="7855" y="13848"/>
                  <a:pt x="6975" y="14727"/>
                  <a:pt x="5891" y="14727"/>
                </a:cubicBezTo>
                <a:cubicBezTo>
                  <a:pt x="4806" y="14727"/>
                  <a:pt x="3927" y="13848"/>
                  <a:pt x="3927" y="12764"/>
                </a:cubicBezTo>
                <a:moveTo>
                  <a:pt x="17673" y="12764"/>
                </a:moveTo>
                <a:cubicBezTo>
                  <a:pt x="17673" y="13848"/>
                  <a:pt x="16794" y="14727"/>
                  <a:pt x="15709" y="14727"/>
                </a:cubicBezTo>
                <a:cubicBezTo>
                  <a:pt x="14625" y="14727"/>
                  <a:pt x="13745" y="13848"/>
                  <a:pt x="13745" y="12764"/>
                </a:cubicBezTo>
                <a:cubicBezTo>
                  <a:pt x="13745" y="11679"/>
                  <a:pt x="14625" y="10800"/>
                  <a:pt x="15709" y="10800"/>
                </a:cubicBezTo>
                <a:cubicBezTo>
                  <a:pt x="16794" y="10800"/>
                  <a:pt x="17673" y="11679"/>
                  <a:pt x="17673" y="12764"/>
                </a:cubicBezTo>
                <a:moveTo>
                  <a:pt x="20618" y="8836"/>
                </a:moveTo>
                <a:lnTo>
                  <a:pt x="19145" y="8836"/>
                </a:lnTo>
                <a:cubicBezTo>
                  <a:pt x="18874" y="8836"/>
                  <a:pt x="18655" y="9056"/>
                  <a:pt x="18655" y="9327"/>
                </a:cubicBezTo>
                <a:cubicBezTo>
                  <a:pt x="18655" y="9599"/>
                  <a:pt x="18874" y="9818"/>
                  <a:pt x="19145" y="9818"/>
                </a:cubicBezTo>
                <a:lnTo>
                  <a:pt x="20618" y="9818"/>
                </a:lnTo>
                <a:lnTo>
                  <a:pt x="20618" y="12273"/>
                </a:lnTo>
                <a:lnTo>
                  <a:pt x="18605" y="12273"/>
                </a:lnTo>
                <a:cubicBezTo>
                  <a:pt x="18370" y="10881"/>
                  <a:pt x="17167" y="9818"/>
                  <a:pt x="15709" y="9818"/>
                </a:cubicBezTo>
                <a:cubicBezTo>
                  <a:pt x="14082" y="9818"/>
                  <a:pt x="12764" y="11137"/>
                  <a:pt x="12764" y="12764"/>
                </a:cubicBezTo>
                <a:cubicBezTo>
                  <a:pt x="12764" y="14390"/>
                  <a:pt x="14082" y="15709"/>
                  <a:pt x="15709" y="15709"/>
                </a:cubicBezTo>
                <a:cubicBezTo>
                  <a:pt x="17167" y="15709"/>
                  <a:pt x="18370" y="14646"/>
                  <a:pt x="18605" y="13255"/>
                </a:cubicBezTo>
                <a:lnTo>
                  <a:pt x="20618" y="13255"/>
                </a:lnTo>
                <a:lnTo>
                  <a:pt x="20618" y="18655"/>
                </a:lnTo>
                <a:lnTo>
                  <a:pt x="982" y="18655"/>
                </a:lnTo>
                <a:lnTo>
                  <a:pt x="982" y="13255"/>
                </a:lnTo>
                <a:lnTo>
                  <a:pt x="2995" y="13255"/>
                </a:lnTo>
                <a:cubicBezTo>
                  <a:pt x="3230" y="14646"/>
                  <a:pt x="4433" y="15709"/>
                  <a:pt x="5891" y="15709"/>
                </a:cubicBezTo>
                <a:cubicBezTo>
                  <a:pt x="7517" y="15709"/>
                  <a:pt x="8836" y="14390"/>
                  <a:pt x="8836" y="12764"/>
                </a:cubicBezTo>
                <a:cubicBezTo>
                  <a:pt x="8836" y="11137"/>
                  <a:pt x="7517" y="9818"/>
                  <a:pt x="5891" y="9818"/>
                </a:cubicBezTo>
                <a:cubicBezTo>
                  <a:pt x="4433" y="9818"/>
                  <a:pt x="3230" y="10881"/>
                  <a:pt x="2995" y="12273"/>
                </a:cubicBezTo>
                <a:lnTo>
                  <a:pt x="982" y="12273"/>
                </a:lnTo>
                <a:lnTo>
                  <a:pt x="982" y="9818"/>
                </a:lnTo>
                <a:lnTo>
                  <a:pt x="2455" y="9818"/>
                </a:lnTo>
                <a:cubicBezTo>
                  <a:pt x="2726" y="9818"/>
                  <a:pt x="2945" y="9599"/>
                  <a:pt x="2945" y="9327"/>
                </a:cubicBezTo>
                <a:cubicBezTo>
                  <a:pt x="2945" y="9056"/>
                  <a:pt x="2726" y="8836"/>
                  <a:pt x="2455" y="8836"/>
                </a:cubicBezTo>
                <a:lnTo>
                  <a:pt x="982" y="8836"/>
                </a:lnTo>
                <a:lnTo>
                  <a:pt x="982" y="7855"/>
                </a:lnTo>
                <a:cubicBezTo>
                  <a:pt x="982" y="7313"/>
                  <a:pt x="1421" y="6873"/>
                  <a:pt x="1964" y="6873"/>
                </a:cubicBezTo>
                <a:lnTo>
                  <a:pt x="19636" y="6873"/>
                </a:lnTo>
                <a:cubicBezTo>
                  <a:pt x="20178" y="6873"/>
                  <a:pt x="20618" y="7313"/>
                  <a:pt x="20618" y="7855"/>
                </a:cubicBezTo>
                <a:cubicBezTo>
                  <a:pt x="20618" y="7855"/>
                  <a:pt x="20618" y="8836"/>
                  <a:pt x="20618" y="8836"/>
                </a:cubicBezTo>
                <a:close/>
                <a:moveTo>
                  <a:pt x="19636" y="20618"/>
                </a:moveTo>
                <a:lnTo>
                  <a:pt x="1964" y="20618"/>
                </a:lnTo>
                <a:cubicBezTo>
                  <a:pt x="1421" y="20618"/>
                  <a:pt x="982" y="20178"/>
                  <a:pt x="982" y="19636"/>
                </a:cubicBezTo>
                <a:lnTo>
                  <a:pt x="20618" y="19636"/>
                </a:lnTo>
                <a:cubicBezTo>
                  <a:pt x="20618" y="20178"/>
                  <a:pt x="20178" y="20618"/>
                  <a:pt x="19636" y="20618"/>
                </a:cubicBezTo>
                <a:moveTo>
                  <a:pt x="5891" y="4909"/>
                </a:moveTo>
                <a:lnTo>
                  <a:pt x="15709" y="4909"/>
                </a:lnTo>
                <a:lnTo>
                  <a:pt x="15709" y="5891"/>
                </a:lnTo>
                <a:lnTo>
                  <a:pt x="5891" y="5891"/>
                </a:lnTo>
                <a:cubicBezTo>
                  <a:pt x="5891" y="5891"/>
                  <a:pt x="5891" y="4909"/>
                  <a:pt x="5891" y="4909"/>
                </a:cubicBezTo>
                <a:close/>
                <a:moveTo>
                  <a:pt x="19636" y="5891"/>
                </a:moveTo>
                <a:lnTo>
                  <a:pt x="19636" y="2855"/>
                </a:lnTo>
                <a:cubicBezTo>
                  <a:pt x="20207" y="2653"/>
                  <a:pt x="20618" y="2113"/>
                  <a:pt x="20618" y="1473"/>
                </a:cubicBezTo>
                <a:cubicBezTo>
                  <a:pt x="20618" y="659"/>
                  <a:pt x="19959" y="0"/>
                  <a:pt x="19145" y="0"/>
                </a:cubicBezTo>
                <a:cubicBezTo>
                  <a:pt x="18332" y="0"/>
                  <a:pt x="17673" y="659"/>
                  <a:pt x="17673" y="1473"/>
                </a:cubicBezTo>
                <a:cubicBezTo>
                  <a:pt x="17673" y="2113"/>
                  <a:pt x="18084" y="2653"/>
                  <a:pt x="18655" y="2855"/>
                </a:cubicBezTo>
                <a:lnTo>
                  <a:pt x="18655" y="5891"/>
                </a:lnTo>
                <a:lnTo>
                  <a:pt x="16691" y="5891"/>
                </a:lnTo>
                <a:lnTo>
                  <a:pt x="16691" y="4909"/>
                </a:lnTo>
                <a:cubicBezTo>
                  <a:pt x="16691" y="4367"/>
                  <a:pt x="16251" y="3927"/>
                  <a:pt x="15709" y="3927"/>
                </a:cubicBezTo>
                <a:lnTo>
                  <a:pt x="5891" y="3927"/>
                </a:lnTo>
                <a:cubicBezTo>
                  <a:pt x="5348" y="3927"/>
                  <a:pt x="4909" y="4367"/>
                  <a:pt x="4909" y="4909"/>
                </a:cubicBezTo>
                <a:lnTo>
                  <a:pt x="4909" y="5891"/>
                </a:ln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0800" y="9818"/>
                </a:moveTo>
                <a:cubicBezTo>
                  <a:pt x="11071" y="9818"/>
                  <a:pt x="11291" y="9599"/>
                  <a:pt x="11291" y="9327"/>
                </a:cubicBezTo>
                <a:cubicBezTo>
                  <a:pt x="11291" y="9056"/>
                  <a:pt x="11071" y="8836"/>
                  <a:pt x="10800" y="8836"/>
                </a:cubicBezTo>
                <a:cubicBezTo>
                  <a:pt x="10529" y="8836"/>
                  <a:pt x="10309" y="9056"/>
                  <a:pt x="10309" y="9327"/>
                </a:cubicBezTo>
                <a:cubicBezTo>
                  <a:pt x="10309" y="9599"/>
                  <a:pt x="10529" y="9818"/>
                  <a:pt x="10800" y="9818"/>
                </a:cubicBezTo>
                <a:moveTo>
                  <a:pt x="9327" y="9327"/>
                </a:moveTo>
                <a:cubicBezTo>
                  <a:pt x="9327" y="9056"/>
                  <a:pt x="9108" y="8836"/>
                  <a:pt x="8836" y="8836"/>
                </a:cubicBezTo>
                <a:cubicBezTo>
                  <a:pt x="8565" y="8836"/>
                  <a:pt x="8345" y="9056"/>
                  <a:pt x="8345" y="9327"/>
                </a:cubicBezTo>
                <a:cubicBezTo>
                  <a:pt x="8345" y="9599"/>
                  <a:pt x="8565" y="9818"/>
                  <a:pt x="8836" y="9818"/>
                </a:cubicBezTo>
                <a:cubicBezTo>
                  <a:pt x="9108" y="9818"/>
                  <a:pt x="9327" y="9599"/>
                  <a:pt x="9327"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4" name="Shape 2694"/>
          <p:cNvSpPr/>
          <p:nvPr/>
        </p:nvSpPr>
        <p:spPr>
          <a:xfrm>
            <a:off x="7507409"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538" y="14727"/>
                </a:moveTo>
                <a:cubicBezTo>
                  <a:pt x="13628" y="14411"/>
                  <a:pt x="13690" y="14083"/>
                  <a:pt x="13721" y="13745"/>
                </a:cubicBezTo>
                <a:lnTo>
                  <a:pt x="2970" y="13745"/>
                </a:lnTo>
                <a:cubicBezTo>
                  <a:pt x="3001" y="14083"/>
                  <a:pt x="3063" y="14411"/>
                  <a:pt x="3153" y="14727"/>
                </a:cubicBezTo>
                <a:cubicBezTo>
                  <a:pt x="3153" y="14727"/>
                  <a:pt x="13538" y="14727"/>
                  <a:pt x="13538" y="14727"/>
                </a:cubicBezTo>
                <a:close/>
                <a:moveTo>
                  <a:pt x="18655" y="12764"/>
                </a:moveTo>
                <a:cubicBezTo>
                  <a:pt x="18383" y="12764"/>
                  <a:pt x="18164" y="12984"/>
                  <a:pt x="18164" y="13255"/>
                </a:cubicBezTo>
                <a:cubicBezTo>
                  <a:pt x="18164" y="13526"/>
                  <a:pt x="18383" y="13745"/>
                  <a:pt x="18655" y="13745"/>
                </a:cubicBezTo>
                <a:cubicBezTo>
                  <a:pt x="18926" y="13745"/>
                  <a:pt x="19145" y="13526"/>
                  <a:pt x="19145" y="13255"/>
                </a:cubicBezTo>
                <a:cubicBezTo>
                  <a:pt x="19145" y="12984"/>
                  <a:pt x="18926" y="12764"/>
                  <a:pt x="18655" y="12764"/>
                </a:cubicBezTo>
                <a:moveTo>
                  <a:pt x="18655" y="8836"/>
                </a:moveTo>
                <a:cubicBezTo>
                  <a:pt x="18112" y="8836"/>
                  <a:pt x="17673" y="9276"/>
                  <a:pt x="17673" y="9818"/>
                </a:cubicBezTo>
                <a:cubicBezTo>
                  <a:pt x="17673" y="10360"/>
                  <a:pt x="18112" y="10800"/>
                  <a:pt x="18655" y="10800"/>
                </a:cubicBezTo>
                <a:cubicBezTo>
                  <a:pt x="19197" y="10800"/>
                  <a:pt x="19636" y="10360"/>
                  <a:pt x="19636" y="9818"/>
                </a:cubicBezTo>
                <a:cubicBezTo>
                  <a:pt x="19636" y="9276"/>
                  <a:pt x="19197" y="8836"/>
                  <a:pt x="18655" y="8836"/>
                </a:cubicBezTo>
                <a:moveTo>
                  <a:pt x="20618" y="19636"/>
                </a:moveTo>
                <a:cubicBezTo>
                  <a:pt x="20618" y="20178"/>
                  <a:pt x="20179" y="20618"/>
                  <a:pt x="19636" y="20618"/>
                </a:cubicBezTo>
                <a:lnTo>
                  <a:pt x="16691" y="20618"/>
                </a:lnTo>
                <a:lnTo>
                  <a:pt x="16691" y="5891"/>
                </a:lnTo>
                <a:lnTo>
                  <a:pt x="19636" y="5891"/>
                </a:lnTo>
                <a:cubicBezTo>
                  <a:pt x="20179" y="5891"/>
                  <a:pt x="20618" y="6331"/>
                  <a:pt x="20618" y="6873"/>
                </a:cubicBezTo>
                <a:cubicBezTo>
                  <a:pt x="20618" y="6873"/>
                  <a:pt x="20618" y="19636"/>
                  <a:pt x="20618" y="19636"/>
                </a:cubicBezTo>
                <a:close/>
                <a:moveTo>
                  <a:pt x="15709" y="20618"/>
                </a:moveTo>
                <a:lnTo>
                  <a:pt x="1964" y="20618"/>
                </a:lnTo>
                <a:cubicBezTo>
                  <a:pt x="1421" y="20618"/>
                  <a:pt x="982" y="20178"/>
                  <a:pt x="982" y="19636"/>
                </a:cubicBezTo>
                <a:lnTo>
                  <a:pt x="982" y="6873"/>
                </a:lnTo>
                <a:cubicBezTo>
                  <a:pt x="982" y="6331"/>
                  <a:pt x="1421" y="5891"/>
                  <a:pt x="1964" y="5891"/>
                </a:cubicBezTo>
                <a:lnTo>
                  <a:pt x="15709" y="5891"/>
                </a:lnTo>
                <a:cubicBezTo>
                  <a:pt x="15709" y="5891"/>
                  <a:pt x="15709" y="20618"/>
                  <a:pt x="15709" y="20618"/>
                </a:cubicBezTo>
                <a:close/>
                <a:moveTo>
                  <a:pt x="19636" y="4909"/>
                </a:moveTo>
                <a:lnTo>
                  <a:pt x="4909" y="4909"/>
                </a:lnTo>
                <a:lnTo>
                  <a:pt x="4909" y="2855"/>
                </a:lnTo>
                <a:cubicBezTo>
                  <a:pt x="5480" y="2653"/>
                  <a:pt x="5891" y="2113"/>
                  <a:pt x="5891" y="1473"/>
                </a:cubicBezTo>
                <a:cubicBezTo>
                  <a:pt x="5891" y="659"/>
                  <a:pt x="5231" y="0"/>
                  <a:pt x="4418" y="0"/>
                </a:cubicBezTo>
                <a:cubicBezTo>
                  <a:pt x="3605" y="0"/>
                  <a:pt x="2945" y="659"/>
                  <a:pt x="2945" y="1473"/>
                </a:cubicBezTo>
                <a:cubicBezTo>
                  <a:pt x="2945" y="2113"/>
                  <a:pt x="3357" y="2653"/>
                  <a:pt x="3927" y="2855"/>
                </a:cubicBezTo>
                <a:lnTo>
                  <a:pt x="3927" y="4909"/>
                </a:lnTo>
                <a:lnTo>
                  <a:pt x="1964" y="4909"/>
                </a:lnTo>
                <a:cubicBezTo>
                  <a:pt x="879" y="4909"/>
                  <a:pt x="0" y="5788"/>
                  <a:pt x="0" y="6873"/>
                </a:cubicBezTo>
                <a:lnTo>
                  <a:pt x="0" y="19636"/>
                </a:lnTo>
                <a:cubicBezTo>
                  <a:pt x="0" y="20721"/>
                  <a:pt x="879" y="21600"/>
                  <a:pt x="1964" y="21600"/>
                </a:cubicBezTo>
                <a:lnTo>
                  <a:pt x="19636" y="21600"/>
                </a:lnTo>
                <a:cubicBezTo>
                  <a:pt x="20721" y="21600"/>
                  <a:pt x="21600" y="20721"/>
                  <a:pt x="21600" y="19636"/>
                </a:cubicBezTo>
                <a:lnTo>
                  <a:pt x="21600" y="6873"/>
                </a:lnTo>
                <a:cubicBezTo>
                  <a:pt x="21600" y="5788"/>
                  <a:pt x="20721" y="4909"/>
                  <a:pt x="19636" y="4909"/>
                </a:cubicBezTo>
                <a:moveTo>
                  <a:pt x="18655" y="15709"/>
                </a:moveTo>
                <a:cubicBezTo>
                  <a:pt x="18383" y="15709"/>
                  <a:pt x="18164" y="15929"/>
                  <a:pt x="18164" y="16200"/>
                </a:cubicBezTo>
                <a:cubicBezTo>
                  <a:pt x="18164" y="16471"/>
                  <a:pt x="18383" y="16691"/>
                  <a:pt x="18655" y="16691"/>
                </a:cubicBezTo>
                <a:cubicBezTo>
                  <a:pt x="18926" y="16691"/>
                  <a:pt x="19145" y="16471"/>
                  <a:pt x="19145" y="16200"/>
                </a:cubicBezTo>
                <a:cubicBezTo>
                  <a:pt x="19145" y="15929"/>
                  <a:pt x="18926" y="15709"/>
                  <a:pt x="18655" y="15709"/>
                </a:cubicBezTo>
                <a:moveTo>
                  <a:pt x="4199" y="16691"/>
                </a:moveTo>
                <a:lnTo>
                  <a:pt x="12492" y="16691"/>
                </a:lnTo>
                <a:cubicBezTo>
                  <a:pt x="12744" y="16387"/>
                  <a:pt x="12971" y="16064"/>
                  <a:pt x="13152" y="15709"/>
                </a:cubicBezTo>
                <a:lnTo>
                  <a:pt x="3539" y="15709"/>
                </a:lnTo>
                <a:cubicBezTo>
                  <a:pt x="3720" y="16064"/>
                  <a:pt x="3947" y="16387"/>
                  <a:pt x="4199" y="16691"/>
                </a:cubicBezTo>
                <a:moveTo>
                  <a:pt x="8345" y="7855"/>
                </a:moveTo>
                <a:cubicBezTo>
                  <a:pt x="7196" y="7855"/>
                  <a:pt x="6138" y="8224"/>
                  <a:pt x="5263" y="8836"/>
                </a:cubicBezTo>
                <a:lnTo>
                  <a:pt x="11428" y="8836"/>
                </a:lnTo>
                <a:cubicBezTo>
                  <a:pt x="10553" y="8224"/>
                  <a:pt x="9495" y="7855"/>
                  <a:pt x="8345" y="7855"/>
                </a:cubicBezTo>
                <a:moveTo>
                  <a:pt x="8345" y="18655"/>
                </a:moveTo>
                <a:cubicBezTo>
                  <a:pt x="9495" y="18655"/>
                  <a:pt x="10553" y="18285"/>
                  <a:pt x="11428" y="17673"/>
                </a:cubicBezTo>
                <a:lnTo>
                  <a:pt x="5263" y="17673"/>
                </a:lnTo>
                <a:cubicBezTo>
                  <a:pt x="6138" y="18285"/>
                  <a:pt x="7196" y="18655"/>
                  <a:pt x="8345" y="18655"/>
                </a:cubicBezTo>
                <a:moveTo>
                  <a:pt x="12492" y="9818"/>
                </a:moveTo>
                <a:lnTo>
                  <a:pt x="4199" y="9818"/>
                </a:lnTo>
                <a:cubicBezTo>
                  <a:pt x="3947" y="10122"/>
                  <a:pt x="3720" y="10446"/>
                  <a:pt x="3539" y="10800"/>
                </a:cubicBezTo>
                <a:lnTo>
                  <a:pt x="13152" y="10800"/>
                </a:lnTo>
                <a:cubicBezTo>
                  <a:pt x="12971" y="10446"/>
                  <a:pt x="12744" y="10122"/>
                  <a:pt x="12492" y="9818"/>
                </a:cubicBezTo>
                <a:moveTo>
                  <a:pt x="13538" y="11782"/>
                </a:moveTo>
                <a:lnTo>
                  <a:pt x="3153" y="11782"/>
                </a:lnTo>
                <a:cubicBezTo>
                  <a:pt x="3063" y="12098"/>
                  <a:pt x="3001" y="12427"/>
                  <a:pt x="2970" y="12764"/>
                </a:cubicBezTo>
                <a:lnTo>
                  <a:pt x="13721" y="12764"/>
                </a:lnTo>
                <a:cubicBezTo>
                  <a:pt x="13690" y="12427"/>
                  <a:pt x="13628" y="12098"/>
                  <a:pt x="1353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5" name="Shape 2695"/>
          <p:cNvSpPr/>
          <p:nvPr/>
        </p:nvSpPr>
        <p:spPr>
          <a:xfrm>
            <a:off x="790735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5218"/>
                </a:moveTo>
                <a:cubicBezTo>
                  <a:pt x="14727" y="15490"/>
                  <a:pt x="14947" y="15709"/>
                  <a:pt x="15218" y="15709"/>
                </a:cubicBezTo>
                <a:cubicBezTo>
                  <a:pt x="15490" y="15709"/>
                  <a:pt x="15709" y="15490"/>
                  <a:pt x="15709" y="15218"/>
                </a:cubicBezTo>
                <a:cubicBezTo>
                  <a:pt x="15709" y="14947"/>
                  <a:pt x="15490" y="14727"/>
                  <a:pt x="15218" y="14727"/>
                </a:cubicBezTo>
                <a:cubicBezTo>
                  <a:pt x="14947" y="14727"/>
                  <a:pt x="14727" y="14947"/>
                  <a:pt x="14727" y="15218"/>
                </a:cubicBezTo>
                <a:moveTo>
                  <a:pt x="20618" y="12764"/>
                </a:moveTo>
                <a:lnTo>
                  <a:pt x="17673" y="12764"/>
                </a:lnTo>
                <a:lnTo>
                  <a:pt x="17673" y="3927"/>
                </a:lnTo>
                <a:lnTo>
                  <a:pt x="3927" y="3927"/>
                </a:lnTo>
                <a:lnTo>
                  <a:pt x="3927" y="9510"/>
                </a:lnTo>
                <a:cubicBezTo>
                  <a:pt x="3308" y="10442"/>
                  <a:pt x="2945" y="11560"/>
                  <a:pt x="2945" y="12764"/>
                </a:cubicBezTo>
                <a:lnTo>
                  <a:pt x="982" y="12764"/>
                </a:lnTo>
                <a:lnTo>
                  <a:pt x="982" y="1964"/>
                </a:lnTo>
                <a:cubicBezTo>
                  <a:pt x="982" y="1422"/>
                  <a:pt x="1422" y="982"/>
                  <a:pt x="1964" y="982"/>
                </a:cubicBezTo>
                <a:lnTo>
                  <a:pt x="19636" y="982"/>
                </a:lnTo>
                <a:cubicBezTo>
                  <a:pt x="20178" y="982"/>
                  <a:pt x="20618" y="1422"/>
                  <a:pt x="20618" y="1964"/>
                </a:cubicBezTo>
                <a:cubicBezTo>
                  <a:pt x="20618" y="1964"/>
                  <a:pt x="20618" y="12764"/>
                  <a:pt x="20618" y="12764"/>
                </a:cubicBezTo>
                <a:close/>
                <a:moveTo>
                  <a:pt x="9327" y="12764"/>
                </a:moveTo>
                <a:cubicBezTo>
                  <a:pt x="9327" y="13035"/>
                  <a:pt x="9108" y="13255"/>
                  <a:pt x="8836" y="13255"/>
                </a:cubicBezTo>
                <a:cubicBezTo>
                  <a:pt x="8565" y="13255"/>
                  <a:pt x="8345" y="13035"/>
                  <a:pt x="8345" y="12764"/>
                </a:cubicBezTo>
                <a:cubicBezTo>
                  <a:pt x="8345" y="12493"/>
                  <a:pt x="8565" y="12273"/>
                  <a:pt x="8836" y="12273"/>
                </a:cubicBezTo>
                <a:cubicBezTo>
                  <a:pt x="9108" y="12273"/>
                  <a:pt x="9327" y="12493"/>
                  <a:pt x="9327" y="12764"/>
                </a:cubicBezTo>
                <a:moveTo>
                  <a:pt x="8836" y="7855"/>
                </a:moveTo>
                <a:cubicBezTo>
                  <a:pt x="10295" y="7855"/>
                  <a:pt x="11601" y="8494"/>
                  <a:pt x="12500" y="9504"/>
                </a:cubicBezTo>
                <a:lnTo>
                  <a:pt x="10301" y="12846"/>
                </a:lnTo>
                <a:cubicBezTo>
                  <a:pt x="10302" y="12818"/>
                  <a:pt x="10309" y="12792"/>
                  <a:pt x="10309" y="12764"/>
                </a:cubicBezTo>
                <a:cubicBezTo>
                  <a:pt x="10309" y="11951"/>
                  <a:pt x="9649" y="11291"/>
                  <a:pt x="8836" y="11291"/>
                </a:cubicBezTo>
                <a:cubicBezTo>
                  <a:pt x="8023" y="11291"/>
                  <a:pt x="7364" y="11951"/>
                  <a:pt x="7364" y="12764"/>
                </a:cubicBezTo>
                <a:cubicBezTo>
                  <a:pt x="7364" y="13577"/>
                  <a:pt x="8023" y="14236"/>
                  <a:pt x="8836" y="14236"/>
                </a:cubicBezTo>
                <a:cubicBezTo>
                  <a:pt x="9072" y="14236"/>
                  <a:pt x="9293" y="14175"/>
                  <a:pt x="9491" y="14076"/>
                </a:cubicBezTo>
                <a:lnTo>
                  <a:pt x="8925" y="14938"/>
                </a:lnTo>
                <a:lnTo>
                  <a:pt x="8639" y="14741"/>
                </a:lnTo>
                <a:lnTo>
                  <a:pt x="7962" y="16664"/>
                </a:lnTo>
                <a:lnTo>
                  <a:pt x="8494" y="17043"/>
                </a:lnTo>
                <a:lnTo>
                  <a:pt x="8881" y="16700"/>
                </a:lnTo>
                <a:lnTo>
                  <a:pt x="10064" y="16936"/>
                </a:lnTo>
                <a:lnTo>
                  <a:pt x="9561" y="16099"/>
                </a:lnTo>
                <a:lnTo>
                  <a:pt x="10020" y="15694"/>
                </a:lnTo>
                <a:lnTo>
                  <a:pt x="9423" y="15282"/>
                </a:lnTo>
                <a:lnTo>
                  <a:pt x="9736" y="15491"/>
                </a:lnTo>
                <a:lnTo>
                  <a:pt x="13114" y="10359"/>
                </a:lnTo>
                <a:cubicBezTo>
                  <a:pt x="13514" y="11069"/>
                  <a:pt x="13745" y="11889"/>
                  <a:pt x="13745" y="12764"/>
                </a:cubicBezTo>
                <a:cubicBezTo>
                  <a:pt x="13745" y="15475"/>
                  <a:pt x="11548" y="17673"/>
                  <a:pt x="8836" y="17673"/>
                </a:cubicBezTo>
                <a:cubicBezTo>
                  <a:pt x="6125" y="17673"/>
                  <a:pt x="3927" y="15475"/>
                  <a:pt x="3927" y="12764"/>
                </a:cubicBezTo>
                <a:cubicBezTo>
                  <a:pt x="3927" y="10053"/>
                  <a:pt x="6125" y="7855"/>
                  <a:pt x="8836" y="7855"/>
                </a:cubicBezTo>
                <a:moveTo>
                  <a:pt x="14727" y="5891"/>
                </a:moveTo>
                <a:cubicBezTo>
                  <a:pt x="14186" y="5891"/>
                  <a:pt x="13745" y="6331"/>
                  <a:pt x="13745" y="6873"/>
                </a:cubicBezTo>
                <a:cubicBezTo>
                  <a:pt x="13745" y="7062"/>
                  <a:pt x="13802" y="7237"/>
                  <a:pt x="13894" y="7386"/>
                </a:cubicBezTo>
                <a:lnTo>
                  <a:pt x="13057" y="8659"/>
                </a:lnTo>
                <a:cubicBezTo>
                  <a:pt x="11987" y="7558"/>
                  <a:pt x="10492" y="6873"/>
                  <a:pt x="8836" y="6873"/>
                </a:cubicBezTo>
                <a:cubicBezTo>
                  <a:pt x="7325" y="6873"/>
                  <a:pt x="5952" y="7447"/>
                  <a:pt x="4909" y="8382"/>
                </a:cubicBezTo>
                <a:lnTo>
                  <a:pt x="4909" y="4909"/>
                </a:lnTo>
                <a:lnTo>
                  <a:pt x="16691" y="4909"/>
                </a:lnTo>
                <a:lnTo>
                  <a:pt x="16691" y="16691"/>
                </a:lnTo>
                <a:lnTo>
                  <a:pt x="13219" y="16691"/>
                </a:lnTo>
                <a:cubicBezTo>
                  <a:pt x="14154" y="15648"/>
                  <a:pt x="14727" y="14275"/>
                  <a:pt x="14727" y="12764"/>
                </a:cubicBezTo>
                <a:cubicBezTo>
                  <a:pt x="14727" y="11536"/>
                  <a:pt x="14351" y="10398"/>
                  <a:pt x="13709" y="9453"/>
                </a:cubicBezTo>
                <a:lnTo>
                  <a:pt x="14764" y="7851"/>
                </a:lnTo>
                <a:cubicBezTo>
                  <a:pt x="15288" y="7832"/>
                  <a:pt x="15709" y="7402"/>
                  <a:pt x="15709" y="6873"/>
                </a:cubicBezTo>
                <a:cubicBezTo>
                  <a:pt x="15709" y="6331"/>
                  <a:pt x="15269" y="5891"/>
                  <a:pt x="14727" y="5891"/>
                </a:cubicBezTo>
                <a:moveTo>
                  <a:pt x="20618" y="19636"/>
                </a:moveTo>
                <a:cubicBezTo>
                  <a:pt x="20618" y="20178"/>
                  <a:pt x="20178" y="20618"/>
                  <a:pt x="19636" y="20618"/>
                </a:cubicBezTo>
                <a:lnTo>
                  <a:pt x="1964" y="20618"/>
                </a:lnTo>
                <a:cubicBezTo>
                  <a:pt x="1422" y="20618"/>
                  <a:pt x="982" y="20178"/>
                  <a:pt x="982" y="19636"/>
                </a:cubicBezTo>
                <a:lnTo>
                  <a:pt x="982" y="13745"/>
                </a:lnTo>
                <a:lnTo>
                  <a:pt x="3034" y="13745"/>
                </a:lnTo>
                <a:cubicBezTo>
                  <a:pt x="3502" y="16531"/>
                  <a:pt x="5918" y="18655"/>
                  <a:pt x="8836" y="18655"/>
                </a:cubicBezTo>
                <a:cubicBezTo>
                  <a:pt x="10040" y="18655"/>
                  <a:pt x="11158" y="18292"/>
                  <a:pt x="12090" y="17673"/>
                </a:cubicBezTo>
                <a:lnTo>
                  <a:pt x="17673" y="17673"/>
                </a:lnTo>
                <a:lnTo>
                  <a:pt x="17673" y="13745"/>
                </a:lnTo>
                <a:lnTo>
                  <a:pt x="20618" y="13745"/>
                </a:lnTo>
                <a:cubicBezTo>
                  <a:pt x="20618" y="13745"/>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6" name="Shape 2696"/>
          <p:cNvSpPr/>
          <p:nvPr/>
        </p:nvSpPr>
        <p:spPr>
          <a:xfrm>
            <a:off x="830730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19636"/>
                </a:moveTo>
                <a:cubicBezTo>
                  <a:pt x="12764" y="20178"/>
                  <a:pt x="12324" y="20618"/>
                  <a:pt x="11782" y="20618"/>
                </a:cubicBezTo>
                <a:lnTo>
                  <a:pt x="9818" y="20618"/>
                </a:lnTo>
                <a:cubicBezTo>
                  <a:pt x="9276" y="20618"/>
                  <a:pt x="8836" y="20178"/>
                  <a:pt x="8836" y="19636"/>
                </a:cubicBezTo>
                <a:lnTo>
                  <a:pt x="8836" y="17673"/>
                </a:lnTo>
                <a:cubicBezTo>
                  <a:pt x="8836" y="17131"/>
                  <a:pt x="9276" y="16691"/>
                  <a:pt x="9818" y="16691"/>
                </a:cubicBezTo>
                <a:lnTo>
                  <a:pt x="11782" y="16691"/>
                </a:lnTo>
                <a:cubicBezTo>
                  <a:pt x="12324" y="16691"/>
                  <a:pt x="12764" y="17131"/>
                  <a:pt x="12764" y="17673"/>
                </a:cubicBezTo>
                <a:cubicBezTo>
                  <a:pt x="12764" y="17673"/>
                  <a:pt x="12764" y="19636"/>
                  <a:pt x="12764" y="19636"/>
                </a:cubicBezTo>
                <a:close/>
                <a:moveTo>
                  <a:pt x="11782" y="15709"/>
                </a:moveTo>
                <a:lnTo>
                  <a:pt x="9818" y="15709"/>
                </a:lnTo>
                <a:cubicBezTo>
                  <a:pt x="8734" y="15709"/>
                  <a:pt x="7855" y="16588"/>
                  <a:pt x="7855" y="17673"/>
                </a:cubicBezTo>
                <a:lnTo>
                  <a:pt x="7855" y="19636"/>
                </a:lnTo>
                <a:cubicBezTo>
                  <a:pt x="7855" y="20721"/>
                  <a:pt x="8734" y="21600"/>
                  <a:pt x="9818" y="21600"/>
                </a:cubicBezTo>
                <a:lnTo>
                  <a:pt x="11782" y="21600"/>
                </a:lnTo>
                <a:cubicBezTo>
                  <a:pt x="12866" y="21600"/>
                  <a:pt x="13745" y="20721"/>
                  <a:pt x="13745" y="19636"/>
                </a:cubicBezTo>
                <a:lnTo>
                  <a:pt x="13745" y="17673"/>
                </a:lnTo>
                <a:cubicBezTo>
                  <a:pt x="13745" y="16588"/>
                  <a:pt x="12866" y="15709"/>
                  <a:pt x="11782" y="15709"/>
                </a:cubicBezTo>
                <a:moveTo>
                  <a:pt x="20618" y="19636"/>
                </a:moveTo>
                <a:cubicBezTo>
                  <a:pt x="20618" y="20178"/>
                  <a:pt x="20178" y="20618"/>
                  <a:pt x="19636" y="20618"/>
                </a:cubicBezTo>
                <a:lnTo>
                  <a:pt x="17673" y="20618"/>
                </a:lnTo>
                <a:cubicBezTo>
                  <a:pt x="17131" y="20618"/>
                  <a:pt x="16691" y="20178"/>
                  <a:pt x="16691" y="19636"/>
                </a:cubicBezTo>
                <a:lnTo>
                  <a:pt x="16691" y="17673"/>
                </a:lnTo>
                <a:cubicBezTo>
                  <a:pt x="16691" y="17131"/>
                  <a:pt x="17131" y="16691"/>
                  <a:pt x="17673" y="16691"/>
                </a:cubicBezTo>
                <a:lnTo>
                  <a:pt x="19636" y="16691"/>
                </a:lnTo>
                <a:cubicBezTo>
                  <a:pt x="20178" y="16691"/>
                  <a:pt x="20618" y="17131"/>
                  <a:pt x="20618" y="17673"/>
                </a:cubicBezTo>
                <a:cubicBezTo>
                  <a:pt x="20618" y="17673"/>
                  <a:pt x="20618" y="19636"/>
                  <a:pt x="20618" y="19636"/>
                </a:cubicBezTo>
                <a:close/>
                <a:moveTo>
                  <a:pt x="19636" y="15709"/>
                </a:moveTo>
                <a:lnTo>
                  <a:pt x="17673" y="15709"/>
                </a:lnTo>
                <a:cubicBezTo>
                  <a:pt x="16588" y="15709"/>
                  <a:pt x="15709" y="16588"/>
                  <a:pt x="15709" y="17673"/>
                </a:cubicBezTo>
                <a:lnTo>
                  <a:pt x="15709" y="19636"/>
                </a:lnTo>
                <a:cubicBezTo>
                  <a:pt x="15709" y="20721"/>
                  <a:pt x="16588" y="21600"/>
                  <a:pt x="17673" y="21600"/>
                </a:cubicBezTo>
                <a:lnTo>
                  <a:pt x="19636" y="21600"/>
                </a:lnTo>
                <a:cubicBezTo>
                  <a:pt x="20721" y="21600"/>
                  <a:pt x="21600" y="20721"/>
                  <a:pt x="21600" y="19636"/>
                </a:cubicBezTo>
                <a:lnTo>
                  <a:pt x="21600" y="17673"/>
                </a:lnTo>
                <a:cubicBezTo>
                  <a:pt x="21600" y="16588"/>
                  <a:pt x="20721" y="15709"/>
                  <a:pt x="19636" y="15709"/>
                </a:cubicBezTo>
                <a:moveTo>
                  <a:pt x="4909" y="19636"/>
                </a:moveTo>
                <a:cubicBezTo>
                  <a:pt x="4909" y="20178"/>
                  <a:pt x="4469" y="20618"/>
                  <a:pt x="3927" y="20618"/>
                </a:cubicBezTo>
                <a:lnTo>
                  <a:pt x="1964" y="20618"/>
                </a:lnTo>
                <a:cubicBezTo>
                  <a:pt x="1422" y="20618"/>
                  <a:pt x="982" y="20178"/>
                  <a:pt x="982" y="19636"/>
                </a:cubicBezTo>
                <a:lnTo>
                  <a:pt x="982" y="17673"/>
                </a:lnTo>
                <a:cubicBezTo>
                  <a:pt x="982" y="17131"/>
                  <a:pt x="1422" y="16691"/>
                  <a:pt x="1964" y="16691"/>
                </a:cubicBezTo>
                <a:lnTo>
                  <a:pt x="3927" y="16691"/>
                </a:lnTo>
                <a:cubicBezTo>
                  <a:pt x="4469" y="16691"/>
                  <a:pt x="4909" y="17131"/>
                  <a:pt x="4909" y="17673"/>
                </a:cubicBezTo>
                <a:cubicBezTo>
                  <a:pt x="4909" y="17673"/>
                  <a:pt x="4909" y="19636"/>
                  <a:pt x="4909" y="19636"/>
                </a:cubicBezTo>
                <a:close/>
                <a:moveTo>
                  <a:pt x="3927" y="15709"/>
                </a:moveTo>
                <a:lnTo>
                  <a:pt x="1964" y="15709"/>
                </a:lnTo>
                <a:cubicBezTo>
                  <a:pt x="879" y="15709"/>
                  <a:pt x="0" y="16588"/>
                  <a:pt x="0" y="17673"/>
                </a:cubicBezTo>
                <a:lnTo>
                  <a:pt x="0" y="19636"/>
                </a:lnTo>
                <a:cubicBezTo>
                  <a:pt x="0" y="20721"/>
                  <a:pt x="879" y="21600"/>
                  <a:pt x="1964" y="21600"/>
                </a:cubicBezTo>
                <a:lnTo>
                  <a:pt x="3927" y="21600"/>
                </a:lnTo>
                <a:cubicBezTo>
                  <a:pt x="5012" y="21600"/>
                  <a:pt x="5891" y="20721"/>
                  <a:pt x="5891" y="19636"/>
                </a:cubicBezTo>
                <a:lnTo>
                  <a:pt x="5891" y="17673"/>
                </a:lnTo>
                <a:cubicBezTo>
                  <a:pt x="5891" y="16588"/>
                  <a:pt x="5012" y="15709"/>
                  <a:pt x="3927" y="15709"/>
                </a:cubicBezTo>
                <a:moveTo>
                  <a:pt x="2945" y="14727"/>
                </a:moveTo>
                <a:cubicBezTo>
                  <a:pt x="3217" y="14727"/>
                  <a:pt x="3436" y="14507"/>
                  <a:pt x="3436" y="14236"/>
                </a:cubicBezTo>
                <a:lnTo>
                  <a:pt x="3436" y="10800"/>
                </a:lnTo>
                <a:lnTo>
                  <a:pt x="10309" y="10800"/>
                </a:lnTo>
                <a:lnTo>
                  <a:pt x="10309" y="14236"/>
                </a:lnTo>
                <a:cubicBezTo>
                  <a:pt x="10309" y="14507"/>
                  <a:pt x="10529" y="14727"/>
                  <a:pt x="10800" y="14727"/>
                </a:cubicBezTo>
                <a:cubicBezTo>
                  <a:pt x="11071" y="14727"/>
                  <a:pt x="11291" y="14507"/>
                  <a:pt x="11291" y="14236"/>
                </a:cubicBezTo>
                <a:lnTo>
                  <a:pt x="11291" y="10800"/>
                </a:lnTo>
                <a:lnTo>
                  <a:pt x="18164" y="10800"/>
                </a:lnTo>
                <a:lnTo>
                  <a:pt x="18164" y="14236"/>
                </a:lnTo>
                <a:cubicBezTo>
                  <a:pt x="18164" y="14507"/>
                  <a:pt x="18384" y="14727"/>
                  <a:pt x="18655" y="14727"/>
                </a:cubicBezTo>
                <a:cubicBezTo>
                  <a:pt x="18926" y="14727"/>
                  <a:pt x="19145" y="14507"/>
                  <a:pt x="19145" y="14236"/>
                </a:cubicBezTo>
                <a:lnTo>
                  <a:pt x="19145" y="10309"/>
                </a:lnTo>
                <a:cubicBezTo>
                  <a:pt x="19145" y="10038"/>
                  <a:pt x="18926" y="9818"/>
                  <a:pt x="18655" y="9818"/>
                </a:cubicBezTo>
                <a:lnTo>
                  <a:pt x="11291" y="9818"/>
                </a:lnTo>
                <a:lnTo>
                  <a:pt x="11291" y="7364"/>
                </a:lnTo>
                <a:cubicBezTo>
                  <a:pt x="11291" y="7093"/>
                  <a:pt x="11071" y="6873"/>
                  <a:pt x="10800" y="6873"/>
                </a:cubicBezTo>
                <a:cubicBezTo>
                  <a:pt x="10529" y="6873"/>
                  <a:pt x="10309" y="7093"/>
                  <a:pt x="10309" y="7364"/>
                </a:cubicBezTo>
                <a:lnTo>
                  <a:pt x="10309" y="9818"/>
                </a:lnTo>
                <a:lnTo>
                  <a:pt x="2945" y="9818"/>
                </a:lnTo>
                <a:cubicBezTo>
                  <a:pt x="2674" y="9818"/>
                  <a:pt x="2455" y="10038"/>
                  <a:pt x="2455" y="10309"/>
                </a:cubicBezTo>
                <a:lnTo>
                  <a:pt x="2455" y="14236"/>
                </a:lnTo>
                <a:cubicBezTo>
                  <a:pt x="2455" y="14507"/>
                  <a:pt x="2674" y="14727"/>
                  <a:pt x="2945" y="14727"/>
                </a:cubicBezTo>
                <a:moveTo>
                  <a:pt x="8836" y="1964"/>
                </a:moveTo>
                <a:cubicBezTo>
                  <a:pt x="8836" y="1422"/>
                  <a:pt x="9276" y="982"/>
                  <a:pt x="9818" y="982"/>
                </a:cubicBezTo>
                <a:lnTo>
                  <a:pt x="11782" y="982"/>
                </a:lnTo>
                <a:cubicBezTo>
                  <a:pt x="12324" y="982"/>
                  <a:pt x="12764" y="1422"/>
                  <a:pt x="12764" y="1964"/>
                </a:cubicBezTo>
                <a:lnTo>
                  <a:pt x="12764" y="3927"/>
                </a:lnTo>
                <a:cubicBezTo>
                  <a:pt x="12764" y="4469"/>
                  <a:pt x="12324" y="4909"/>
                  <a:pt x="11782" y="4909"/>
                </a:cubicBezTo>
                <a:lnTo>
                  <a:pt x="9818" y="4909"/>
                </a:lnTo>
                <a:cubicBezTo>
                  <a:pt x="9276" y="4909"/>
                  <a:pt x="8836" y="4469"/>
                  <a:pt x="8836" y="3927"/>
                </a:cubicBezTo>
                <a:cubicBezTo>
                  <a:pt x="8836" y="3927"/>
                  <a:pt x="8836" y="1964"/>
                  <a:pt x="8836" y="1964"/>
                </a:cubicBezTo>
                <a:close/>
                <a:moveTo>
                  <a:pt x="9818" y="5891"/>
                </a:moveTo>
                <a:lnTo>
                  <a:pt x="11782" y="5891"/>
                </a:lnTo>
                <a:cubicBezTo>
                  <a:pt x="12866" y="5891"/>
                  <a:pt x="13745" y="5012"/>
                  <a:pt x="13745" y="3927"/>
                </a:cubicBezTo>
                <a:lnTo>
                  <a:pt x="13745" y="1964"/>
                </a:lnTo>
                <a:cubicBezTo>
                  <a:pt x="13745" y="879"/>
                  <a:pt x="12866" y="0"/>
                  <a:pt x="11782" y="0"/>
                </a:cubicBezTo>
                <a:lnTo>
                  <a:pt x="9818" y="0"/>
                </a:lnTo>
                <a:cubicBezTo>
                  <a:pt x="8734" y="0"/>
                  <a:pt x="7855" y="879"/>
                  <a:pt x="7855" y="1964"/>
                </a:cubicBezTo>
                <a:lnTo>
                  <a:pt x="7855" y="3927"/>
                </a:lnTo>
                <a:cubicBezTo>
                  <a:pt x="7855" y="5012"/>
                  <a:pt x="8734" y="5891"/>
                  <a:pt x="98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7" name="Shape 2697"/>
          <p:cNvSpPr/>
          <p:nvPr/>
        </p:nvSpPr>
        <p:spPr>
          <a:xfrm>
            <a:off x="4717310"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7020" y="13745"/>
                </a:moveTo>
                <a:lnTo>
                  <a:pt x="4860" y="13745"/>
                </a:lnTo>
                <a:lnTo>
                  <a:pt x="4860" y="15709"/>
                </a:lnTo>
                <a:lnTo>
                  <a:pt x="7020" y="15709"/>
                </a:lnTo>
                <a:cubicBezTo>
                  <a:pt x="7020" y="15709"/>
                  <a:pt x="7020" y="13745"/>
                  <a:pt x="7020" y="13745"/>
                </a:cubicBezTo>
                <a:close/>
                <a:moveTo>
                  <a:pt x="5400" y="10800"/>
                </a:moveTo>
                <a:lnTo>
                  <a:pt x="3240" y="10800"/>
                </a:lnTo>
                <a:lnTo>
                  <a:pt x="3240" y="12764"/>
                </a:lnTo>
                <a:lnTo>
                  <a:pt x="5400" y="12764"/>
                </a:lnTo>
                <a:cubicBezTo>
                  <a:pt x="5400" y="12764"/>
                  <a:pt x="5400" y="10800"/>
                  <a:pt x="5400" y="10800"/>
                </a:cubicBezTo>
                <a:close/>
                <a:moveTo>
                  <a:pt x="5940" y="18655"/>
                </a:moveTo>
                <a:lnTo>
                  <a:pt x="15660" y="18655"/>
                </a:lnTo>
                <a:lnTo>
                  <a:pt x="15660" y="16691"/>
                </a:lnTo>
                <a:lnTo>
                  <a:pt x="5940" y="16691"/>
                </a:lnTo>
                <a:cubicBezTo>
                  <a:pt x="5940" y="16691"/>
                  <a:pt x="5940" y="18655"/>
                  <a:pt x="5940" y="18655"/>
                </a:cubicBezTo>
                <a:close/>
                <a:moveTo>
                  <a:pt x="20520" y="19636"/>
                </a:moveTo>
                <a:cubicBezTo>
                  <a:pt x="20520" y="20179"/>
                  <a:pt x="20036" y="20618"/>
                  <a:pt x="19440" y="20618"/>
                </a:cubicBezTo>
                <a:lnTo>
                  <a:pt x="2160" y="20618"/>
                </a:lnTo>
                <a:cubicBezTo>
                  <a:pt x="1564" y="20618"/>
                  <a:pt x="1080" y="20179"/>
                  <a:pt x="1080" y="19636"/>
                </a:cubicBezTo>
                <a:lnTo>
                  <a:pt x="1080" y="9818"/>
                </a:lnTo>
                <a:cubicBezTo>
                  <a:pt x="1080" y="9276"/>
                  <a:pt x="1564" y="8836"/>
                  <a:pt x="2160" y="8836"/>
                </a:cubicBezTo>
                <a:lnTo>
                  <a:pt x="19440" y="8836"/>
                </a:lnTo>
                <a:cubicBezTo>
                  <a:pt x="20036" y="8836"/>
                  <a:pt x="20520" y="9276"/>
                  <a:pt x="20520" y="9818"/>
                </a:cubicBezTo>
                <a:cubicBezTo>
                  <a:pt x="20520" y="9818"/>
                  <a:pt x="20520" y="19636"/>
                  <a:pt x="20520" y="19636"/>
                </a:cubicBezTo>
                <a:close/>
                <a:moveTo>
                  <a:pt x="19440" y="7855"/>
                </a:moveTo>
                <a:lnTo>
                  <a:pt x="2160" y="7855"/>
                </a:lnTo>
                <a:cubicBezTo>
                  <a:pt x="967" y="7855"/>
                  <a:pt x="0" y="8734"/>
                  <a:pt x="0" y="9818"/>
                </a:cubicBezTo>
                <a:lnTo>
                  <a:pt x="0" y="19636"/>
                </a:lnTo>
                <a:cubicBezTo>
                  <a:pt x="0" y="20721"/>
                  <a:pt x="967" y="21600"/>
                  <a:pt x="2160" y="21600"/>
                </a:cubicBezTo>
                <a:lnTo>
                  <a:pt x="19440" y="21600"/>
                </a:lnTo>
                <a:cubicBezTo>
                  <a:pt x="20633" y="21600"/>
                  <a:pt x="21600" y="20721"/>
                  <a:pt x="21600" y="19636"/>
                </a:cubicBezTo>
                <a:lnTo>
                  <a:pt x="21600" y="9818"/>
                </a:lnTo>
                <a:cubicBezTo>
                  <a:pt x="21600" y="8734"/>
                  <a:pt x="20633" y="7855"/>
                  <a:pt x="19440" y="7855"/>
                </a:cubicBezTo>
                <a:moveTo>
                  <a:pt x="16200" y="12764"/>
                </a:moveTo>
                <a:lnTo>
                  <a:pt x="18360" y="12764"/>
                </a:lnTo>
                <a:lnTo>
                  <a:pt x="18360" y="10800"/>
                </a:lnTo>
                <a:lnTo>
                  <a:pt x="16200" y="10800"/>
                </a:lnTo>
                <a:cubicBezTo>
                  <a:pt x="16200" y="10800"/>
                  <a:pt x="16200" y="12764"/>
                  <a:pt x="16200" y="12764"/>
                </a:cubicBezTo>
                <a:close/>
                <a:moveTo>
                  <a:pt x="14580" y="15709"/>
                </a:moveTo>
                <a:lnTo>
                  <a:pt x="16740" y="15709"/>
                </a:lnTo>
                <a:lnTo>
                  <a:pt x="16740" y="13745"/>
                </a:lnTo>
                <a:lnTo>
                  <a:pt x="14580" y="13745"/>
                </a:lnTo>
                <a:cubicBezTo>
                  <a:pt x="14580" y="13745"/>
                  <a:pt x="14580" y="15709"/>
                  <a:pt x="14580" y="15709"/>
                </a:cubicBezTo>
                <a:close/>
                <a:moveTo>
                  <a:pt x="10800" y="0"/>
                </a:moveTo>
                <a:lnTo>
                  <a:pt x="6480" y="3927"/>
                </a:lnTo>
                <a:lnTo>
                  <a:pt x="15120" y="3927"/>
                </a:lnTo>
                <a:cubicBezTo>
                  <a:pt x="15120" y="3927"/>
                  <a:pt x="10800" y="0"/>
                  <a:pt x="10800" y="0"/>
                </a:cubicBezTo>
                <a:close/>
                <a:moveTo>
                  <a:pt x="8640" y="10800"/>
                </a:moveTo>
                <a:lnTo>
                  <a:pt x="6480" y="10800"/>
                </a:lnTo>
                <a:lnTo>
                  <a:pt x="6480" y="12764"/>
                </a:lnTo>
                <a:lnTo>
                  <a:pt x="8640" y="12764"/>
                </a:lnTo>
                <a:cubicBezTo>
                  <a:pt x="8640" y="12764"/>
                  <a:pt x="8640" y="10800"/>
                  <a:pt x="8640" y="10800"/>
                </a:cubicBezTo>
                <a:close/>
                <a:moveTo>
                  <a:pt x="11340" y="15709"/>
                </a:moveTo>
                <a:lnTo>
                  <a:pt x="13500" y="15709"/>
                </a:lnTo>
                <a:lnTo>
                  <a:pt x="13500" y="13745"/>
                </a:lnTo>
                <a:lnTo>
                  <a:pt x="11340" y="13745"/>
                </a:lnTo>
                <a:cubicBezTo>
                  <a:pt x="11340" y="13745"/>
                  <a:pt x="11340" y="15709"/>
                  <a:pt x="11340" y="15709"/>
                </a:cubicBezTo>
                <a:close/>
                <a:moveTo>
                  <a:pt x="15120" y="10800"/>
                </a:moveTo>
                <a:lnTo>
                  <a:pt x="12960" y="10800"/>
                </a:lnTo>
                <a:lnTo>
                  <a:pt x="12960" y="12764"/>
                </a:lnTo>
                <a:lnTo>
                  <a:pt x="15120" y="12764"/>
                </a:lnTo>
                <a:cubicBezTo>
                  <a:pt x="15120" y="12764"/>
                  <a:pt x="15120" y="10800"/>
                  <a:pt x="15120" y="10800"/>
                </a:cubicBezTo>
                <a:close/>
                <a:moveTo>
                  <a:pt x="11880" y="10800"/>
                </a:moveTo>
                <a:lnTo>
                  <a:pt x="9720" y="10800"/>
                </a:lnTo>
                <a:lnTo>
                  <a:pt x="9720" y="12764"/>
                </a:lnTo>
                <a:lnTo>
                  <a:pt x="11880" y="12764"/>
                </a:lnTo>
                <a:cubicBezTo>
                  <a:pt x="11880" y="12764"/>
                  <a:pt x="11880" y="10800"/>
                  <a:pt x="11880" y="10800"/>
                </a:cubicBezTo>
                <a:close/>
                <a:moveTo>
                  <a:pt x="8100" y="15709"/>
                </a:moveTo>
                <a:lnTo>
                  <a:pt x="10260" y="15709"/>
                </a:lnTo>
                <a:lnTo>
                  <a:pt x="10260" y="13745"/>
                </a:lnTo>
                <a:lnTo>
                  <a:pt x="8100" y="13745"/>
                </a:lnTo>
                <a:cubicBezTo>
                  <a:pt x="8100" y="13745"/>
                  <a:pt x="8100" y="15709"/>
                  <a:pt x="8100"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8" name="Shape 2698"/>
          <p:cNvSpPr/>
          <p:nvPr/>
        </p:nvSpPr>
        <p:spPr>
          <a:xfrm>
            <a:off x="5117257"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5940" y="10800"/>
                </a:moveTo>
                <a:lnTo>
                  <a:pt x="15660" y="10800"/>
                </a:lnTo>
                <a:lnTo>
                  <a:pt x="15660" y="8836"/>
                </a:lnTo>
                <a:lnTo>
                  <a:pt x="5940" y="8836"/>
                </a:lnTo>
                <a:cubicBezTo>
                  <a:pt x="5940" y="8836"/>
                  <a:pt x="5940" y="10800"/>
                  <a:pt x="5940" y="10800"/>
                </a:cubicBezTo>
                <a:close/>
                <a:moveTo>
                  <a:pt x="5400" y="2945"/>
                </a:moveTo>
                <a:lnTo>
                  <a:pt x="3240" y="2945"/>
                </a:lnTo>
                <a:lnTo>
                  <a:pt x="3240" y="4909"/>
                </a:lnTo>
                <a:lnTo>
                  <a:pt x="5400" y="4909"/>
                </a:lnTo>
                <a:cubicBezTo>
                  <a:pt x="5400" y="4909"/>
                  <a:pt x="5400" y="2945"/>
                  <a:pt x="5400" y="2945"/>
                </a:cubicBezTo>
                <a:close/>
                <a:moveTo>
                  <a:pt x="7020" y="5891"/>
                </a:moveTo>
                <a:lnTo>
                  <a:pt x="4860" y="5891"/>
                </a:lnTo>
                <a:lnTo>
                  <a:pt x="4860" y="7855"/>
                </a:lnTo>
                <a:lnTo>
                  <a:pt x="7020" y="7855"/>
                </a:lnTo>
                <a:cubicBezTo>
                  <a:pt x="7020" y="7855"/>
                  <a:pt x="7020" y="5891"/>
                  <a:pt x="7020" y="5891"/>
                </a:cubicBezTo>
                <a:close/>
                <a:moveTo>
                  <a:pt x="14580" y="7855"/>
                </a:moveTo>
                <a:lnTo>
                  <a:pt x="16740" y="7855"/>
                </a:lnTo>
                <a:lnTo>
                  <a:pt x="16740" y="5891"/>
                </a:lnTo>
                <a:lnTo>
                  <a:pt x="14580" y="5891"/>
                </a:lnTo>
                <a:cubicBezTo>
                  <a:pt x="14580" y="5891"/>
                  <a:pt x="14580" y="7855"/>
                  <a:pt x="14580" y="7855"/>
                </a:cubicBezTo>
                <a:close/>
                <a:moveTo>
                  <a:pt x="20520" y="11782"/>
                </a:moveTo>
                <a:cubicBezTo>
                  <a:pt x="20520" y="12324"/>
                  <a:pt x="20036" y="12764"/>
                  <a:pt x="19440" y="12764"/>
                </a:cubicBezTo>
                <a:lnTo>
                  <a:pt x="2160" y="12764"/>
                </a:lnTo>
                <a:cubicBezTo>
                  <a:pt x="1564" y="12764"/>
                  <a:pt x="1080" y="12324"/>
                  <a:pt x="1080" y="11782"/>
                </a:cubicBezTo>
                <a:lnTo>
                  <a:pt x="1080" y="1964"/>
                </a:lnTo>
                <a:cubicBezTo>
                  <a:pt x="1080" y="1422"/>
                  <a:pt x="1564" y="982"/>
                  <a:pt x="2160" y="982"/>
                </a:cubicBezTo>
                <a:lnTo>
                  <a:pt x="19440" y="982"/>
                </a:lnTo>
                <a:cubicBezTo>
                  <a:pt x="20036" y="982"/>
                  <a:pt x="20520" y="1422"/>
                  <a:pt x="20520" y="1964"/>
                </a:cubicBezTo>
                <a:cubicBezTo>
                  <a:pt x="20520" y="1964"/>
                  <a:pt x="20520" y="11782"/>
                  <a:pt x="20520" y="11782"/>
                </a:cubicBezTo>
                <a:close/>
                <a:moveTo>
                  <a:pt x="19440" y="0"/>
                </a:moveTo>
                <a:lnTo>
                  <a:pt x="2160" y="0"/>
                </a:lnTo>
                <a:cubicBezTo>
                  <a:pt x="967" y="0"/>
                  <a:pt x="0" y="879"/>
                  <a:pt x="0" y="1964"/>
                </a:cubicBezTo>
                <a:lnTo>
                  <a:pt x="0" y="11782"/>
                </a:lnTo>
                <a:cubicBezTo>
                  <a:pt x="0" y="12866"/>
                  <a:pt x="967" y="13745"/>
                  <a:pt x="2160" y="13745"/>
                </a:cubicBezTo>
                <a:lnTo>
                  <a:pt x="19440" y="13745"/>
                </a:lnTo>
                <a:cubicBezTo>
                  <a:pt x="20633" y="13745"/>
                  <a:pt x="21600" y="12866"/>
                  <a:pt x="21600" y="11782"/>
                </a:cubicBezTo>
                <a:lnTo>
                  <a:pt x="21600" y="1964"/>
                </a:lnTo>
                <a:cubicBezTo>
                  <a:pt x="21600" y="879"/>
                  <a:pt x="20633" y="0"/>
                  <a:pt x="19440" y="0"/>
                </a:cubicBezTo>
                <a:moveTo>
                  <a:pt x="16200" y="4909"/>
                </a:moveTo>
                <a:lnTo>
                  <a:pt x="18360" y="4909"/>
                </a:lnTo>
                <a:lnTo>
                  <a:pt x="18360" y="2945"/>
                </a:lnTo>
                <a:lnTo>
                  <a:pt x="16200" y="2945"/>
                </a:lnTo>
                <a:cubicBezTo>
                  <a:pt x="16200" y="2945"/>
                  <a:pt x="16200" y="4909"/>
                  <a:pt x="16200" y="4909"/>
                </a:cubicBezTo>
                <a:close/>
                <a:moveTo>
                  <a:pt x="8640" y="2945"/>
                </a:moveTo>
                <a:lnTo>
                  <a:pt x="6480" y="2945"/>
                </a:lnTo>
                <a:lnTo>
                  <a:pt x="6480" y="4909"/>
                </a:lnTo>
                <a:lnTo>
                  <a:pt x="8640" y="4909"/>
                </a:lnTo>
                <a:cubicBezTo>
                  <a:pt x="8640" y="4909"/>
                  <a:pt x="8640" y="2945"/>
                  <a:pt x="8640" y="2945"/>
                </a:cubicBezTo>
                <a:close/>
                <a:moveTo>
                  <a:pt x="11340" y="7855"/>
                </a:moveTo>
                <a:lnTo>
                  <a:pt x="13500" y="7855"/>
                </a:lnTo>
                <a:lnTo>
                  <a:pt x="13500" y="5891"/>
                </a:lnTo>
                <a:lnTo>
                  <a:pt x="11340" y="5891"/>
                </a:lnTo>
                <a:cubicBezTo>
                  <a:pt x="11340" y="5891"/>
                  <a:pt x="11340" y="7855"/>
                  <a:pt x="11340" y="7855"/>
                </a:cubicBezTo>
                <a:close/>
                <a:moveTo>
                  <a:pt x="10800" y="21600"/>
                </a:moveTo>
                <a:lnTo>
                  <a:pt x="15120" y="17673"/>
                </a:lnTo>
                <a:lnTo>
                  <a:pt x="6480" y="17673"/>
                </a:lnTo>
                <a:cubicBezTo>
                  <a:pt x="6480" y="17673"/>
                  <a:pt x="10800" y="21600"/>
                  <a:pt x="10800" y="21600"/>
                </a:cubicBezTo>
                <a:close/>
                <a:moveTo>
                  <a:pt x="15120" y="2945"/>
                </a:moveTo>
                <a:lnTo>
                  <a:pt x="12960" y="2945"/>
                </a:lnTo>
                <a:lnTo>
                  <a:pt x="12960" y="4909"/>
                </a:lnTo>
                <a:lnTo>
                  <a:pt x="15120" y="4909"/>
                </a:lnTo>
                <a:cubicBezTo>
                  <a:pt x="15120" y="4909"/>
                  <a:pt x="15120" y="2945"/>
                  <a:pt x="15120" y="2945"/>
                </a:cubicBezTo>
                <a:close/>
                <a:moveTo>
                  <a:pt x="8100" y="7855"/>
                </a:moveTo>
                <a:lnTo>
                  <a:pt x="10260" y="7855"/>
                </a:lnTo>
                <a:lnTo>
                  <a:pt x="10260" y="5891"/>
                </a:lnTo>
                <a:lnTo>
                  <a:pt x="8100" y="5891"/>
                </a:lnTo>
                <a:cubicBezTo>
                  <a:pt x="8100" y="5891"/>
                  <a:pt x="8100" y="7855"/>
                  <a:pt x="8100" y="7855"/>
                </a:cubicBezTo>
                <a:close/>
                <a:moveTo>
                  <a:pt x="11880" y="2945"/>
                </a:moveTo>
                <a:lnTo>
                  <a:pt x="9720" y="2945"/>
                </a:lnTo>
                <a:lnTo>
                  <a:pt x="9720" y="4909"/>
                </a:lnTo>
                <a:lnTo>
                  <a:pt x="11880" y="4909"/>
                </a:lnTo>
                <a:cubicBezTo>
                  <a:pt x="11880" y="4909"/>
                  <a:pt x="11880" y="2945"/>
                  <a:pt x="1188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9" name="Shape 2699"/>
          <p:cNvSpPr/>
          <p:nvPr/>
        </p:nvSpPr>
        <p:spPr>
          <a:xfrm>
            <a:off x="5507680" y="188884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0" name="Shape 2700"/>
          <p:cNvSpPr/>
          <p:nvPr/>
        </p:nvSpPr>
        <p:spPr>
          <a:xfrm>
            <a:off x="5907625"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4" y="20618"/>
                </a:moveTo>
                <a:lnTo>
                  <a:pt x="15069" y="13232"/>
                </a:lnTo>
                <a:lnTo>
                  <a:pt x="15063" y="13228"/>
                </a:lnTo>
                <a:cubicBezTo>
                  <a:pt x="15472" y="12512"/>
                  <a:pt x="15709" y="11684"/>
                  <a:pt x="15709" y="10800"/>
                </a:cubicBezTo>
                <a:cubicBezTo>
                  <a:pt x="15709" y="9192"/>
                  <a:pt x="14932" y="7768"/>
                  <a:pt x="13737" y="6873"/>
                </a:cubicBezTo>
                <a:lnTo>
                  <a:pt x="19796" y="6873"/>
                </a:lnTo>
                <a:cubicBezTo>
                  <a:pt x="20322" y="8076"/>
                  <a:pt x="20618" y="9403"/>
                  <a:pt x="20618" y="10800"/>
                </a:cubicBezTo>
                <a:cubicBezTo>
                  <a:pt x="20618" y="16221"/>
                  <a:pt x="16225" y="20615"/>
                  <a:pt x="10804" y="20618"/>
                </a:cubicBezTo>
                <a:moveTo>
                  <a:pt x="9708" y="20554"/>
                </a:moveTo>
                <a:cubicBezTo>
                  <a:pt x="4800" y="20010"/>
                  <a:pt x="982" y="15853"/>
                  <a:pt x="982" y="10800"/>
                </a:cubicBezTo>
                <a:cubicBezTo>
                  <a:pt x="982" y="9010"/>
                  <a:pt x="1468" y="7337"/>
                  <a:pt x="2305" y="5892"/>
                </a:cubicBezTo>
                <a:lnTo>
                  <a:pt x="6452" y="13076"/>
                </a:lnTo>
                <a:cubicBezTo>
                  <a:pt x="7273" y="14640"/>
                  <a:pt x="8911" y="15709"/>
                  <a:pt x="10800" y="15709"/>
                </a:cubicBezTo>
                <a:cubicBezTo>
                  <a:pt x="11487" y="15709"/>
                  <a:pt x="12141" y="15567"/>
                  <a:pt x="12734" y="15312"/>
                </a:cubicBezTo>
                <a:cubicBezTo>
                  <a:pt x="12734" y="15312"/>
                  <a:pt x="9708" y="20554"/>
                  <a:pt x="9708" y="20554"/>
                </a:cubicBezTo>
                <a:close/>
                <a:moveTo>
                  <a:pt x="7315" y="12607"/>
                </a:moveTo>
                <a:cubicBezTo>
                  <a:pt x="7034" y="12065"/>
                  <a:pt x="6873" y="11452"/>
                  <a:pt x="6873" y="10800"/>
                </a:cubicBezTo>
                <a:cubicBezTo>
                  <a:pt x="6873" y="8631"/>
                  <a:pt x="8631" y="6873"/>
                  <a:pt x="10800" y="6873"/>
                </a:cubicBezTo>
                <a:cubicBezTo>
                  <a:pt x="12969" y="6873"/>
                  <a:pt x="14727" y="8631"/>
                  <a:pt x="14727" y="10800"/>
                </a:cubicBezTo>
                <a:cubicBezTo>
                  <a:pt x="14727" y="12969"/>
                  <a:pt x="12969" y="14727"/>
                  <a:pt x="10800" y="14727"/>
                </a:cubicBezTo>
                <a:cubicBezTo>
                  <a:pt x="9318" y="14727"/>
                  <a:pt x="8029" y="13906"/>
                  <a:pt x="7360" y="12694"/>
                </a:cubicBezTo>
                <a:lnTo>
                  <a:pt x="7364" y="12691"/>
                </a:lnTo>
                <a:cubicBezTo>
                  <a:pt x="7364" y="12691"/>
                  <a:pt x="7315" y="12607"/>
                  <a:pt x="7315" y="12607"/>
                </a:cubicBezTo>
                <a:close/>
                <a:moveTo>
                  <a:pt x="10800" y="982"/>
                </a:moveTo>
                <a:cubicBezTo>
                  <a:pt x="14432" y="982"/>
                  <a:pt x="17596" y="2959"/>
                  <a:pt x="19294" y="5891"/>
                </a:cubicBezTo>
                <a:lnTo>
                  <a:pt x="10800" y="5891"/>
                </a:lnTo>
                <a:cubicBezTo>
                  <a:pt x="8290" y="5891"/>
                  <a:pt x="6223" y="7776"/>
                  <a:pt x="5930" y="10207"/>
                </a:cubicBezTo>
                <a:lnTo>
                  <a:pt x="2909" y="4975"/>
                </a:lnTo>
                <a:cubicBezTo>
                  <a:pt x="4697" y="2557"/>
                  <a:pt x="7561" y="982"/>
                  <a:pt x="10800" y="982"/>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1" name="Shape 2701"/>
          <p:cNvSpPr/>
          <p:nvPr/>
        </p:nvSpPr>
        <p:spPr>
          <a:xfrm>
            <a:off x="6307571" y="1922173"/>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6724" y="15100"/>
                </a:moveTo>
                <a:lnTo>
                  <a:pt x="17582" y="15100"/>
                </a:lnTo>
                <a:lnTo>
                  <a:pt x="17582" y="8844"/>
                </a:lnTo>
                <a:lnTo>
                  <a:pt x="16724" y="8844"/>
                </a:lnTo>
                <a:cubicBezTo>
                  <a:pt x="16724" y="8844"/>
                  <a:pt x="16724" y="15100"/>
                  <a:pt x="16724" y="15100"/>
                </a:cubicBezTo>
                <a:close/>
                <a:moveTo>
                  <a:pt x="13336" y="15100"/>
                </a:moveTo>
                <a:lnTo>
                  <a:pt x="14199" y="15100"/>
                </a:lnTo>
                <a:lnTo>
                  <a:pt x="14199" y="11633"/>
                </a:lnTo>
                <a:lnTo>
                  <a:pt x="15565" y="11633"/>
                </a:lnTo>
                <a:lnTo>
                  <a:pt x="15565" y="10047"/>
                </a:lnTo>
                <a:lnTo>
                  <a:pt x="14199" y="10047"/>
                </a:lnTo>
                <a:lnTo>
                  <a:pt x="14199" y="8077"/>
                </a:lnTo>
                <a:lnTo>
                  <a:pt x="15661" y="8077"/>
                </a:lnTo>
                <a:lnTo>
                  <a:pt x="15661" y="6478"/>
                </a:lnTo>
                <a:lnTo>
                  <a:pt x="13336" y="6478"/>
                </a:lnTo>
                <a:cubicBezTo>
                  <a:pt x="13336" y="6478"/>
                  <a:pt x="13336" y="15100"/>
                  <a:pt x="13336" y="15100"/>
                </a:cubicBezTo>
                <a:close/>
                <a:moveTo>
                  <a:pt x="20618" y="12960"/>
                </a:moveTo>
                <a:cubicBezTo>
                  <a:pt x="20618" y="16538"/>
                  <a:pt x="19299" y="19440"/>
                  <a:pt x="17673" y="19440"/>
                </a:cubicBezTo>
                <a:lnTo>
                  <a:pt x="7855" y="19440"/>
                </a:lnTo>
                <a:cubicBezTo>
                  <a:pt x="9481" y="19440"/>
                  <a:pt x="10800" y="16538"/>
                  <a:pt x="10800" y="12960"/>
                </a:cubicBezTo>
                <a:lnTo>
                  <a:pt x="10800" y="8640"/>
                </a:lnTo>
                <a:cubicBezTo>
                  <a:pt x="10800" y="5062"/>
                  <a:pt x="12119" y="2160"/>
                  <a:pt x="13745" y="2160"/>
                </a:cubicBezTo>
                <a:lnTo>
                  <a:pt x="17673" y="2160"/>
                </a:lnTo>
                <a:cubicBezTo>
                  <a:pt x="19299" y="2160"/>
                  <a:pt x="20618" y="5062"/>
                  <a:pt x="20618" y="8640"/>
                </a:cubicBezTo>
                <a:cubicBezTo>
                  <a:pt x="20618" y="8640"/>
                  <a:pt x="20618" y="12960"/>
                  <a:pt x="20618" y="12960"/>
                </a:cubicBezTo>
                <a:close/>
                <a:moveTo>
                  <a:pt x="6607" y="15121"/>
                </a:moveTo>
                <a:lnTo>
                  <a:pt x="5673" y="15121"/>
                </a:lnTo>
                <a:lnTo>
                  <a:pt x="5350" y="11399"/>
                </a:lnTo>
                <a:cubicBezTo>
                  <a:pt x="5276" y="10527"/>
                  <a:pt x="5214" y="9718"/>
                  <a:pt x="5169" y="8730"/>
                </a:cubicBezTo>
                <a:lnTo>
                  <a:pt x="5157" y="8730"/>
                </a:lnTo>
                <a:cubicBezTo>
                  <a:pt x="5090" y="9705"/>
                  <a:pt x="5028" y="10527"/>
                  <a:pt x="4937" y="11399"/>
                </a:cubicBezTo>
                <a:lnTo>
                  <a:pt x="4574" y="15121"/>
                </a:lnTo>
                <a:lnTo>
                  <a:pt x="3629" y="15121"/>
                </a:lnTo>
                <a:lnTo>
                  <a:pt x="2723" y="6471"/>
                </a:lnTo>
                <a:lnTo>
                  <a:pt x="3646" y="6471"/>
                </a:lnTo>
                <a:lnTo>
                  <a:pt x="3935" y="10039"/>
                </a:lnTo>
                <a:cubicBezTo>
                  <a:pt x="4020" y="11066"/>
                  <a:pt x="4099" y="12182"/>
                  <a:pt x="4161" y="13055"/>
                </a:cubicBezTo>
                <a:lnTo>
                  <a:pt x="4172" y="13055"/>
                </a:lnTo>
                <a:cubicBezTo>
                  <a:pt x="4235" y="12118"/>
                  <a:pt x="4325" y="11078"/>
                  <a:pt x="4422" y="10013"/>
                </a:cubicBezTo>
                <a:lnTo>
                  <a:pt x="4744" y="6471"/>
                </a:lnTo>
                <a:lnTo>
                  <a:pt x="5662" y="6471"/>
                </a:lnTo>
                <a:lnTo>
                  <a:pt x="5967" y="10117"/>
                </a:lnTo>
                <a:cubicBezTo>
                  <a:pt x="6052" y="11130"/>
                  <a:pt x="6114" y="12054"/>
                  <a:pt x="6171" y="13017"/>
                </a:cubicBezTo>
                <a:lnTo>
                  <a:pt x="6182" y="13017"/>
                </a:lnTo>
                <a:cubicBezTo>
                  <a:pt x="6239" y="12054"/>
                  <a:pt x="6324" y="11040"/>
                  <a:pt x="6403" y="10013"/>
                </a:cubicBezTo>
                <a:lnTo>
                  <a:pt x="6715" y="6471"/>
                </a:lnTo>
                <a:lnTo>
                  <a:pt x="7592" y="6471"/>
                </a:lnTo>
                <a:cubicBezTo>
                  <a:pt x="7592" y="6471"/>
                  <a:pt x="6607" y="15121"/>
                  <a:pt x="6607" y="15121"/>
                </a:cubicBezTo>
                <a:close/>
                <a:moveTo>
                  <a:pt x="8940" y="15121"/>
                </a:moveTo>
                <a:lnTo>
                  <a:pt x="8080" y="15121"/>
                </a:lnTo>
                <a:lnTo>
                  <a:pt x="8080" y="8845"/>
                </a:lnTo>
                <a:lnTo>
                  <a:pt x="8940" y="8845"/>
                </a:lnTo>
                <a:cubicBezTo>
                  <a:pt x="8940" y="8845"/>
                  <a:pt x="8940" y="15121"/>
                  <a:pt x="8940" y="15121"/>
                </a:cubicBezTo>
                <a:close/>
                <a:moveTo>
                  <a:pt x="8510" y="6111"/>
                </a:moveTo>
                <a:cubicBezTo>
                  <a:pt x="8788" y="6111"/>
                  <a:pt x="8963" y="6535"/>
                  <a:pt x="8969" y="7100"/>
                </a:cubicBezTo>
                <a:cubicBezTo>
                  <a:pt x="8969" y="7638"/>
                  <a:pt x="8788" y="8076"/>
                  <a:pt x="8505" y="8076"/>
                </a:cubicBezTo>
                <a:cubicBezTo>
                  <a:pt x="8233" y="8076"/>
                  <a:pt x="8052" y="7638"/>
                  <a:pt x="8058" y="7100"/>
                </a:cubicBezTo>
                <a:cubicBezTo>
                  <a:pt x="8052" y="6535"/>
                  <a:pt x="8233" y="6111"/>
                  <a:pt x="8510" y="6111"/>
                </a:cubicBezTo>
                <a:moveTo>
                  <a:pt x="17673" y="0"/>
                </a:moveTo>
                <a:lnTo>
                  <a:pt x="3927" y="0"/>
                </a:lnTo>
                <a:cubicBezTo>
                  <a:pt x="1758" y="0"/>
                  <a:pt x="0" y="3869"/>
                  <a:pt x="0" y="8640"/>
                </a:cubicBezTo>
                <a:lnTo>
                  <a:pt x="0" y="12960"/>
                </a:lnTo>
                <a:cubicBezTo>
                  <a:pt x="0" y="17731"/>
                  <a:pt x="1758" y="21600"/>
                  <a:pt x="3927" y="21600"/>
                </a:cubicBezTo>
                <a:lnTo>
                  <a:pt x="17673" y="21600"/>
                </a:lnTo>
                <a:cubicBezTo>
                  <a:pt x="19842" y="21600"/>
                  <a:pt x="21600" y="17731"/>
                  <a:pt x="21600" y="12960"/>
                </a:cubicBezTo>
                <a:lnTo>
                  <a:pt x="21600" y="8640"/>
                </a:lnTo>
                <a:cubicBezTo>
                  <a:pt x="21600" y="3869"/>
                  <a:pt x="19842" y="0"/>
                  <a:pt x="17673" y="0"/>
                </a:cubicBezTo>
                <a:moveTo>
                  <a:pt x="17153" y="6119"/>
                </a:moveTo>
                <a:cubicBezTo>
                  <a:pt x="16876" y="6119"/>
                  <a:pt x="16696" y="6543"/>
                  <a:pt x="16701" y="7104"/>
                </a:cubicBezTo>
                <a:cubicBezTo>
                  <a:pt x="16696" y="7642"/>
                  <a:pt x="16876" y="8077"/>
                  <a:pt x="17147" y="8077"/>
                </a:cubicBezTo>
                <a:cubicBezTo>
                  <a:pt x="17429" y="8077"/>
                  <a:pt x="17610" y="7642"/>
                  <a:pt x="17610" y="7104"/>
                </a:cubicBezTo>
                <a:cubicBezTo>
                  <a:pt x="17604" y="6543"/>
                  <a:pt x="17429" y="6119"/>
                  <a:pt x="17153" y="611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2" name="Shape 2702"/>
          <p:cNvSpPr/>
          <p:nvPr/>
        </p:nvSpPr>
        <p:spPr>
          <a:xfrm>
            <a:off x="6707517" y="1879321"/>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20520"/>
                </a:moveTo>
                <a:cubicBezTo>
                  <a:pt x="7396" y="20520"/>
                  <a:pt x="4399" y="18805"/>
                  <a:pt x="2638" y="16200"/>
                </a:cubicBezTo>
                <a:lnTo>
                  <a:pt x="9966" y="16200"/>
                </a:lnTo>
                <a:cubicBezTo>
                  <a:pt x="10478" y="17309"/>
                  <a:pt x="12251" y="18900"/>
                  <a:pt x="13500" y="18900"/>
                </a:cubicBezTo>
                <a:cubicBezTo>
                  <a:pt x="14973" y="18900"/>
                  <a:pt x="16200" y="17820"/>
                  <a:pt x="16200" y="15660"/>
                </a:cubicBezTo>
                <a:cubicBezTo>
                  <a:pt x="16200" y="13500"/>
                  <a:pt x="14973" y="12420"/>
                  <a:pt x="13500" y="12420"/>
                </a:cubicBezTo>
                <a:cubicBezTo>
                  <a:pt x="12241" y="12420"/>
                  <a:pt x="10447" y="13973"/>
                  <a:pt x="9953" y="15120"/>
                </a:cubicBezTo>
                <a:lnTo>
                  <a:pt x="2014" y="15120"/>
                </a:lnTo>
                <a:cubicBezTo>
                  <a:pt x="1359" y="13817"/>
                  <a:pt x="982" y="12354"/>
                  <a:pt x="982" y="10800"/>
                </a:cubicBezTo>
                <a:cubicBezTo>
                  <a:pt x="982" y="9246"/>
                  <a:pt x="1359" y="7783"/>
                  <a:pt x="2014" y="6480"/>
                </a:cubicBezTo>
                <a:lnTo>
                  <a:pt x="9966" y="6480"/>
                </a:lnTo>
                <a:cubicBezTo>
                  <a:pt x="10478" y="7589"/>
                  <a:pt x="12252" y="9180"/>
                  <a:pt x="13500" y="9180"/>
                </a:cubicBezTo>
                <a:cubicBezTo>
                  <a:pt x="14973" y="9180"/>
                  <a:pt x="16200" y="8100"/>
                  <a:pt x="16200" y="5940"/>
                </a:cubicBezTo>
                <a:cubicBezTo>
                  <a:pt x="16200" y="3780"/>
                  <a:pt x="14973" y="2700"/>
                  <a:pt x="13500" y="2700"/>
                </a:cubicBezTo>
                <a:cubicBezTo>
                  <a:pt x="12241" y="2700"/>
                  <a:pt x="10447" y="4253"/>
                  <a:pt x="9953" y="5400"/>
                </a:cubicBezTo>
                <a:lnTo>
                  <a:pt x="2638" y="5400"/>
                </a:lnTo>
                <a:cubicBezTo>
                  <a:pt x="4399" y="2796"/>
                  <a:pt x="7396" y="1080"/>
                  <a:pt x="10800" y="1080"/>
                </a:cubicBezTo>
                <a:cubicBezTo>
                  <a:pt x="16038" y="1080"/>
                  <a:pt x="20306" y="5145"/>
                  <a:pt x="20590" y="10260"/>
                </a:cubicBezTo>
                <a:lnTo>
                  <a:pt x="10652" y="10260"/>
                </a:lnTo>
                <a:cubicBezTo>
                  <a:pt x="10140" y="9151"/>
                  <a:pt x="8367" y="7560"/>
                  <a:pt x="7118" y="7560"/>
                </a:cubicBezTo>
                <a:cubicBezTo>
                  <a:pt x="5645" y="7560"/>
                  <a:pt x="4418" y="8640"/>
                  <a:pt x="4418" y="10800"/>
                </a:cubicBezTo>
                <a:cubicBezTo>
                  <a:pt x="4418" y="12960"/>
                  <a:pt x="5645" y="14040"/>
                  <a:pt x="7118" y="14040"/>
                </a:cubicBezTo>
                <a:cubicBezTo>
                  <a:pt x="8377" y="14040"/>
                  <a:pt x="10171" y="12488"/>
                  <a:pt x="10665" y="11340"/>
                </a:cubicBezTo>
                <a:lnTo>
                  <a:pt x="20590" y="11340"/>
                </a:lnTo>
                <a:cubicBezTo>
                  <a:pt x="20306" y="16456"/>
                  <a:pt x="16038" y="20520"/>
                  <a:pt x="10800" y="20520"/>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3" name="Shape 2703"/>
          <p:cNvSpPr/>
          <p:nvPr/>
        </p:nvSpPr>
        <p:spPr>
          <a:xfrm>
            <a:off x="7116986" y="1869798"/>
            <a:ext cx="190451" cy="209712"/>
          </a:xfrm>
          <a:custGeom>
            <a:avLst/>
            <a:gdLst/>
            <a:ahLst/>
            <a:cxnLst>
              <a:cxn ang="0">
                <a:pos x="wd2" y="hd2"/>
              </a:cxn>
              <a:cxn ang="5400000">
                <a:pos x="wd2" y="hd2"/>
              </a:cxn>
              <a:cxn ang="10800000">
                <a:pos x="wd2" y="hd2"/>
              </a:cxn>
              <a:cxn ang="16200000">
                <a:pos x="wd2" y="hd2"/>
              </a:cxn>
            </a:cxnLst>
            <a:rect l="0" t="0" r="r" b="b"/>
            <a:pathLst>
              <a:path w="21600" h="21600" extrusionOk="0">
                <a:moveTo>
                  <a:pt x="15660" y="8839"/>
                </a:moveTo>
                <a:cubicBezTo>
                  <a:pt x="15958" y="8839"/>
                  <a:pt x="16200" y="8619"/>
                  <a:pt x="16200" y="8348"/>
                </a:cubicBezTo>
                <a:lnTo>
                  <a:pt x="16200" y="6386"/>
                </a:lnTo>
                <a:cubicBezTo>
                  <a:pt x="16200" y="6115"/>
                  <a:pt x="15958" y="5896"/>
                  <a:pt x="15660" y="5896"/>
                </a:cubicBezTo>
                <a:cubicBezTo>
                  <a:pt x="15362" y="5896"/>
                  <a:pt x="15120" y="6115"/>
                  <a:pt x="15120" y="6386"/>
                </a:cubicBezTo>
                <a:lnTo>
                  <a:pt x="15120" y="8348"/>
                </a:lnTo>
                <a:cubicBezTo>
                  <a:pt x="15120" y="8619"/>
                  <a:pt x="15362" y="8839"/>
                  <a:pt x="15660" y="8839"/>
                </a:cubicBezTo>
                <a:moveTo>
                  <a:pt x="20520" y="17666"/>
                </a:moveTo>
                <a:lnTo>
                  <a:pt x="13048" y="17666"/>
                </a:lnTo>
                <a:cubicBezTo>
                  <a:pt x="12910" y="16942"/>
                  <a:pt x="12848" y="16231"/>
                  <a:pt x="12830" y="15570"/>
                </a:cubicBezTo>
                <a:cubicBezTo>
                  <a:pt x="16149" y="15233"/>
                  <a:pt x="18453" y="14207"/>
                  <a:pt x="18568" y="14155"/>
                </a:cubicBezTo>
                <a:lnTo>
                  <a:pt x="18085" y="13278"/>
                </a:lnTo>
                <a:cubicBezTo>
                  <a:pt x="18059" y="13289"/>
                  <a:pt x="15906" y="14245"/>
                  <a:pt x="12837" y="14581"/>
                </a:cubicBezTo>
                <a:cubicBezTo>
                  <a:pt x="12896" y="13028"/>
                  <a:pt x="13167" y="11927"/>
                  <a:pt x="13173" y="11902"/>
                </a:cubicBezTo>
                <a:lnTo>
                  <a:pt x="13325" y="11301"/>
                </a:lnTo>
                <a:lnTo>
                  <a:pt x="9308" y="11301"/>
                </a:lnTo>
                <a:cubicBezTo>
                  <a:pt x="9741" y="8291"/>
                  <a:pt x="10857" y="5772"/>
                  <a:pt x="11921" y="3934"/>
                </a:cubicBezTo>
                <a:lnTo>
                  <a:pt x="20520" y="3934"/>
                </a:lnTo>
                <a:cubicBezTo>
                  <a:pt x="20520" y="3934"/>
                  <a:pt x="20520" y="17666"/>
                  <a:pt x="20520" y="17666"/>
                </a:cubicBezTo>
                <a:close/>
                <a:moveTo>
                  <a:pt x="10766" y="15678"/>
                </a:moveTo>
                <a:cubicBezTo>
                  <a:pt x="11096" y="15678"/>
                  <a:pt x="11418" y="15668"/>
                  <a:pt x="11734" y="15653"/>
                </a:cubicBezTo>
                <a:cubicBezTo>
                  <a:pt x="11753" y="16291"/>
                  <a:pt x="11808" y="16967"/>
                  <a:pt x="11933" y="17666"/>
                </a:cubicBezTo>
                <a:lnTo>
                  <a:pt x="1080" y="17666"/>
                </a:lnTo>
                <a:lnTo>
                  <a:pt x="1080" y="3934"/>
                </a:lnTo>
                <a:lnTo>
                  <a:pt x="10689" y="3934"/>
                </a:lnTo>
                <a:cubicBezTo>
                  <a:pt x="9598" y="5921"/>
                  <a:pt x="8520" y="8577"/>
                  <a:pt x="8164" y="11742"/>
                </a:cubicBezTo>
                <a:lnTo>
                  <a:pt x="8103" y="12282"/>
                </a:lnTo>
                <a:lnTo>
                  <a:pt x="11993" y="12282"/>
                </a:lnTo>
                <a:cubicBezTo>
                  <a:pt x="11893" y="12823"/>
                  <a:pt x="11771" y="13665"/>
                  <a:pt x="11736" y="14669"/>
                </a:cubicBezTo>
                <a:cubicBezTo>
                  <a:pt x="11418" y="14686"/>
                  <a:pt x="11097" y="14697"/>
                  <a:pt x="10766" y="14697"/>
                </a:cubicBezTo>
                <a:cubicBezTo>
                  <a:pt x="6636" y="14697"/>
                  <a:pt x="3478" y="13292"/>
                  <a:pt x="3447" y="13278"/>
                </a:cubicBezTo>
                <a:lnTo>
                  <a:pt x="2965" y="14155"/>
                </a:lnTo>
                <a:cubicBezTo>
                  <a:pt x="3102" y="14218"/>
                  <a:pt x="6369" y="15678"/>
                  <a:pt x="10766" y="15678"/>
                </a:cubicBezTo>
                <a:moveTo>
                  <a:pt x="20520" y="2954"/>
                </a:moveTo>
                <a:lnTo>
                  <a:pt x="12519" y="2954"/>
                </a:lnTo>
                <a:cubicBezTo>
                  <a:pt x="13470" y="1490"/>
                  <a:pt x="14254" y="661"/>
                  <a:pt x="14273" y="641"/>
                </a:cubicBezTo>
                <a:lnTo>
                  <a:pt x="13456" y="0"/>
                </a:lnTo>
                <a:cubicBezTo>
                  <a:pt x="13366" y="95"/>
                  <a:pt x="12371" y="1151"/>
                  <a:pt x="11260" y="2954"/>
                </a:cubicBezTo>
                <a:lnTo>
                  <a:pt x="1080" y="2954"/>
                </a:lnTo>
                <a:cubicBezTo>
                  <a:pt x="483" y="2954"/>
                  <a:pt x="0" y="3393"/>
                  <a:pt x="0" y="3934"/>
                </a:cubicBezTo>
                <a:lnTo>
                  <a:pt x="0" y="17666"/>
                </a:lnTo>
                <a:cubicBezTo>
                  <a:pt x="0" y="18207"/>
                  <a:pt x="483" y="18646"/>
                  <a:pt x="1080" y="18646"/>
                </a:cubicBezTo>
                <a:lnTo>
                  <a:pt x="12155" y="18646"/>
                </a:lnTo>
                <a:cubicBezTo>
                  <a:pt x="12423" y="19645"/>
                  <a:pt x="12834" y="20653"/>
                  <a:pt x="13465" y="21600"/>
                </a:cubicBezTo>
                <a:lnTo>
                  <a:pt x="14389" y="21092"/>
                </a:lnTo>
                <a:cubicBezTo>
                  <a:pt x="13874" y="20318"/>
                  <a:pt x="13522" y="19485"/>
                  <a:pt x="13281" y="18646"/>
                </a:cubicBezTo>
                <a:lnTo>
                  <a:pt x="20520" y="18646"/>
                </a:lnTo>
                <a:cubicBezTo>
                  <a:pt x="21116" y="18646"/>
                  <a:pt x="21600" y="18207"/>
                  <a:pt x="21600" y="17666"/>
                </a:cubicBezTo>
                <a:lnTo>
                  <a:pt x="21600" y="3934"/>
                </a:lnTo>
                <a:cubicBezTo>
                  <a:pt x="21600" y="3393"/>
                  <a:pt x="21116" y="2954"/>
                  <a:pt x="20520" y="2954"/>
                </a:cubicBezTo>
                <a:moveTo>
                  <a:pt x="5940" y="8839"/>
                </a:moveTo>
                <a:cubicBezTo>
                  <a:pt x="6238" y="8839"/>
                  <a:pt x="6480" y="8619"/>
                  <a:pt x="6480" y="8348"/>
                </a:cubicBezTo>
                <a:lnTo>
                  <a:pt x="6480" y="6386"/>
                </a:lnTo>
                <a:cubicBezTo>
                  <a:pt x="6480" y="6115"/>
                  <a:pt x="6238" y="5896"/>
                  <a:pt x="5940" y="5896"/>
                </a:cubicBezTo>
                <a:cubicBezTo>
                  <a:pt x="5642" y="5896"/>
                  <a:pt x="5400" y="6115"/>
                  <a:pt x="5400" y="6386"/>
                </a:cubicBezTo>
                <a:lnTo>
                  <a:pt x="5400" y="8348"/>
                </a:lnTo>
                <a:cubicBezTo>
                  <a:pt x="5400" y="8619"/>
                  <a:pt x="5642" y="8839"/>
                  <a:pt x="5940" y="88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4" name="Shape 2704"/>
          <p:cNvSpPr/>
          <p:nvPr/>
        </p:nvSpPr>
        <p:spPr>
          <a:xfrm>
            <a:off x="7507409" y="1869799"/>
            <a:ext cx="209495" cy="209491"/>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8"/>
                  <a:pt x="5378" y="982"/>
                  <a:pt x="10800" y="982"/>
                </a:cubicBezTo>
                <a:cubicBezTo>
                  <a:pt x="16223" y="982"/>
                  <a:pt x="20618" y="5378"/>
                  <a:pt x="20618" y="10800"/>
                </a:cubicBezTo>
                <a:cubicBezTo>
                  <a:pt x="20618" y="16222"/>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5628" y="4904"/>
                </a:moveTo>
                <a:lnTo>
                  <a:pt x="14334" y="4904"/>
                </a:lnTo>
                <a:lnTo>
                  <a:pt x="10776" y="9842"/>
                </a:lnTo>
                <a:lnTo>
                  <a:pt x="7337" y="4904"/>
                </a:lnTo>
                <a:lnTo>
                  <a:pt x="5975" y="4904"/>
                </a:lnTo>
                <a:lnTo>
                  <a:pt x="10094" y="10618"/>
                </a:lnTo>
                <a:lnTo>
                  <a:pt x="5736" y="16696"/>
                </a:lnTo>
                <a:lnTo>
                  <a:pt x="7030" y="16696"/>
                </a:lnTo>
                <a:lnTo>
                  <a:pt x="10776" y="11493"/>
                </a:lnTo>
                <a:lnTo>
                  <a:pt x="14470" y="16696"/>
                </a:lnTo>
                <a:lnTo>
                  <a:pt x="15866" y="16696"/>
                </a:lnTo>
                <a:lnTo>
                  <a:pt x="11474" y="10651"/>
                </a:lnTo>
                <a:cubicBezTo>
                  <a:pt x="11474" y="10651"/>
                  <a:pt x="15628" y="4904"/>
                  <a:pt x="15628" y="49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5" name="Shape 2705"/>
          <p:cNvSpPr/>
          <p:nvPr/>
        </p:nvSpPr>
        <p:spPr>
          <a:xfrm>
            <a:off x="7907354" y="1869798"/>
            <a:ext cx="209445" cy="209649"/>
          </a:xfrm>
          <a:custGeom>
            <a:avLst/>
            <a:gdLst/>
            <a:ahLst/>
            <a:cxnLst>
              <a:cxn ang="0">
                <a:pos x="wd2" y="hd2"/>
              </a:cxn>
              <a:cxn ang="5400000">
                <a:pos x="wd2" y="hd2"/>
              </a:cxn>
              <a:cxn ang="10800000">
                <a:pos x="wd2" y="hd2"/>
              </a:cxn>
              <a:cxn ang="16200000">
                <a:pos x="wd2" y="hd2"/>
              </a:cxn>
            </a:cxnLst>
            <a:rect l="0" t="0" r="r" b="b"/>
            <a:pathLst>
              <a:path w="21600" h="21600" extrusionOk="0">
                <a:moveTo>
                  <a:pt x="982" y="3820"/>
                </a:moveTo>
                <a:lnTo>
                  <a:pt x="7853" y="2877"/>
                </a:lnTo>
                <a:lnTo>
                  <a:pt x="7853" y="8838"/>
                </a:lnTo>
                <a:lnTo>
                  <a:pt x="982" y="8838"/>
                </a:lnTo>
                <a:cubicBezTo>
                  <a:pt x="982" y="8838"/>
                  <a:pt x="982" y="3820"/>
                  <a:pt x="982" y="3820"/>
                </a:cubicBezTo>
                <a:close/>
                <a:moveTo>
                  <a:pt x="0" y="9819"/>
                </a:moveTo>
                <a:lnTo>
                  <a:pt x="8835" y="9819"/>
                </a:lnTo>
                <a:lnTo>
                  <a:pt x="8835" y="1752"/>
                </a:lnTo>
                <a:lnTo>
                  <a:pt x="0" y="2964"/>
                </a:lnTo>
                <a:cubicBezTo>
                  <a:pt x="0" y="2964"/>
                  <a:pt x="0" y="9819"/>
                  <a:pt x="0" y="9819"/>
                </a:cubicBezTo>
                <a:close/>
                <a:moveTo>
                  <a:pt x="20618" y="8838"/>
                </a:moveTo>
                <a:lnTo>
                  <a:pt x="11771" y="8838"/>
                </a:lnTo>
                <a:lnTo>
                  <a:pt x="11771" y="2339"/>
                </a:lnTo>
                <a:lnTo>
                  <a:pt x="20618" y="1125"/>
                </a:lnTo>
                <a:cubicBezTo>
                  <a:pt x="20618" y="1125"/>
                  <a:pt x="20618" y="8838"/>
                  <a:pt x="20618" y="8838"/>
                </a:cubicBezTo>
                <a:close/>
                <a:moveTo>
                  <a:pt x="10789" y="1484"/>
                </a:moveTo>
                <a:lnTo>
                  <a:pt x="10789" y="9819"/>
                </a:lnTo>
                <a:lnTo>
                  <a:pt x="21600" y="9819"/>
                </a:lnTo>
                <a:lnTo>
                  <a:pt x="21600" y="0"/>
                </a:lnTo>
                <a:cubicBezTo>
                  <a:pt x="21600" y="0"/>
                  <a:pt x="10789" y="1484"/>
                  <a:pt x="10789" y="1484"/>
                </a:cubicBezTo>
                <a:close/>
                <a:moveTo>
                  <a:pt x="982" y="12763"/>
                </a:moveTo>
                <a:lnTo>
                  <a:pt x="7853" y="12763"/>
                </a:lnTo>
                <a:lnTo>
                  <a:pt x="7853" y="18722"/>
                </a:lnTo>
                <a:lnTo>
                  <a:pt x="982" y="17780"/>
                </a:lnTo>
                <a:cubicBezTo>
                  <a:pt x="982" y="17780"/>
                  <a:pt x="982" y="12763"/>
                  <a:pt x="982" y="12763"/>
                </a:cubicBezTo>
                <a:close/>
                <a:moveTo>
                  <a:pt x="0" y="18635"/>
                </a:moveTo>
                <a:lnTo>
                  <a:pt x="8835" y="19848"/>
                </a:lnTo>
                <a:lnTo>
                  <a:pt x="8835" y="11782"/>
                </a:lnTo>
                <a:lnTo>
                  <a:pt x="0" y="11782"/>
                </a:lnTo>
                <a:cubicBezTo>
                  <a:pt x="0" y="11782"/>
                  <a:pt x="0" y="18635"/>
                  <a:pt x="0" y="18635"/>
                </a:cubicBezTo>
                <a:close/>
                <a:moveTo>
                  <a:pt x="11771" y="12763"/>
                </a:moveTo>
                <a:lnTo>
                  <a:pt x="20618" y="12763"/>
                </a:lnTo>
                <a:lnTo>
                  <a:pt x="20618" y="20475"/>
                </a:lnTo>
                <a:lnTo>
                  <a:pt x="11771" y="19261"/>
                </a:lnTo>
                <a:cubicBezTo>
                  <a:pt x="11771" y="19261"/>
                  <a:pt x="11771" y="12763"/>
                  <a:pt x="11771" y="12763"/>
                </a:cubicBezTo>
                <a:close/>
                <a:moveTo>
                  <a:pt x="10789" y="20116"/>
                </a:moveTo>
                <a:lnTo>
                  <a:pt x="21600" y="21600"/>
                </a:lnTo>
                <a:lnTo>
                  <a:pt x="21600" y="11782"/>
                </a:lnTo>
                <a:lnTo>
                  <a:pt x="10789" y="11782"/>
                </a:lnTo>
                <a:cubicBezTo>
                  <a:pt x="10789" y="11782"/>
                  <a:pt x="10789" y="20116"/>
                  <a:pt x="10789" y="201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6" name="Shape 2706"/>
          <p:cNvSpPr/>
          <p:nvPr/>
        </p:nvSpPr>
        <p:spPr>
          <a:xfrm>
            <a:off x="8335868" y="1869799"/>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8" name="Shape 2708"/>
          <p:cNvSpPr/>
          <p:nvPr/>
        </p:nvSpPr>
        <p:spPr>
          <a:xfrm>
            <a:off x="66064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9" name="Shape 2709"/>
          <p:cNvSpPr/>
          <p:nvPr/>
        </p:nvSpPr>
        <p:spPr>
          <a:xfrm>
            <a:off x="106059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12764" y="13745"/>
                </a:lnTo>
                <a:lnTo>
                  <a:pt x="12764" y="7855"/>
                </a:lnTo>
                <a:lnTo>
                  <a:pt x="13745" y="7855"/>
                </a:lnTo>
                <a:cubicBezTo>
                  <a:pt x="13745" y="7855"/>
                  <a:pt x="13745" y="13745"/>
                  <a:pt x="13745" y="13745"/>
                </a:cubicBezTo>
                <a:close/>
                <a:moveTo>
                  <a:pt x="14236" y="6873"/>
                </a:moveTo>
                <a:lnTo>
                  <a:pt x="12273" y="6873"/>
                </a:lnTo>
                <a:cubicBezTo>
                  <a:pt x="12002" y="6873"/>
                  <a:pt x="11782" y="7092"/>
                  <a:pt x="11782" y="7364"/>
                </a:cubicBezTo>
                <a:lnTo>
                  <a:pt x="11782" y="14236"/>
                </a:lnTo>
                <a:cubicBezTo>
                  <a:pt x="11782" y="14508"/>
                  <a:pt x="12002" y="14727"/>
                  <a:pt x="12273"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745"/>
                </a:moveTo>
                <a:lnTo>
                  <a:pt x="7855" y="13745"/>
                </a:lnTo>
                <a:lnTo>
                  <a:pt x="7855" y="7855"/>
                </a:lnTo>
                <a:lnTo>
                  <a:pt x="8836" y="7855"/>
                </a:lnTo>
                <a:cubicBezTo>
                  <a:pt x="8836" y="7855"/>
                  <a:pt x="8836" y="13745"/>
                  <a:pt x="8836" y="13745"/>
                </a:cubicBezTo>
                <a:close/>
                <a:moveTo>
                  <a:pt x="9327" y="6873"/>
                </a:moveTo>
                <a:lnTo>
                  <a:pt x="7364" y="6873"/>
                </a:lnTo>
                <a:cubicBezTo>
                  <a:pt x="7093" y="6873"/>
                  <a:pt x="6873" y="7092"/>
                  <a:pt x="6873" y="7364"/>
                </a:cubicBezTo>
                <a:lnTo>
                  <a:pt x="6873" y="14236"/>
                </a:lnTo>
                <a:cubicBezTo>
                  <a:pt x="6873" y="14508"/>
                  <a:pt x="7093" y="14727"/>
                  <a:pt x="7364" y="14727"/>
                </a:cubicBezTo>
                <a:lnTo>
                  <a:pt x="9327" y="14727"/>
                </a:lnTo>
                <a:cubicBezTo>
                  <a:pt x="9598" y="14727"/>
                  <a:pt x="9818" y="14508"/>
                  <a:pt x="9818" y="14236"/>
                </a:cubicBezTo>
                <a:lnTo>
                  <a:pt x="9818" y="7364"/>
                </a:lnTo>
                <a:cubicBezTo>
                  <a:pt x="9818" y="7092"/>
                  <a:pt x="9598" y="6873"/>
                  <a:pt x="9327"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0" name="Shape 2710"/>
          <p:cNvSpPr/>
          <p:nvPr/>
        </p:nvSpPr>
        <p:spPr>
          <a:xfrm>
            <a:off x="1460536"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3" y="6873"/>
                  <a:pt x="6873" y="7092"/>
                  <a:pt x="6873" y="7364"/>
                </a:cubicBezTo>
                <a:lnTo>
                  <a:pt x="6873" y="14236"/>
                </a:lnTo>
                <a:cubicBezTo>
                  <a:pt x="6873" y="14508"/>
                  <a:pt x="7093" y="14727"/>
                  <a:pt x="7364"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1" name="Shape 2711"/>
          <p:cNvSpPr/>
          <p:nvPr/>
        </p:nvSpPr>
        <p:spPr>
          <a:xfrm>
            <a:off x="1860482"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2" name="Shape 2712"/>
          <p:cNvSpPr/>
          <p:nvPr/>
        </p:nvSpPr>
        <p:spPr>
          <a:xfrm>
            <a:off x="226042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3888"/>
                </a:moveTo>
                <a:lnTo>
                  <a:pt x="10800" y="7712"/>
                </a:lnTo>
                <a:lnTo>
                  <a:pt x="16204" y="10800"/>
                </a:lnTo>
                <a:cubicBezTo>
                  <a:pt x="16204" y="10800"/>
                  <a:pt x="10800" y="13888"/>
                  <a:pt x="10800" y="13888"/>
                </a:cubicBezTo>
                <a:close/>
                <a:moveTo>
                  <a:pt x="17484" y="10422"/>
                </a:moveTo>
                <a:lnTo>
                  <a:pt x="17489" y="10416"/>
                </a:lnTo>
                <a:lnTo>
                  <a:pt x="17402" y="10367"/>
                </a:lnTo>
                <a:cubicBezTo>
                  <a:pt x="17389" y="10361"/>
                  <a:pt x="17378" y="10351"/>
                  <a:pt x="17365" y="10346"/>
                </a:cubicBezTo>
                <a:lnTo>
                  <a:pt x="10616" y="6489"/>
                </a:lnTo>
                <a:lnTo>
                  <a:pt x="10611" y="6495"/>
                </a:lnTo>
                <a:cubicBezTo>
                  <a:pt x="10527" y="6428"/>
                  <a:pt x="10425" y="6382"/>
                  <a:pt x="10309" y="6382"/>
                </a:cubicBezTo>
                <a:cubicBezTo>
                  <a:pt x="10038" y="6382"/>
                  <a:pt x="9818" y="6601"/>
                  <a:pt x="9818" y="6873"/>
                </a:cubicBezTo>
                <a:lnTo>
                  <a:pt x="9818" y="14727"/>
                </a:lnTo>
                <a:cubicBezTo>
                  <a:pt x="9818" y="14999"/>
                  <a:pt x="10038" y="15218"/>
                  <a:pt x="10309" y="15218"/>
                </a:cubicBezTo>
                <a:cubicBezTo>
                  <a:pt x="10425" y="15218"/>
                  <a:pt x="10527" y="15172"/>
                  <a:pt x="10611" y="15105"/>
                </a:cubicBezTo>
                <a:lnTo>
                  <a:pt x="10616" y="15111"/>
                </a:lnTo>
                <a:lnTo>
                  <a:pt x="17365" y="11254"/>
                </a:lnTo>
                <a:cubicBezTo>
                  <a:pt x="17378" y="11249"/>
                  <a:pt x="17388" y="11239"/>
                  <a:pt x="17401" y="11233"/>
                </a:cubicBezTo>
                <a:lnTo>
                  <a:pt x="17489" y="11184"/>
                </a:lnTo>
                <a:lnTo>
                  <a:pt x="17484" y="11178"/>
                </a:lnTo>
                <a:cubicBezTo>
                  <a:pt x="17596" y="11088"/>
                  <a:pt x="17673" y="10955"/>
                  <a:pt x="17673" y="10800"/>
                </a:cubicBezTo>
                <a:cubicBezTo>
                  <a:pt x="17673" y="10645"/>
                  <a:pt x="17596" y="10512"/>
                  <a:pt x="17484" y="10422"/>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6684" y="6495"/>
                </a:moveTo>
                <a:cubicBezTo>
                  <a:pt x="6600" y="6428"/>
                  <a:pt x="6498" y="6382"/>
                  <a:pt x="6382" y="6382"/>
                </a:cubicBezTo>
                <a:cubicBezTo>
                  <a:pt x="6111" y="6382"/>
                  <a:pt x="5891" y="6601"/>
                  <a:pt x="5891" y="6873"/>
                </a:cubicBezTo>
                <a:lnTo>
                  <a:pt x="5891" y="14727"/>
                </a:lnTo>
                <a:cubicBezTo>
                  <a:pt x="5891" y="14999"/>
                  <a:pt x="6111" y="15218"/>
                  <a:pt x="6382" y="15218"/>
                </a:cubicBezTo>
                <a:cubicBezTo>
                  <a:pt x="6498" y="15218"/>
                  <a:pt x="6600" y="15172"/>
                  <a:pt x="6684" y="15105"/>
                </a:cubicBezTo>
                <a:lnTo>
                  <a:pt x="6689" y="15111"/>
                </a:lnTo>
                <a:lnTo>
                  <a:pt x="8836" y="13883"/>
                </a:lnTo>
                <a:lnTo>
                  <a:pt x="8836" y="12766"/>
                </a:lnTo>
                <a:lnTo>
                  <a:pt x="6873" y="13888"/>
                </a:lnTo>
                <a:lnTo>
                  <a:pt x="6873" y="7712"/>
                </a:lnTo>
                <a:lnTo>
                  <a:pt x="8836" y="8834"/>
                </a:lnTo>
                <a:lnTo>
                  <a:pt x="8836" y="7716"/>
                </a:lnTo>
                <a:lnTo>
                  <a:pt x="6689" y="6489"/>
                </a:lnTo>
                <a:cubicBezTo>
                  <a:pt x="6689" y="6489"/>
                  <a:pt x="6684" y="6495"/>
                  <a:pt x="6684" y="649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3" name="Shape 2713"/>
          <p:cNvSpPr/>
          <p:nvPr/>
        </p:nvSpPr>
        <p:spPr>
          <a:xfrm>
            <a:off x="266037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4236"/>
                </a:moveTo>
                <a:lnTo>
                  <a:pt x="13745" y="14236"/>
                </a:lnTo>
                <a:lnTo>
                  <a:pt x="13745" y="7364"/>
                </a:lnTo>
                <a:lnTo>
                  <a:pt x="14727" y="7364"/>
                </a:lnTo>
                <a:cubicBezTo>
                  <a:pt x="14727" y="7364"/>
                  <a:pt x="14727" y="14236"/>
                  <a:pt x="14727" y="14236"/>
                </a:cubicBezTo>
                <a:close/>
                <a:moveTo>
                  <a:pt x="6873" y="13888"/>
                </a:moveTo>
                <a:lnTo>
                  <a:pt x="6873" y="7712"/>
                </a:lnTo>
                <a:lnTo>
                  <a:pt x="12277" y="10800"/>
                </a:lnTo>
                <a:cubicBezTo>
                  <a:pt x="12277" y="10800"/>
                  <a:pt x="6873" y="13888"/>
                  <a:pt x="6873" y="13888"/>
                </a:cubicBezTo>
                <a:close/>
                <a:moveTo>
                  <a:pt x="15218" y="6382"/>
                </a:moveTo>
                <a:lnTo>
                  <a:pt x="13255" y="6382"/>
                </a:lnTo>
                <a:cubicBezTo>
                  <a:pt x="12983" y="6382"/>
                  <a:pt x="12764" y="6601"/>
                  <a:pt x="12764" y="6873"/>
                </a:cubicBezTo>
                <a:lnTo>
                  <a:pt x="12764" y="9961"/>
                </a:lnTo>
                <a:lnTo>
                  <a:pt x="6689" y="6489"/>
                </a:lnTo>
                <a:lnTo>
                  <a:pt x="6684" y="6495"/>
                </a:lnTo>
                <a:cubicBezTo>
                  <a:pt x="6600" y="6428"/>
                  <a:pt x="6498" y="6382"/>
                  <a:pt x="6382" y="6382"/>
                </a:cubicBezTo>
                <a:cubicBezTo>
                  <a:pt x="6110" y="6382"/>
                  <a:pt x="5891" y="6601"/>
                  <a:pt x="5891" y="6873"/>
                </a:cubicBezTo>
                <a:lnTo>
                  <a:pt x="5891" y="14727"/>
                </a:lnTo>
                <a:cubicBezTo>
                  <a:pt x="5891" y="14999"/>
                  <a:pt x="6110" y="15218"/>
                  <a:pt x="6382" y="15218"/>
                </a:cubicBezTo>
                <a:cubicBezTo>
                  <a:pt x="6498" y="15218"/>
                  <a:pt x="6600" y="15172"/>
                  <a:pt x="6684" y="15105"/>
                </a:cubicBezTo>
                <a:lnTo>
                  <a:pt x="6689" y="15111"/>
                </a:lnTo>
                <a:lnTo>
                  <a:pt x="12764" y="11639"/>
                </a:lnTo>
                <a:lnTo>
                  <a:pt x="12764" y="14727"/>
                </a:lnTo>
                <a:cubicBezTo>
                  <a:pt x="12764" y="14999"/>
                  <a:pt x="12983" y="15218"/>
                  <a:pt x="13255" y="15218"/>
                </a:cubicBezTo>
                <a:lnTo>
                  <a:pt x="15218" y="15218"/>
                </a:lnTo>
                <a:cubicBezTo>
                  <a:pt x="15490" y="15218"/>
                  <a:pt x="15709" y="14999"/>
                  <a:pt x="15709" y="14727"/>
                </a:cubicBezTo>
                <a:lnTo>
                  <a:pt x="15709" y="6873"/>
                </a:lnTo>
                <a:cubicBezTo>
                  <a:pt x="15709" y="6601"/>
                  <a:pt x="15490" y="6382"/>
                  <a:pt x="15218" y="6382"/>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4" name="Shape 2714"/>
          <p:cNvSpPr/>
          <p:nvPr/>
        </p:nvSpPr>
        <p:spPr>
          <a:xfrm>
            <a:off x="306032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8054" y="9818"/>
                </a:moveTo>
                <a:lnTo>
                  <a:pt x="10800" y="7072"/>
                </a:lnTo>
                <a:lnTo>
                  <a:pt x="13547" y="9818"/>
                </a:lnTo>
                <a:cubicBezTo>
                  <a:pt x="13547" y="9818"/>
                  <a:pt x="8054" y="9818"/>
                  <a:pt x="8054" y="9818"/>
                </a:cubicBezTo>
                <a:close/>
                <a:moveTo>
                  <a:pt x="15111" y="10002"/>
                </a:moveTo>
                <a:lnTo>
                  <a:pt x="15083" y="9975"/>
                </a:lnTo>
                <a:cubicBezTo>
                  <a:pt x="15076" y="9968"/>
                  <a:pt x="15069" y="9960"/>
                  <a:pt x="15061" y="9953"/>
                </a:cubicBezTo>
                <a:lnTo>
                  <a:pt x="11184" y="6075"/>
                </a:lnTo>
                <a:lnTo>
                  <a:pt x="11177" y="6080"/>
                </a:lnTo>
                <a:cubicBezTo>
                  <a:pt x="11088" y="5968"/>
                  <a:pt x="10955" y="5891"/>
                  <a:pt x="10800" y="5891"/>
                </a:cubicBezTo>
                <a:cubicBezTo>
                  <a:pt x="10645" y="5891"/>
                  <a:pt x="10512" y="5968"/>
                  <a:pt x="10422" y="6080"/>
                </a:cubicBezTo>
                <a:lnTo>
                  <a:pt x="10416" y="6075"/>
                </a:lnTo>
                <a:lnTo>
                  <a:pt x="6539" y="9953"/>
                </a:lnTo>
                <a:cubicBezTo>
                  <a:pt x="6531" y="9960"/>
                  <a:pt x="6524" y="9968"/>
                  <a:pt x="6517" y="9975"/>
                </a:cubicBezTo>
                <a:lnTo>
                  <a:pt x="6489" y="10002"/>
                </a:lnTo>
                <a:lnTo>
                  <a:pt x="6495" y="10007"/>
                </a:lnTo>
                <a:cubicBezTo>
                  <a:pt x="6428" y="10091"/>
                  <a:pt x="6382" y="10193"/>
                  <a:pt x="6382" y="10309"/>
                </a:cubicBezTo>
                <a:cubicBezTo>
                  <a:pt x="6382" y="10580"/>
                  <a:pt x="6601" y="10800"/>
                  <a:pt x="6873" y="10800"/>
                </a:cubicBezTo>
                <a:lnTo>
                  <a:pt x="14727" y="10800"/>
                </a:lnTo>
                <a:cubicBezTo>
                  <a:pt x="14999" y="10800"/>
                  <a:pt x="15218" y="10580"/>
                  <a:pt x="15218" y="10309"/>
                </a:cubicBezTo>
                <a:cubicBezTo>
                  <a:pt x="15218" y="10193"/>
                  <a:pt x="15172" y="10091"/>
                  <a:pt x="15105" y="10007"/>
                </a:cubicBezTo>
                <a:cubicBezTo>
                  <a:pt x="15105" y="10007"/>
                  <a:pt x="15111" y="10002"/>
                  <a:pt x="15111" y="10002"/>
                </a:cubicBezTo>
                <a:close/>
                <a:moveTo>
                  <a:pt x="14236" y="13745"/>
                </a:moveTo>
                <a:lnTo>
                  <a:pt x="7364" y="13745"/>
                </a:lnTo>
                <a:lnTo>
                  <a:pt x="7364" y="12764"/>
                </a:lnTo>
                <a:lnTo>
                  <a:pt x="14236" y="12764"/>
                </a:lnTo>
                <a:cubicBezTo>
                  <a:pt x="14236" y="12764"/>
                  <a:pt x="14236" y="13745"/>
                  <a:pt x="14236" y="13745"/>
                </a:cubicBezTo>
                <a:close/>
                <a:moveTo>
                  <a:pt x="14727" y="11782"/>
                </a:moveTo>
                <a:lnTo>
                  <a:pt x="6873" y="11782"/>
                </a:lnTo>
                <a:cubicBezTo>
                  <a:pt x="6601" y="11782"/>
                  <a:pt x="6382" y="12001"/>
                  <a:pt x="6382" y="12273"/>
                </a:cubicBezTo>
                <a:lnTo>
                  <a:pt x="6382" y="14236"/>
                </a:lnTo>
                <a:cubicBezTo>
                  <a:pt x="6382" y="14508"/>
                  <a:pt x="6601" y="14727"/>
                  <a:pt x="6873" y="14727"/>
                </a:cubicBezTo>
                <a:lnTo>
                  <a:pt x="14727" y="14727"/>
                </a:lnTo>
                <a:cubicBezTo>
                  <a:pt x="14999" y="14727"/>
                  <a:pt x="15218" y="14508"/>
                  <a:pt x="15218" y="14236"/>
                </a:cubicBezTo>
                <a:lnTo>
                  <a:pt x="15218" y="12273"/>
                </a:lnTo>
                <a:cubicBezTo>
                  <a:pt x="15218" y="12001"/>
                  <a:pt x="14999" y="11782"/>
                  <a:pt x="147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5" name="Shape 2715"/>
          <p:cNvSpPr/>
          <p:nvPr/>
        </p:nvSpPr>
        <p:spPr>
          <a:xfrm>
            <a:off x="3460265"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6" name="Shape 2716"/>
          <p:cNvSpPr/>
          <p:nvPr/>
        </p:nvSpPr>
        <p:spPr>
          <a:xfrm>
            <a:off x="3860211"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2" y="6873"/>
                  <a:pt x="6873" y="7092"/>
                  <a:pt x="6873" y="7364"/>
                </a:cubicBezTo>
                <a:lnTo>
                  <a:pt x="6873" y="14236"/>
                </a:lnTo>
                <a:cubicBezTo>
                  <a:pt x="6873" y="14508"/>
                  <a:pt x="7092" y="14727"/>
                  <a:pt x="7364" y="14727"/>
                </a:cubicBezTo>
                <a:lnTo>
                  <a:pt x="14236" y="14727"/>
                </a:lnTo>
                <a:cubicBezTo>
                  <a:pt x="14508" y="14727"/>
                  <a:pt x="14727" y="14508"/>
                  <a:pt x="14727" y="14236"/>
                </a:cubicBezTo>
                <a:lnTo>
                  <a:pt x="14727" y="7364"/>
                </a:lnTo>
                <a:cubicBezTo>
                  <a:pt x="14727" y="7092"/>
                  <a:pt x="14508" y="6873"/>
                  <a:pt x="14236" y="6873"/>
                </a:cubicBezTo>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7673"/>
                </a:moveTo>
                <a:lnTo>
                  <a:pt x="21600" y="17673"/>
                </a:lnTo>
                <a:lnTo>
                  <a:pt x="21600" y="15709"/>
                </a:lnTo>
                <a:lnTo>
                  <a:pt x="20618" y="15709"/>
                </a:lnTo>
                <a:cubicBezTo>
                  <a:pt x="20618" y="15709"/>
                  <a:pt x="20618" y="17673"/>
                  <a:pt x="20618" y="17673"/>
                </a:cubicBezTo>
                <a:close/>
                <a:moveTo>
                  <a:pt x="15709" y="982"/>
                </a:moveTo>
                <a:lnTo>
                  <a:pt x="17673" y="982"/>
                </a:lnTo>
                <a:lnTo>
                  <a:pt x="17673" y="0"/>
                </a:lnTo>
                <a:lnTo>
                  <a:pt x="15709" y="0"/>
                </a:lnTo>
                <a:cubicBezTo>
                  <a:pt x="15709" y="0"/>
                  <a:pt x="15709" y="982"/>
                  <a:pt x="15709" y="982"/>
                </a:cubicBezTo>
                <a:close/>
                <a:moveTo>
                  <a:pt x="3927" y="982"/>
                </a:moveTo>
                <a:lnTo>
                  <a:pt x="5891" y="982"/>
                </a:lnTo>
                <a:lnTo>
                  <a:pt x="5891" y="0"/>
                </a:lnTo>
                <a:lnTo>
                  <a:pt x="3927" y="0"/>
                </a:lnTo>
                <a:cubicBezTo>
                  <a:pt x="3927" y="0"/>
                  <a:pt x="3927" y="982"/>
                  <a:pt x="3927" y="982"/>
                </a:cubicBezTo>
                <a:close/>
                <a:moveTo>
                  <a:pt x="20618" y="13745"/>
                </a:moveTo>
                <a:lnTo>
                  <a:pt x="21600" y="13745"/>
                </a:lnTo>
                <a:lnTo>
                  <a:pt x="21600" y="11782"/>
                </a:lnTo>
                <a:lnTo>
                  <a:pt x="20618" y="11782"/>
                </a:lnTo>
                <a:cubicBezTo>
                  <a:pt x="20618" y="11782"/>
                  <a:pt x="20618" y="13745"/>
                  <a:pt x="20618" y="13745"/>
                </a:cubicBezTo>
                <a:close/>
                <a:moveTo>
                  <a:pt x="982" y="7855"/>
                </a:moveTo>
                <a:lnTo>
                  <a:pt x="0" y="7855"/>
                </a:lnTo>
                <a:lnTo>
                  <a:pt x="0" y="9818"/>
                </a:lnTo>
                <a:lnTo>
                  <a:pt x="982" y="9818"/>
                </a:lnTo>
                <a:cubicBezTo>
                  <a:pt x="982" y="9818"/>
                  <a:pt x="982" y="7855"/>
                  <a:pt x="982" y="7855"/>
                </a:cubicBezTo>
                <a:close/>
                <a:moveTo>
                  <a:pt x="9818" y="0"/>
                </a:moveTo>
                <a:lnTo>
                  <a:pt x="7855" y="0"/>
                </a:lnTo>
                <a:lnTo>
                  <a:pt x="7855" y="982"/>
                </a:lnTo>
                <a:lnTo>
                  <a:pt x="9818" y="982"/>
                </a:lnTo>
                <a:cubicBezTo>
                  <a:pt x="9818" y="982"/>
                  <a:pt x="9818" y="0"/>
                  <a:pt x="9818" y="0"/>
                </a:cubicBezTo>
                <a:close/>
                <a:moveTo>
                  <a:pt x="982" y="3927"/>
                </a:moveTo>
                <a:lnTo>
                  <a:pt x="0" y="3927"/>
                </a:lnTo>
                <a:lnTo>
                  <a:pt x="0" y="5891"/>
                </a:lnTo>
                <a:lnTo>
                  <a:pt x="982" y="5891"/>
                </a:lnTo>
                <a:cubicBezTo>
                  <a:pt x="982" y="5891"/>
                  <a:pt x="982" y="3927"/>
                  <a:pt x="982" y="3927"/>
                </a:cubicBezTo>
                <a:close/>
                <a:moveTo>
                  <a:pt x="20350" y="1964"/>
                </a:moveTo>
                <a:lnTo>
                  <a:pt x="21426" y="1964"/>
                </a:lnTo>
                <a:cubicBezTo>
                  <a:pt x="21128" y="1133"/>
                  <a:pt x="20470" y="477"/>
                  <a:pt x="19636" y="180"/>
                </a:cubicBezTo>
                <a:lnTo>
                  <a:pt x="19636" y="1254"/>
                </a:lnTo>
                <a:cubicBezTo>
                  <a:pt x="19931" y="1426"/>
                  <a:pt x="20177" y="1670"/>
                  <a:pt x="20350" y="1964"/>
                </a:cubicBezTo>
                <a:moveTo>
                  <a:pt x="13745" y="0"/>
                </a:moveTo>
                <a:lnTo>
                  <a:pt x="11782" y="0"/>
                </a:lnTo>
                <a:lnTo>
                  <a:pt x="11782" y="982"/>
                </a:lnTo>
                <a:lnTo>
                  <a:pt x="13745" y="982"/>
                </a:lnTo>
                <a:cubicBezTo>
                  <a:pt x="13745" y="982"/>
                  <a:pt x="13745" y="0"/>
                  <a:pt x="13745" y="0"/>
                </a:cubicBezTo>
                <a:close/>
                <a:moveTo>
                  <a:pt x="3927" y="21600"/>
                </a:moveTo>
                <a:lnTo>
                  <a:pt x="5891" y="21600"/>
                </a:lnTo>
                <a:lnTo>
                  <a:pt x="5891" y="20618"/>
                </a:lnTo>
                <a:lnTo>
                  <a:pt x="3927" y="20618"/>
                </a:lnTo>
                <a:cubicBezTo>
                  <a:pt x="3927" y="20618"/>
                  <a:pt x="3927" y="21600"/>
                  <a:pt x="3927" y="21600"/>
                </a:cubicBezTo>
                <a:close/>
                <a:moveTo>
                  <a:pt x="1250" y="19636"/>
                </a:moveTo>
                <a:lnTo>
                  <a:pt x="175" y="19636"/>
                </a:lnTo>
                <a:cubicBezTo>
                  <a:pt x="472" y="20467"/>
                  <a:pt x="1130" y="21123"/>
                  <a:pt x="1964" y="21420"/>
                </a:cubicBezTo>
                <a:lnTo>
                  <a:pt x="1964" y="20346"/>
                </a:lnTo>
                <a:cubicBezTo>
                  <a:pt x="1669" y="20174"/>
                  <a:pt x="1423" y="19929"/>
                  <a:pt x="1250" y="19636"/>
                </a:cubicBezTo>
                <a:moveTo>
                  <a:pt x="175" y="1964"/>
                </a:moveTo>
                <a:lnTo>
                  <a:pt x="1250" y="1964"/>
                </a:lnTo>
                <a:cubicBezTo>
                  <a:pt x="1423" y="1670"/>
                  <a:pt x="1669" y="1426"/>
                  <a:pt x="1964" y="1254"/>
                </a:cubicBezTo>
                <a:lnTo>
                  <a:pt x="1964" y="180"/>
                </a:lnTo>
                <a:cubicBezTo>
                  <a:pt x="1130" y="477"/>
                  <a:pt x="472" y="1133"/>
                  <a:pt x="175" y="1964"/>
                </a:cubicBezTo>
                <a:moveTo>
                  <a:pt x="982" y="15709"/>
                </a:moveTo>
                <a:lnTo>
                  <a:pt x="0" y="15709"/>
                </a:lnTo>
                <a:lnTo>
                  <a:pt x="0" y="17673"/>
                </a:lnTo>
                <a:lnTo>
                  <a:pt x="982" y="17673"/>
                </a:lnTo>
                <a:cubicBezTo>
                  <a:pt x="982" y="17673"/>
                  <a:pt x="982" y="15709"/>
                  <a:pt x="982" y="15709"/>
                </a:cubicBezTo>
                <a:close/>
                <a:moveTo>
                  <a:pt x="982" y="11782"/>
                </a:moveTo>
                <a:lnTo>
                  <a:pt x="0" y="11782"/>
                </a:lnTo>
                <a:lnTo>
                  <a:pt x="0" y="13745"/>
                </a:lnTo>
                <a:lnTo>
                  <a:pt x="982" y="13745"/>
                </a:lnTo>
                <a:cubicBezTo>
                  <a:pt x="982" y="13745"/>
                  <a:pt x="982" y="11782"/>
                  <a:pt x="982"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7" name="Shape 2717"/>
          <p:cNvSpPr/>
          <p:nvPr/>
        </p:nvSpPr>
        <p:spPr>
          <a:xfrm>
            <a:off x="426015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1782"/>
                </a:moveTo>
                <a:cubicBezTo>
                  <a:pt x="14592" y="11782"/>
                  <a:pt x="14469" y="11837"/>
                  <a:pt x="14380" y="11926"/>
                </a:cubicBezTo>
                <a:lnTo>
                  <a:pt x="11291" y="15015"/>
                </a:lnTo>
                <a:lnTo>
                  <a:pt x="11291" y="5400"/>
                </a:lnTo>
                <a:cubicBezTo>
                  <a:pt x="11291" y="5129"/>
                  <a:pt x="11071" y="4909"/>
                  <a:pt x="10800" y="4909"/>
                </a:cubicBezTo>
                <a:cubicBezTo>
                  <a:pt x="10529" y="4909"/>
                  <a:pt x="10309" y="5129"/>
                  <a:pt x="10309" y="5400"/>
                </a:cubicBezTo>
                <a:lnTo>
                  <a:pt x="10309" y="15015"/>
                </a:lnTo>
                <a:lnTo>
                  <a:pt x="7220" y="11926"/>
                </a:lnTo>
                <a:cubicBezTo>
                  <a:pt x="7131" y="11837"/>
                  <a:pt x="7008" y="11782"/>
                  <a:pt x="6873" y="11782"/>
                </a:cubicBezTo>
                <a:cubicBezTo>
                  <a:pt x="6601" y="11782"/>
                  <a:pt x="6382" y="12001"/>
                  <a:pt x="6382" y="12273"/>
                </a:cubicBezTo>
                <a:cubicBezTo>
                  <a:pt x="6382" y="12408"/>
                  <a:pt x="6437" y="12531"/>
                  <a:pt x="6526" y="12620"/>
                </a:cubicBezTo>
                <a:lnTo>
                  <a:pt x="10453" y="16547"/>
                </a:lnTo>
                <a:cubicBezTo>
                  <a:pt x="10542" y="16636"/>
                  <a:pt x="10664" y="16691"/>
                  <a:pt x="10800" y="16691"/>
                </a:cubicBezTo>
                <a:cubicBezTo>
                  <a:pt x="10936" y="16691"/>
                  <a:pt x="11058" y="16636"/>
                  <a:pt x="11147" y="16547"/>
                </a:cubicBezTo>
                <a:lnTo>
                  <a:pt x="15074" y="12620"/>
                </a:lnTo>
                <a:cubicBezTo>
                  <a:pt x="15163" y="12531"/>
                  <a:pt x="15218" y="12408"/>
                  <a:pt x="15218" y="12273"/>
                </a:cubicBezTo>
                <a:cubicBezTo>
                  <a:pt x="15218" y="12001"/>
                  <a:pt x="14999" y="11782"/>
                  <a:pt x="14727" y="11782"/>
                </a:cubicBezTo>
                <a:moveTo>
                  <a:pt x="11782" y="21600"/>
                </a:moveTo>
                <a:lnTo>
                  <a:pt x="13745" y="21600"/>
                </a:lnTo>
                <a:lnTo>
                  <a:pt x="13745" y="20618"/>
                </a:lnTo>
                <a:lnTo>
                  <a:pt x="11782" y="20618"/>
                </a:lnTo>
                <a:cubicBezTo>
                  <a:pt x="11782" y="20618"/>
                  <a:pt x="11782" y="21600"/>
                  <a:pt x="11782" y="21600"/>
                </a:cubicBezTo>
                <a:close/>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20618" y="9818"/>
                </a:moveTo>
                <a:lnTo>
                  <a:pt x="21600" y="9818"/>
                </a:lnTo>
                <a:lnTo>
                  <a:pt x="21600" y="7855"/>
                </a:lnTo>
                <a:lnTo>
                  <a:pt x="20618" y="7855"/>
                </a:lnTo>
                <a:cubicBezTo>
                  <a:pt x="20618" y="7855"/>
                  <a:pt x="20618" y="9818"/>
                  <a:pt x="20618" y="9818"/>
                </a:cubicBezTo>
                <a:close/>
                <a:moveTo>
                  <a:pt x="3927" y="982"/>
                </a:moveTo>
                <a:lnTo>
                  <a:pt x="5891" y="982"/>
                </a:lnTo>
                <a:lnTo>
                  <a:pt x="5891" y="0"/>
                </a:lnTo>
                <a:lnTo>
                  <a:pt x="3927" y="0"/>
                </a:lnTo>
                <a:cubicBezTo>
                  <a:pt x="3927" y="0"/>
                  <a:pt x="3927" y="982"/>
                  <a:pt x="3927"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17673"/>
                </a:moveTo>
                <a:lnTo>
                  <a:pt x="21600" y="17673"/>
                </a:lnTo>
                <a:lnTo>
                  <a:pt x="21600" y="15709"/>
                </a:lnTo>
                <a:lnTo>
                  <a:pt x="20618" y="15709"/>
                </a:lnTo>
                <a:cubicBezTo>
                  <a:pt x="20618" y="15709"/>
                  <a:pt x="20618" y="17673"/>
                  <a:pt x="20618" y="1767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982" y="3927"/>
                </a:moveTo>
                <a:lnTo>
                  <a:pt x="0" y="3927"/>
                </a:lnTo>
                <a:lnTo>
                  <a:pt x="0" y="5891"/>
                </a:lnTo>
                <a:lnTo>
                  <a:pt x="982" y="5891"/>
                </a:lnTo>
                <a:cubicBezTo>
                  <a:pt x="982" y="5891"/>
                  <a:pt x="982" y="3927"/>
                  <a:pt x="982" y="3927"/>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8" y="1133"/>
                  <a:pt x="20470" y="477"/>
                  <a:pt x="19636" y="180"/>
                </a:cubicBezTo>
                <a:lnTo>
                  <a:pt x="19636" y="1254"/>
                </a:lnTo>
                <a:cubicBezTo>
                  <a:pt x="19931" y="1426"/>
                  <a:pt x="20177" y="1670"/>
                  <a:pt x="20350" y="1964"/>
                </a:cubicBezTo>
                <a:moveTo>
                  <a:pt x="982" y="7855"/>
                </a:moveTo>
                <a:lnTo>
                  <a:pt x="0" y="7855"/>
                </a:lnTo>
                <a:lnTo>
                  <a:pt x="0" y="9818"/>
                </a:lnTo>
                <a:lnTo>
                  <a:pt x="982" y="9818"/>
                </a:lnTo>
                <a:cubicBezTo>
                  <a:pt x="982" y="9818"/>
                  <a:pt x="982" y="7855"/>
                  <a:pt x="982" y="7855"/>
                </a:cubicBezTo>
                <a:close/>
                <a:moveTo>
                  <a:pt x="13745" y="0"/>
                </a:moveTo>
                <a:lnTo>
                  <a:pt x="11782" y="0"/>
                </a:lnTo>
                <a:lnTo>
                  <a:pt x="11782" y="982"/>
                </a:lnTo>
                <a:lnTo>
                  <a:pt x="13745" y="982"/>
                </a:lnTo>
                <a:cubicBezTo>
                  <a:pt x="13745" y="982"/>
                  <a:pt x="13745" y="0"/>
                  <a:pt x="13745" y="0"/>
                </a:cubicBezTo>
                <a:close/>
                <a:moveTo>
                  <a:pt x="982" y="11782"/>
                </a:moveTo>
                <a:lnTo>
                  <a:pt x="0" y="11782"/>
                </a:lnTo>
                <a:lnTo>
                  <a:pt x="0" y="13745"/>
                </a:lnTo>
                <a:lnTo>
                  <a:pt x="982" y="13745"/>
                </a:lnTo>
                <a:cubicBezTo>
                  <a:pt x="982" y="13745"/>
                  <a:pt x="982" y="11782"/>
                  <a:pt x="982" y="11782"/>
                </a:cubicBezTo>
                <a:close/>
                <a:moveTo>
                  <a:pt x="175" y="1964"/>
                </a:moveTo>
                <a:lnTo>
                  <a:pt x="1250" y="1964"/>
                </a:lnTo>
                <a:cubicBezTo>
                  <a:pt x="1423" y="1670"/>
                  <a:pt x="1669" y="1426"/>
                  <a:pt x="1964" y="1254"/>
                </a:cubicBezTo>
                <a:lnTo>
                  <a:pt x="1964" y="180"/>
                </a:lnTo>
                <a:cubicBezTo>
                  <a:pt x="1130" y="477"/>
                  <a:pt x="472" y="1133"/>
                  <a:pt x="175" y="1964"/>
                </a:cubicBezTo>
                <a:moveTo>
                  <a:pt x="1250" y="19636"/>
                </a:moveTo>
                <a:lnTo>
                  <a:pt x="175" y="19636"/>
                </a:lnTo>
                <a:cubicBezTo>
                  <a:pt x="472" y="20467"/>
                  <a:pt x="1130" y="21123"/>
                  <a:pt x="1964" y="21420"/>
                </a:cubicBezTo>
                <a:lnTo>
                  <a:pt x="1964" y="20346"/>
                </a:lnTo>
                <a:cubicBezTo>
                  <a:pt x="1669" y="20174"/>
                  <a:pt x="1423" y="19929"/>
                  <a:pt x="1250" y="19636"/>
                </a:cubicBezTo>
                <a:moveTo>
                  <a:pt x="3927" y="21600"/>
                </a:moveTo>
                <a:lnTo>
                  <a:pt x="5891" y="21600"/>
                </a:lnTo>
                <a:lnTo>
                  <a:pt x="5891" y="20618"/>
                </a:lnTo>
                <a:lnTo>
                  <a:pt x="3927" y="20618"/>
                </a:lnTo>
                <a:cubicBezTo>
                  <a:pt x="3927" y="20618"/>
                  <a:pt x="3927" y="21600"/>
                  <a:pt x="3927" y="21600"/>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8" name="Shape 2718"/>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3927" y="982"/>
                </a:moveTo>
                <a:lnTo>
                  <a:pt x="5891" y="982"/>
                </a:lnTo>
                <a:lnTo>
                  <a:pt x="5891" y="0"/>
                </a:lnTo>
                <a:lnTo>
                  <a:pt x="3927" y="0"/>
                </a:lnTo>
                <a:cubicBezTo>
                  <a:pt x="3927" y="0"/>
                  <a:pt x="3927" y="982"/>
                  <a:pt x="3927" y="982"/>
                </a:cubicBezTo>
                <a:close/>
                <a:moveTo>
                  <a:pt x="11782" y="21600"/>
                </a:moveTo>
                <a:lnTo>
                  <a:pt x="13745" y="21600"/>
                </a:lnTo>
                <a:lnTo>
                  <a:pt x="13745" y="20618"/>
                </a:lnTo>
                <a:lnTo>
                  <a:pt x="11782" y="20618"/>
                </a:lnTo>
                <a:cubicBezTo>
                  <a:pt x="11782" y="20618"/>
                  <a:pt x="11782" y="21600"/>
                  <a:pt x="11782" y="21600"/>
                </a:cubicBezTo>
                <a:close/>
                <a:moveTo>
                  <a:pt x="15709" y="21600"/>
                </a:moveTo>
                <a:lnTo>
                  <a:pt x="17673" y="21600"/>
                </a:lnTo>
                <a:lnTo>
                  <a:pt x="17673" y="20618"/>
                </a:lnTo>
                <a:lnTo>
                  <a:pt x="15709" y="20618"/>
                </a:lnTo>
                <a:cubicBezTo>
                  <a:pt x="15709" y="20618"/>
                  <a:pt x="15709" y="21600"/>
                  <a:pt x="15709" y="21600"/>
                </a:cubicBezTo>
                <a:close/>
                <a:moveTo>
                  <a:pt x="20618" y="5891"/>
                </a:moveTo>
                <a:lnTo>
                  <a:pt x="21600" y="5891"/>
                </a:lnTo>
                <a:lnTo>
                  <a:pt x="21600" y="3927"/>
                </a:lnTo>
                <a:lnTo>
                  <a:pt x="20618" y="3927"/>
                </a:lnTo>
                <a:cubicBezTo>
                  <a:pt x="20618" y="3927"/>
                  <a:pt x="20618" y="5891"/>
                  <a:pt x="20618" y="5891"/>
                </a:cubicBezTo>
                <a:close/>
                <a:moveTo>
                  <a:pt x="11147" y="5053"/>
                </a:moveTo>
                <a:cubicBezTo>
                  <a:pt x="11058" y="4964"/>
                  <a:pt x="10935" y="4909"/>
                  <a:pt x="10800" y="4909"/>
                </a:cubicBezTo>
                <a:cubicBezTo>
                  <a:pt x="10665" y="4909"/>
                  <a:pt x="10542" y="4964"/>
                  <a:pt x="10453" y="5053"/>
                </a:cubicBezTo>
                <a:lnTo>
                  <a:pt x="6526" y="8980"/>
                </a:lnTo>
                <a:cubicBezTo>
                  <a:pt x="6437" y="9069"/>
                  <a:pt x="6382" y="9192"/>
                  <a:pt x="6382" y="9327"/>
                </a:cubicBezTo>
                <a:cubicBezTo>
                  <a:pt x="6382" y="9599"/>
                  <a:pt x="6602" y="9818"/>
                  <a:pt x="6873" y="9818"/>
                </a:cubicBezTo>
                <a:cubicBezTo>
                  <a:pt x="7008" y="9818"/>
                  <a:pt x="7131" y="9764"/>
                  <a:pt x="7220" y="9674"/>
                </a:cubicBezTo>
                <a:lnTo>
                  <a:pt x="10309" y="6585"/>
                </a:lnTo>
                <a:lnTo>
                  <a:pt x="10309" y="16200"/>
                </a:lnTo>
                <a:cubicBezTo>
                  <a:pt x="10309" y="16471"/>
                  <a:pt x="10529" y="16691"/>
                  <a:pt x="10800" y="16691"/>
                </a:cubicBezTo>
                <a:cubicBezTo>
                  <a:pt x="11071" y="16691"/>
                  <a:pt x="11291" y="16471"/>
                  <a:pt x="11291" y="16200"/>
                </a:cubicBezTo>
                <a:lnTo>
                  <a:pt x="11291" y="6585"/>
                </a:lnTo>
                <a:lnTo>
                  <a:pt x="14380" y="9674"/>
                </a:lnTo>
                <a:cubicBezTo>
                  <a:pt x="14469" y="9764"/>
                  <a:pt x="14592" y="9818"/>
                  <a:pt x="14727" y="9818"/>
                </a:cubicBezTo>
                <a:cubicBezTo>
                  <a:pt x="14998" y="9818"/>
                  <a:pt x="15218" y="9599"/>
                  <a:pt x="15218" y="9327"/>
                </a:cubicBezTo>
                <a:cubicBezTo>
                  <a:pt x="15218" y="9192"/>
                  <a:pt x="15163" y="9069"/>
                  <a:pt x="15074" y="8980"/>
                </a:cubicBezTo>
                <a:cubicBezTo>
                  <a:pt x="15074" y="8980"/>
                  <a:pt x="11147" y="5053"/>
                  <a:pt x="11147" y="505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20618" y="9818"/>
                </a:moveTo>
                <a:lnTo>
                  <a:pt x="21600" y="9818"/>
                </a:lnTo>
                <a:lnTo>
                  <a:pt x="21600" y="7855"/>
                </a:lnTo>
                <a:lnTo>
                  <a:pt x="20618" y="7855"/>
                </a:lnTo>
                <a:cubicBezTo>
                  <a:pt x="20618" y="7855"/>
                  <a:pt x="20618" y="9818"/>
                  <a:pt x="20618" y="9818"/>
                </a:cubicBezTo>
                <a:close/>
                <a:moveTo>
                  <a:pt x="19636" y="20346"/>
                </a:moveTo>
                <a:lnTo>
                  <a:pt x="19636" y="21420"/>
                </a:lnTo>
                <a:cubicBezTo>
                  <a:pt x="20469" y="21123"/>
                  <a:pt x="21129" y="20467"/>
                  <a:pt x="21426" y="19636"/>
                </a:cubicBezTo>
                <a:lnTo>
                  <a:pt x="20350" y="19636"/>
                </a:lnTo>
                <a:cubicBezTo>
                  <a:pt x="20177" y="19929"/>
                  <a:pt x="19931" y="20174"/>
                  <a:pt x="19636" y="20346"/>
                </a:cubicBezTo>
                <a:moveTo>
                  <a:pt x="20618" y="17673"/>
                </a:moveTo>
                <a:lnTo>
                  <a:pt x="21600" y="17673"/>
                </a:lnTo>
                <a:lnTo>
                  <a:pt x="21600" y="15709"/>
                </a:lnTo>
                <a:lnTo>
                  <a:pt x="20618" y="15709"/>
                </a:lnTo>
                <a:cubicBezTo>
                  <a:pt x="20618" y="15709"/>
                  <a:pt x="20618" y="17673"/>
                  <a:pt x="20618" y="17673"/>
                </a:cubicBezTo>
                <a:close/>
                <a:moveTo>
                  <a:pt x="7855" y="21600"/>
                </a:moveTo>
                <a:lnTo>
                  <a:pt x="9818" y="21600"/>
                </a:lnTo>
                <a:lnTo>
                  <a:pt x="9818" y="20618"/>
                </a:lnTo>
                <a:lnTo>
                  <a:pt x="7855" y="20618"/>
                </a:lnTo>
                <a:cubicBezTo>
                  <a:pt x="7855" y="20618"/>
                  <a:pt x="7855" y="21600"/>
                  <a:pt x="7855" y="21600"/>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9" y="1133"/>
                  <a:pt x="20469" y="477"/>
                  <a:pt x="19636" y="180"/>
                </a:cubicBezTo>
                <a:lnTo>
                  <a:pt x="19636" y="1254"/>
                </a:lnTo>
                <a:cubicBezTo>
                  <a:pt x="19931" y="1426"/>
                  <a:pt x="20177" y="1670"/>
                  <a:pt x="20350" y="1964"/>
                </a:cubicBezTo>
                <a:moveTo>
                  <a:pt x="982" y="3927"/>
                </a:moveTo>
                <a:lnTo>
                  <a:pt x="0" y="3927"/>
                </a:lnTo>
                <a:lnTo>
                  <a:pt x="0" y="5891"/>
                </a:lnTo>
                <a:lnTo>
                  <a:pt x="982" y="5891"/>
                </a:lnTo>
                <a:cubicBezTo>
                  <a:pt x="982" y="5891"/>
                  <a:pt x="982" y="3927"/>
                  <a:pt x="982" y="3927"/>
                </a:cubicBezTo>
                <a:close/>
                <a:moveTo>
                  <a:pt x="3927" y="21600"/>
                </a:moveTo>
                <a:lnTo>
                  <a:pt x="5891" y="21600"/>
                </a:lnTo>
                <a:lnTo>
                  <a:pt x="5891" y="20618"/>
                </a:lnTo>
                <a:lnTo>
                  <a:pt x="3927" y="20618"/>
                </a:lnTo>
                <a:cubicBezTo>
                  <a:pt x="3927" y="20618"/>
                  <a:pt x="3927" y="21600"/>
                  <a:pt x="3927" y="21600"/>
                </a:cubicBezTo>
                <a:close/>
                <a:moveTo>
                  <a:pt x="13745" y="0"/>
                </a:moveTo>
                <a:lnTo>
                  <a:pt x="11782" y="0"/>
                </a:lnTo>
                <a:lnTo>
                  <a:pt x="11782" y="982"/>
                </a:lnTo>
                <a:lnTo>
                  <a:pt x="13745" y="982"/>
                </a:lnTo>
                <a:cubicBezTo>
                  <a:pt x="13745" y="982"/>
                  <a:pt x="13745" y="0"/>
                  <a:pt x="13745" y="0"/>
                </a:cubicBezTo>
                <a:close/>
                <a:moveTo>
                  <a:pt x="174" y="1964"/>
                </a:moveTo>
                <a:lnTo>
                  <a:pt x="1250" y="1964"/>
                </a:lnTo>
                <a:cubicBezTo>
                  <a:pt x="1423" y="1670"/>
                  <a:pt x="1669" y="1426"/>
                  <a:pt x="1964" y="1254"/>
                </a:cubicBezTo>
                <a:lnTo>
                  <a:pt x="1964" y="180"/>
                </a:lnTo>
                <a:cubicBezTo>
                  <a:pt x="1131" y="477"/>
                  <a:pt x="472" y="1133"/>
                  <a:pt x="174" y="1964"/>
                </a:cubicBezTo>
                <a:moveTo>
                  <a:pt x="1250" y="19636"/>
                </a:moveTo>
                <a:lnTo>
                  <a:pt x="174" y="19636"/>
                </a:lnTo>
                <a:cubicBezTo>
                  <a:pt x="472" y="20467"/>
                  <a:pt x="1131" y="21123"/>
                  <a:pt x="1964" y="21420"/>
                </a:cubicBezTo>
                <a:lnTo>
                  <a:pt x="1964" y="20346"/>
                </a:lnTo>
                <a:cubicBezTo>
                  <a:pt x="1669" y="20174"/>
                  <a:pt x="1423" y="19929"/>
                  <a:pt x="1250" y="19636"/>
                </a:cubicBezTo>
                <a:moveTo>
                  <a:pt x="982" y="11782"/>
                </a:moveTo>
                <a:lnTo>
                  <a:pt x="0" y="11782"/>
                </a:lnTo>
                <a:lnTo>
                  <a:pt x="0" y="13745"/>
                </a:lnTo>
                <a:lnTo>
                  <a:pt x="982" y="13745"/>
                </a:lnTo>
                <a:cubicBezTo>
                  <a:pt x="982" y="13745"/>
                  <a:pt x="982" y="11782"/>
                  <a:pt x="982" y="11782"/>
                </a:cubicBezTo>
                <a:close/>
                <a:moveTo>
                  <a:pt x="982" y="7855"/>
                </a:moveTo>
                <a:lnTo>
                  <a:pt x="0" y="7855"/>
                </a:lnTo>
                <a:lnTo>
                  <a:pt x="0" y="9818"/>
                </a:lnTo>
                <a:lnTo>
                  <a:pt x="982" y="9818"/>
                </a:lnTo>
                <a:cubicBezTo>
                  <a:pt x="982" y="9818"/>
                  <a:pt x="982" y="7855"/>
                  <a:pt x="982" y="7855"/>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9" name="Shape 2719"/>
          <p:cNvSpPr/>
          <p:nvPr/>
        </p:nvSpPr>
        <p:spPr>
          <a:xfrm>
            <a:off x="1060590"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600"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7446" y="18078"/>
                </a:moveTo>
                <a:lnTo>
                  <a:pt x="18081" y="18771"/>
                </a:lnTo>
                <a:cubicBezTo>
                  <a:pt x="18572" y="18323"/>
                  <a:pt x="19024" y="17827"/>
                  <a:pt x="19424" y="17297"/>
                </a:cubicBezTo>
                <a:lnTo>
                  <a:pt x="18672" y="16732"/>
                </a:lnTo>
                <a:cubicBezTo>
                  <a:pt x="18307" y="17216"/>
                  <a:pt x="17894" y="17669"/>
                  <a:pt x="17446" y="18078"/>
                </a:cubicBezTo>
                <a:moveTo>
                  <a:pt x="19632" y="15184"/>
                </a:moveTo>
                <a:lnTo>
                  <a:pt x="20474" y="15602"/>
                </a:lnTo>
                <a:cubicBezTo>
                  <a:pt x="20770" y="15008"/>
                  <a:pt x="21012" y="14383"/>
                  <a:pt x="21194" y="13743"/>
                </a:cubicBezTo>
                <a:lnTo>
                  <a:pt x="20288" y="13487"/>
                </a:lnTo>
                <a:cubicBezTo>
                  <a:pt x="20123" y="14071"/>
                  <a:pt x="19901" y="14642"/>
                  <a:pt x="19632" y="15184"/>
                </a:cubicBezTo>
                <a:moveTo>
                  <a:pt x="2873" y="4886"/>
                </a:moveTo>
                <a:lnTo>
                  <a:pt x="2120" y="4322"/>
                </a:lnTo>
                <a:cubicBezTo>
                  <a:pt x="1721" y="4854"/>
                  <a:pt x="1369" y="5424"/>
                  <a:pt x="1074" y="6018"/>
                </a:cubicBezTo>
                <a:lnTo>
                  <a:pt x="1917" y="6435"/>
                </a:lnTo>
                <a:cubicBezTo>
                  <a:pt x="2186" y="5892"/>
                  <a:pt x="2508" y="5371"/>
                  <a:pt x="2873" y="4886"/>
                </a:cubicBezTo>
                <a:moveTo>
                  <a:pt x="943" y="11741"/>
                </a:moveTo>
                <a:lnTo>
                  <a:pt x="6" y="11829"/>
                </a:lnTo>
                <a:cubicBezTo>
                  <a:pt x="69" y="12492"/>
                  <a:pt x="194" y="13151"/>
                  <a:pt x="377" y="13786"/>
                </a:cubicBezTo>
                <a:lnTo>
                  <a:pt x="1281" y="13527"/>
                </a:lnTo>
                <a:cubicBezTo>
                  <a:pt x="1114" y="12946"/>
                  <a:pt x="1000" y="12346"/>
                  <a:pt x="943" y="11741"/>
                </a:cubicBezTo>
                <a:moveTo>
                  <a:pt x="1265" y="8133"/>
                </a:moveTo>
                <a:lnTo>
                  <a:pt x="359" y="7879"/>
                </a:lnTo>
                <a:cubicBezTo>
                  <a:pt x="179" y="8516"/>
                  <a:pt x="59" y="9176"/>
                  <a:pt x="0" y="9838"/>
                </a:cubicBezTo>
                <a:lnTo>
                  <a:pt x="938" y="9921"/>
                </a:lnTo>
                <a:cubicBezTo>
                  <a:pt x="991" y="9316"/>
                  <a:pt x="1101" y="8714"/>
                  <a:pt x="1265" y="8133"/>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765" y="182"/>
                </a:moveTo>
                <a:cubicBezTo>
                  <a:pt x="12115" y="61"/>
                  <a:pt x="11448" y="0"/>
                  <a:pt x="10788" y="0"/>
                </a:cubicBezTo>
                <a:lnTo>
                  <a:pt x="10787" y="0"/>
                </a:lnTo>
                <a:lnTo>
                  <a:pt x="10736" y="0"/>
                </a:lnTo>
                <a:lnTo>
                  <a:pt x="10779" y="940"/>
                </a:lnTo>
                <a:cubicBezTo>
                  <a:pt x="11389" y="940"/>
                  <a:pt x="12000" y="995"/>
                  <a:pt x="12594" y="1105"/>
                </a:cubicBezTo>
                <a:cubicBezTo>
                  <a:pt x="12594" y="1105"/>
                  <a:pt x="12765" y="182"/>
                  <a:pt x="12765" y="182"/>
                </a:cubicBezTo>
                <a:close/>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0" name="Shape 2720"/>
          <p:cNvSpPr/>
          <p:nvPr/>
        </p:nvSpPr>
        <p:spPr>
          <a:xfrm>
            <a:off x="1460535"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14735"/>
                </a:moveTo>
                <a:cubicBezTo>
                  <a:pt x="8622" y="14735"/>
                  <a:pt x="6857" y="12973"/>
                  <a:pt x="6857" y="10800"/>
                </a:cubicBezTo>
                <a:cubicBezTo>
                  <a:pt x="6857" y="8627"/>
                  <a:pt x="8622" y="6865"/>
                  <a:pt x="10800" y="6865"/>
                </a:cubicBezTo>
                <a:cubicBezTo>
                  <a:pt x="12978" y="6865"/>
                  <a:pt x="14743" y="8627"/>
                  <a:pt x="14743" y="10800"/>
                </a:cubicBezTo>
                <a:cubicBezTo>
                  <a:pt x="14743" y="12973"/>
                  <a:pt x="12978" y="14735"/>
                  <a:pt x="10800" y="14735"/>
                </a:cubicBezTo>
                <a:moveTo>
                  <a:pt x="10800" y="5881"/>
                </a:moveTo>
                <a:cubicBezTo>
                  <a:pt x="8078" y="5881"/>
                  <a:pt x="5871" y="8083"/>
                  <a:pt x="5871" y="10800"/>
                </a:cubicBezTo>
                <a:cubicBezTo>
                  <a:pt x="5871" y="13517"/>
                  <a:pt x="8078" y="15719"/>
                  <a:pt x="10800" y="15719"/>
                </a:cubicBezTo>
                <a:cubicBezTo>
                  <a:pt x="13522" y="15719"/>
                  <a:pt x="15729" y="13517"/>
                  <a:pt x="15729" y="10800"/>
                </a:cubicBezTo>
                <a:cubicBezTo>
                  <a:pt x="15729" y="8083"/>
                  <a:pt x="13522" y="5881"/>
                  <a:pt x="10800" y="588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873" y="4886"/>
                </a:moveTo>
                <a:lnTo>
                  <a:pt x="2120" y="4322"/>
                </a:lnTo>
                <a:cubicBezTo>
                  <a:pt x="1721" y="4854"/>
                  <a:pt x="1369" y="5424"/>
                  <a:pt x="1074" y="6018"/>
                </a:cubicBezTo>
                <a:lnTo>
                  <a:pt x="1917" y="6435"/>
                </a:lnTo>
                <a:cubicBezTo>
                  <a:pt x="2186" y="5892"/>
                  <a:pt x="2508" y="5371"/>
                  <a:pt x="2873" y="4886"/>
                </a:cubicBezTo>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1" name="Shape 2721"/>
          <p:cNvSpPr/>
          <p:nvPr/>
        </p:nvSpPr>
        <p:spPr>
          <a:xfrm>
            <a:off x="1860482"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1148" y="16559"/>
                </a:moveTo>
                <a:lnTo>
                  <a:pt x="15092" y="12624"/>
                </a:lnTo>
                <a:cubicBezTo>
                  <a:pt x="15181" y="12535"/>
                  <a:pt x="15236" y="12412"/>
                  <a:pt x="15236" y="12276"/>
                </a:cubicBezTo>
                <a:cubicBezTo>
                  <a:pt x="15236" y="12004"/>
                  <a:pt x="15015" y="11784"/>
                  <a:pt x="14743" y="11784"/>
                </a:cubicBezTo>
                <a:cubicBezTo>
                  <a:pt x="14607" y="11784"/>
                  <a:pt x="14483" y="11839"/>
                  <a:pt x="14395" y="11928"/>
                </a:cubicBezTo>
                <a:lnTo>
                  <a:pt x="11293" y="15024"/>
                </a:lnTo>
                <a:lnTo>
                  <a:pt x="11293" y="5389"/>
                </a:lnTo>
                <a:cubicBezTo>
                  <a:pt x="11293" y="5117"/>
                  <a:pt x="11072" y="4897"/>
                  <a:pt x="10800" y="4897"/>
                </a:cubicBezTo>
                <a:cubicBezTo>
                  <a:pt x="10528" y="4897"/>
                  <a:pt x="10307" y="5117"/>
                  <a:pt x="10307" y="5389"/>
                </a:cubicBezTo>
                <a:lnTo>
                  <a:pt x="10307" y="15024"/>
                </a:lnTo>
                <a:lnTo>
                  <a:pt x="7206" y="11928"/>
                </a:lnTo>
                <a:cubicBezTo>
                  <a:pt x="7117" y="11839"/>
                  <a:pt x="6993" y="11784"/>
                  <a:pt x="6857" y="11784"/>
                </a:cubicBezTo>
                <a:cubicBezTo>
                  <a:pt x="6585" y="11784"/>
                  <a:pt x="6364" y="12004"/>
                  <a:pt x="6364" y="12276"/>
                </a:cubicBezTo>
                <a:cubicBezTo>
                  <a:pt x="6364" y="12412"/>
                  <a:pt x="6419" y="12535"/>
                  <a:pt x="6508" y="12624"/>
                </a:cubicBezTo>
                <a:lnTo>
                  <a:pt x="10452" y="16559"/>
                </a:lnTo>
                <a:cubicBezTo>
                  <a:pt x="10541" y="16648"/>
                  <a:pt x="10664" y="16703"/>
                  <a:pt x="10800" y="16703"/>
                </a:cubicBezTo>
                <a:cubicBezTo>
                  <a:pt x="10936" y="16703"/>
                  <a:pt x="11059" y="16648"/>
                  <a:pt x="11148" y="16559"/>
                </a:cubicBezTo>
                <a:moveTo>
                  <a:pt x="18660" y="4854"/>
                </a:moveTo>
                <a:lnTo>
                  <a:pt x="19411" y="4287"/>
                </a:lnTo>
                <a:cubicBezTo>
                  <a:pt x="19011" y="3759"/>
                  <a:pt x="18558" y="3264"/>
                  <a:pt x="18065" y="2816"/>
                </a:cubicBezTo>
                <a:lnTo>
                  <a:pt x="17432" y="3510"/>
                </a:lnTo>
                <a:cubicBezTo>
                  <a:pt x="17882" y="3919"/>
                  <a:pt x="18295" y="4371"/>
                  <a:pt x="18660" y="485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8924" y="1113"/>
                </a:moveTo>
                <a:lnTo>
                  <a:pt x="8748" y="190"/>
                </a:lnTo>
                <a:cubicBezTo>
                  <a:pt x="8093" y="315"/>
                  <a:pt x="7448" y="501"/>
                  <a:pt x="6830" y="743"/>
                </a:cubicBezTo>
                <a:lnTo>
                  <a:pt x="7173" y="1617"/>
                </a:lnTo>
                <a:cubicBezTo>
                  <a:pt x="7738" y="1396"/>
                  <a:pt x="8327" y="1226"/>
                  <a:pt x="8924" y="1113"/>
                </a:cubicBezTo>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2873" y="4886"/>
                </a:moveTo>
                <a:lnTo>
                  <a:pt x="2120" y="4322"/>
                </a:lnTo>
                <a:cubicBezTo>
                  <a:pt x="1721" y="4854"/>
                  <a:pt x="1369" y="5424"/>
                  <a:pt x="1074" y="6018"/>
                </a:cubicBezTo>
                <a:lnTo>
                  <a:pt x="1917" y="6435"/>
                </a:lnTo>
                <a:cubicBezTo>
                  <a:pt x="2186" y="5892"/>
                  <a:pt x="2508" y="5371"/>
                  <a:pt x="2873" y="4886"/>
                </a:cubicBezTo>
                <a:moveTo>
                  <a:pt x="5546" y="2435"/>
                </a:moveTo>
                <a:lnTo>
                  <a:pt x="5048" y="1639"/>
                </a:lnTo>
                <a:cubicBezTo>
                  <a:pt x="4484" y="1991"/>
                  <a:pt x="3950" y="2397"/>
                  <a:pt x="3460" y="2846"/>
                </a:cubicBezTo>
                <a:lnTo>
                  <a:pt x="4096" y="3538"/>
                </a:lnTo>
                <a:cubicBezTo>
                  <a:pt x="4544" y="3127"/>
                  <a:pt x="5032" y="2756"/>
                  <a:pt x="5546" y="243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2" name="Shape 2722"/>
          <p:cNvSpPr/>
          <p:nvPr/>
        </p:nvSpPr>
        <p:spPr>
          <a:xfrm>
            <a:off x="2260428" y="3479418"/>
            <a:ext cx="208654" cy="209069"/>
          </a:xfrm>
          <a:custGeom>
            <a:avLst/>
            <a:gdLst/>
            <a:ahLst/>
            <a:cxnLst>
              <a:cxn ang="0">
                <a:pos x="wd2" y="hd2"/>
              </a:cxn>
              <a:cxn ang="5400000">
                <a:pos x="wd2" y="hd2"/>
              </a:cxn>
              <a:cxn ang="10800000">
                <a:pos x="wd2" y="hd2"/>
              </a:cxn>
              <a:cxn ang="16200000">
                <a:pos x="wd2" y="hd2"/>
              </a:cxn>
            </a:cxnLst>
            <a:rect l="0" t="0" r="r" b="b"/>
            <a:pathLst>
              <a:path w="21600" h="21600" extrusionOk="0">
                <a:moveTo>
                  <a:pt x="10800" y="20661"/>
                </a:moveTo>
                <a:lnTo>
                  <a:pt x="10802" y="21600"/>
                </a:lnTo>
                <a:cubicBezTo>
                  <a:pt x="11469" y="21598"/>
                  <a:pt x="12137" y="21536"/>
                  <a:pt x="12788" y="21415"/>
                </a:cubicBezTo>
                <a:lnTo>
                  <a:pt x="12615" y="20491"/>
                </a:lnTo>
                <a:cubicBezTo>
                  <a:pt x="12020" y="20603"/>
                  <a:pt x="11409" y="20660"/>
                  <a:pt x="10800" y="20661"/>
                </a:cubicBezTo>
                <a:moveTo>
                  <a:pt x="14365" y="19991"/>
                </a:moveTo>
                <a:lnTo>
                  <a:pt x="14707" y="20866"/>
                </a:lnTo>
                <a:cubicBezTo>
                  <a:pt x="15328" y="20625"/>
                  <a:pt x="15928" y="20324"/>
                  <a:pt x="16492" y="19973"/>
                </a:cubicBezTo>
                <a:lnTo>
                  <a:pt x="15994" y="19176"/>
                </a:lnTo>
                <a:cubicBezTo>
                  <a:pt x="15479" y="19497"/>
                  <a:pt x="14932" y="19771"/>
                  <a:pt x="14365" y="19991"/>
                </a:cubicBezTo>
                <a:moveTo>
                  <a:pt x="11293" y="16211"/>
                </a:moveTo>
                <a:lnTo>
                  <a:pt x="11293" y="6576"/>
                </a:lnTo>
                <a:lnTo>
                  <a:pt x="14395" y="9672"/>
                </a:lnTo>
                <a:cubicBezTo>
                  <a:pt x="14484" y="9761"/>
                  <a:pt x="14607" y="9816"/>
                  <a:pt x="14743" y="9816"/>
                </a:cubicBezTo>
                <a:cubicBezTo>
                  <a:pt x="15016" y="9816"/>
                  <a:pt x="15236" y="9596"/>
                  <a:pt x="15236" y="9324"/>
                </a:cubicBezTo>
                <a:cubicBezTo>
                  <a:pt x="15236" y="9189"/>
                  <a:pt x="15181" y="9065"/>
                  <a:pt x="15092" y="8976"/>
                </a:cubicBezTo>
                <a:lnTo>
                  <a:pt x="11149" y="5041"/>
                </a:lnTo>
                <a:cubicBezTo>
                  <a:pt x="11059" y="4952"/>
                  <a:pt x="10936" y="4897"/>
                  <a:pt x="10800" y="4897"/>
                </a:cubicBezTo>
                <a:cubicBezTo>
                  <a:pt x="10664" y="4897"/>
                  <a:pt x="10541" y="4952"/>
                  <a:pt x="10452" y="5041"/>
                </a:cubicBezTo>
                <a:lnTo>
                  <a:pt x="6509" y="8976"/>
                </a:lnTo>
                <a:cubicBezTo>
                  <a:pt x="6419" y="9065"/>
                  <a:pt x="6364" y="9189"/>
                  <a:pt x="6364" y="9324"/>
                </a:cubicBezTo>
                <a:cubicBezTo>
                  <a:pt x="6364" y="9596"/>
                  <a:pt x="6584" y="9816"/>
                  <a:pt x="6857" y="9816"/>
                </a:cubicBezTo>
                <a:cubicBezTo>
                  <a:pt x="6993" y="9816"/>
                  <a:pt x="7116" y="9761"/>
                  <a:pt x="7206" y="9672"/>
                </a:cubicBezTo>
                <a:lnTo>
                  <a:pt x="10307" y="6576"/>
                </a:lnTo>
                <a:lnTo>
                  <a:pt x="10307" y="16211"/>
                </a:lnTo>
                <a:cubicBezTo>
                  <a:pt x="10307" y="16483"/>
                  <a:pt x="10528" y="16703"/>
                  <a:pt x="10800" y="16703"/>
                </a:cubicBezTo>
                <a:cubicBezTo>
                  <a:pt x="11072" y="16703"/>
                  <a:pt x="11293" y="16483"/>
                  <a:pt x="11293" y="16211"/>
                </a:cubicBezTo>
                <a:moveTo>
                  <a:pt x="17446" y="18078"/>
                </a:moveTo>
                <a:lnTo>
                  <a:pt x="18081" y="18770"/>
                </a:lnTo>
                <a:cubicBezTo>
                  <a:pt x="18572" y="18323"/>
                  <a:pt x="19024" y="17827"/>
                  <a:pt x="19424" y="17297"/>
                </a:cubicBezTo>
                <a:lnTo>
                  <a:pt x="18673" y="16732"/>
                </a:lnTo>
                <a:cubicBezTo>
                  <a:pt x="18307" y="17216"/>
                  <a:pt x="17894" y="17669"/>
                  <a:pt x="17446" y="18078"/>
                </a:cubicBezTo>
                <a:moveTo>
                  <a:pt x="21553" y="9794"/>
                </a:moveTo>
                <a:lnTo>
                  <a:pt x="20617" y="9880"/>
                </a:lnTo>
                <a:cubicBezTo>
                  <a:pt x="20645" y="10182"/>
                  <a:pt x="20659" y="10492"/>
                  <a:pt x="20659" y="10800"/>
                </a:cubicBezTo>
                <a:cubicBezTo>
                  <a:pt x="20659" y="11099"/>
                  <a:pt x="20646" y="11401"/>
                  <a:pt x="20619" y="11699"/>
                </a:cubicBezTo>
                <a:lnTo>
                  <a:pt x="21556" y="11784"/>
                </a:lnTo>
                <a:cubicBezTo>
                  <a:pt x="21586" y="11458"/>
                  <a:pt x="21600" y="11127"/>
                  <a:pt x="21600" y="10800"/>
                </a:cubicBezTo>
                <a:cubicBezTo>
                  <a:pt x="21600" y="10462"/>
                  <a:pt x="21584" y="10124"/>
                  <a:pt x="21553" y="9794"/>
                </a:cubicBezTo>
                <a:moveTo>
                  <a:pt x="18660" y="4853"/>
                </a:moveTo>
                <a:lnTo>
                  <a:pt x="19412" y="4287"/>
                </a:lnTo>
                <a:cubicBezTo>
                  <a:pt x="19011" y="3759"/>
                  <a:pt x="18558" y="3264"/>
                  <a:pt x="18066" y="2816"/>
                </a:cubicBezTo>
                <a:lnTo>
                  <a:pt x="17432" y="3510"/>
                </a:lnTo>
                <a:cubicBezTo>
                  <a:pt x="17882" y="3919"/>
                  <a:pt x="18295" y="4371"/>
                  <a:pt x="18660" y="4853"/>
                </a:cubicBezTo>
                <a:moveTo>
                  <a:pt x="6893" y="20882"/>
                </a:moveTo>
                <a:cubicBezTo>
                  <a:pt x="7513" y="21121"/>
                  <a:pt x="8160" y="21302"/>
                  <a:pt x="8814" y="21422"/>
                </a:cubicBezTo>
                <a:lnTo>
                  <a:pt x="8984" y="20499"/>
                </a:lnTo>
                <a:cubicBezTo>
                  <a:pt x="8387" y="20389"/>
                  <a:pt x="7797" y="20223"/>
                  <a:pt x="7231" y="20006"/>
                </a:cubicBezTo>
                <a:cubicBezTo>
                  <a:pt x="7231" y="20006"/>
                  <a:pt x="6893" y="20882"/>
                  <a:pt x="6893" y="20882"/>
                </a:cubicBezTo>
                <a:close/>
                <a:moveTo>
                  <a:pt x="19632" y="15184"/>
                </a:moveTo>
                <a:lnTo>
                  <a:pt x="20474" y="15602"/>
                </a:lnTo>
                <a:cubicBezTo>
                  <a:pt x="20770" y="15008"/>
                  <a:pt x="21013" y="14383"/>
                  <a:pt x="21194" y="13743"/>
                </a:cubicBezTo>
                <a:lnTo>
                  <a:pt x="20288" y="13487"/>
                </a:lnTo>
                <a:cubicBezTo>
                  <a:pt x="20123" y="14071"/>
                  <a:pt x="19902" y="14642"/>
                  <a:pt x="19632" y="15184"/>
                </a:cubicBezTo>
                <a:moveTo>
                  <a:pt x="21187" y="7835"/>
                </a:moveTo>
                <a:cubicBezTo>
                  <a:pt x="21005" y="7197"/>
                  <a:pt x="20761" y="6573"/>
                  <a:pt x="20464" y="5978"/>
                </a:cubicBezTo>
                <a:lnTo>
                  <a:pt x="19622" y="6399"/>
                </a:lnTo>
                <a:cubicBezTo>
                  <a:pt x="19893" y="6941"/>
                  <a:pt x="20115" y="7510"/>
                  <a:pt x="20282" y="8094"/>
                </a:cubicBezTo>
                <a:cubicBezTo>
                  <a:pt x="20282" y="8094"/>
                  <a:pt x="21187" y="7835"/>
                  <a:pt x="21187" y="7835"/>
                </a:cubicBezTo>
                <a:close/>
                <a:moveTo>
                  <a:pt x="8923" y="1113"/>
                </a:moveTo>
                <a:lnTo>
                  <a:pt x="8747" y="190"/>
                </a:lnTo>
                <a:cubicBezTo>
                  <a:pt x="8093" y="315"/>
                  <a:pt x="7448" y="501"/>
                  <a:pt x="6829" y="743"/>
                </a:cubicBezTo>
                <a:lnTo>
                  <a:pt x="7174" y="1617"/>
                </a:lnTo>
                <a:cubicBezTo>
                  <a:pt x="7737" y="1396"/>
                  <a:pt x="8326" y="1226"/>
                  <a:pt x="8923" y="1113"/>
                </a:cubicBezTo>
                <a:moveTo>
                  <a:pt x="16474" y="1615"/>
                </a:moveTo>
                <a:cubicBezTo>
                  <a:pt x="15907" y="1264"/>
                  <a:pt x="15307" y="966"/>
                  <a:pt x="14687" y="726"/>
                </a:cubicBezTo>
                <a:lnTo>
                  <a:pt x="14346" y="1602"/>
                </a:lnTo>
                <a:cubicBezTo>
                  <a:pt x="14913" y="1821"/>
                  <a:pt x="15462" y="2094"/>
                  <a:pt x="15978" y="2413"/>
                </a:cubicBezTo>
                <a:cubicBezTo>
                  <a:pt x="15978" y="2413"/>
                  <a:pt x="16474" y="1615"/>
                  <a:pt x="16474" y="1615"/>
                </a:cubicBezTo>
                <a:close/>
                <a:moveTo>
                  <a:pt x="2873" y="4886"/>
                </a:moveTo>
                <a:lnTo>
                  <a:pt x="2120" y="4322"/>
                </a:lnTo>
                <a:cubicBezTo>
                  <a:pt x="1720" y="4853"/>
                  <a:pt x="1368" y="5424"/>
                  <a:pt x="1074" y="6018"/>
                </a:cubicBezTo>
                <a:lnTo>
                  <a:pt x="1917" y="6435"/>
                </a:lnTo>
                <a:cubicBezTo>
                  <a:pt x="2186" y="5892"/>
                  <a:pt x="2508" y="5371"/>
                  <a:pt x="2873" y="4886"/>
                </a:cubicBezTo>
                <a:moveTo>
                  <a:pt x="3509" y="18800"/>
                </a:moveTo>
                <a:cubicBezTo>
                  <a:pt x="4003" y="19247"/>
                  <a:pt x="4539" y="19650"/>
                  <a:pt x="5104" y="19997"/>
                </a:cubicBezTo>
                <a:lnTo>
                  <a:pt x="5598" y="19198"/>
                </a:lnTo>
                <a:cubicBezTo>
                  <a:pt x="5082" y="18881"/>
                  <a:pt x="4592" y="18513"/>
                  <a:pt x="4142" y="18105"/>
                </a:cubicBezTo>
                <a:cubicBezTo>
                  <a:pt x="4142" y="18105"/>
                  <a:pt x="3509" y="18800"/>
                  <a:pt x="3509" y="18800"/>
                </a:cubicBezTo>
                <a:close/>
                <a:moveTo>
                  <a:pt x="12594" y="1105"/>
                </a:moveTo>
                <a:lnTo>
                  <a:pt x="12765" y="182"/>
                </a:lnTo>
                <a:cubicBezTo>
                  <a:pt x="12116" y="61"/>
                  <a:pt x="11448" y="0"/>
                  <a:pt x="10788" y="0"/>
                </a:cubicBezTo>
                <a:lnTo>
                  <a:pt x="10787" y="0"/>
                </a:lnTo>
                <a:lnTo>
                  <a:pt x="10736" y="0"/>
                </a:lnTo>
                <a:lnTo>
                  <a:pt x="10779" y="940"/>
                </a:lnTo>
                <a:cubicBezTo>
                  <a:pt x="11389" y="940"/>
                  <a:pt x="12000" y="995"/>
                  <a:pt x="12594" y="1105"/>
                </a:cubicBezTo>
                <a:moveTo>
                  <a:pt x="1104" y="15642"/>
                </a:moveTo>
                <a:cubicBezTo>
                  <a:pt x="1403" y="16235"/>
                  <a:pt x="1758" y="16804"/>
                  <a:pt x="2161" y="17332"/>
                </a:cubicBezTo>
                <a:lnTo>
                  <a:pt x="2910" y="16763"/>
                </a:lnTo>
                <a:cubicBezTo>
                  <a:pt x="2542" y="16281"/>
                  <a:pt x="2218" y="15762"/>
                  <a:pt x="1945" y="15220"/>
                </a:cubicBezTo>
                <a:cubicBezTo>
                  <a:pt x="1945" y="15220"/>
                  <a:pt x="1104" y="15642"/>
                  <a:pt x="1104" y="15642"/>
                </a:cubicBezTo>
                <a:close/>
                <a:moveTo>
                  <a:pt x="5546" y="2435"/>
                </a:moveTo>
                <a:lnTo>
                  <a:pt x="5047" y="1639"/>
                </a:lnTo>
                <a:cubicBezTo>
                  <a:pt x="4484" y="1991"/>
                  <a:pt x="3950" y="2397"/>
                  <a:pt x="3460" y="2846"/>
                </a:cubicBezTo>
                <a:lnTo>
                  <a:pt x="4096" y="3538"/>
                </a:lnTo>
                <a:cubicBezTo>
                  <a:pt x="4544" y="3127"/>
                  <a:pt x="5031" y="2756"/>
                  <a:pt x="5546" y="2435"/>
                </a:cubicBezTo>
                <a:moveTo>
                  <a:pt x="1264" y="8133"/>
                </a:moveTo>
                <a:lnTo>
                  <a:pt x="358" y="7879"/>
                </a:lnTo>
                <a:cubicBezTo>
                  <a:pt x="179" y="8516"/>
                  <a:pt x="59" y="9176"/>
                  <a:pt x="0" y="9838"/>
                </a:cubicBezTo>
                <a:lnTo>
                  <a:pt x="938" y="9921"/>
                </a:lnTo>
                <a:cubicBezTo>
                  <a:pt x="991" y="9317"/>
                  <a:pt x="1101" y="8714"/>
                  <a:pt x="1264" y="8133"/>
                </a:cubicBezTo>
                <a:moveTo>
                  <a:pt x="942" y="11741"/>
                </a:moveTo>
                <a:lnTo>
                  <a:pt x="6" y="11829"/>
                </a:lnTo>
                <a:cubicBezTo>
                  <a:pt x="69" y="12492"/>
                  <a:pt x="194" y="13151"/>
                  <a:pt x="377" y="13786"/>
                </a:cubicBezTo>
                <a:lnTo>
                  <a:pt x="1281" y="13527"/>
                </a:lnTo>
                <a:cubicBezTo>
                  <a:pt x="1114" y="12946"/>
                  <a:pt x="1000" y="12346"/>
                  <a:pt x="942"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3" name="Shape 2723"/>
          <p:cNvSpPr/>
          <p:nvPr/>
        </p:nvSpPr>
        <p:spPr>
          <a:xfrm>
            <a:off x="266037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4" name="Shape 2724"/>
          <p:cNvSpPr/>
          <p:nvPr/>
        </p:nvSpPr>
        <p:spPr>
          <a:xfrm>
            <a:off x="306032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1782"/>
                </a:lnTo>
                <a:lnTo>
                  <a:pt x="15709" y="11782"/>
                </a:lnTo>
                <a:cubicBezTo>
                  <a:pt x="15709" y="11782"/>
                  <a:pt x="15709" y="15709"/>
                  <a:pt x="15709" y="15709"/>
                </a:cubicBezTo>
                <a:close/>
                <a:moveTo>
                  <a:pt x="16691" y="10800"/>
                </a:moveTo>
                <a:lnTo>
                  <a:pt x="4909" y="10800"/>
                </a:lnTo>
                <a:lnTo>
                  <a:pt x="4909" y="16691"/>
                </a:lnTo>
                <a:lnTo>
                  <a:pt x="16691" y="16691"/>
                </a:lnTo>
                <a:cubicBezTo>
                  <a:pt x="16691" y="16691"/>
                  <a:pt x="16691" y="10800"/>
                  <a:pt x="16691" y="10800"/>
                </a:cubicBezTo>
                <a:close/>
                <a:moveTo>
                  <a:pt x="11782" y="13745"/>
                </a:moveTo>
                <a:lnTo>
                  <a:pt x="9818" y="13745"/>
                </a:lnTo>
                <a:lnTo>
                  <a:pt x="9818" y="14727"/>
                </a:lnTo>
                <a:lnTo>
                  <a:pt x="11782" y="14727"/>
                </a:lnTo>
                <a:cubicBezTo>
                  <a:pt x="11782" y="14727"/>
                  <a:pt x="11782" y="13745"/>
                  <a:pt x="11782" y="13745"/>
                </a:cubicBezTo>
                <a:close/>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1782" y="5891"/>
                </a:moveTo>
                <a:lnTo>
                  <a:pt x="9818" y="5891"/>
                </a:lnTo>
                <a:lnTo>
                  <a:pt x="9818" y="6873"/>
                </a:lnTo>
                <a:lnTo>
                  <a:pt x="11782" y="6873"/>
                </a:lnTo>
                <a:cubicBezTo>
                  <a:pt x="11782" y="6873"/>
                  <a:pt x="11782" y="5891"/>
                  <a:pt x="11782" y="5891"/>
                </a:cubicBezTo>
                <a:close/>
                <a:moveTo>
                  <a:pt x="15709" y="7855"/>
                </a:moveTo>
                <a:lnTo>
                  <a:pt x="5891" y="7855"/>
                </a:lnTo>
                <a:lnTo>
                  <a:pt x="5891" y="3927"/>
                </a:lnTo>
                <a:lnTo>
                  <a:pt x="15709" y="3927"/>
                </a:lnTo>
                <a:cubicBezTo>
                  <a:pt x="15709" y="3927"/>
                  <a:pt x="15709" y="7855"/>
                  <a:pt x="15709" y="7855"/>
                </a:cubicBezTo>
                <a:close/>
                <a:moveTo>
                  <a:pt x="16691" y="2945"/>
                </a:moveTo>
                <a:lnTo>
                  <a:pt x="4909" y="2945"/>
                </a:lnTo>
                <a:lnTo>
                  <a:pt x="4909" y="8836"/>
                </a:lnTo>
                <a:lnTo>
                  <a:pt x="16691" y="8836"/>
                </a:lnTo>
                <a:cubicBezTo>
                  <a:pt x="16691" y="8836"/>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5" name="Shape 2725"/>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5709" y="10800"/>
                </a:moveTo>
                <a:lnTo>
                  <a:pt x="11782" y="10800"/>
                </a:lnTo>
                <a:lnTo>
                  <a:pt x="11782" y="9818"/>
                </a:lnTo>
                <a:lnTo>
                  <a:pt x="9818" y="9818"/>
                </a:lnTo>
                <a:lnTo>
                  <a:pt x="9818" y="10800"/>
                </a:lnTo>
                <a:lnTo>
                  <a:pt x="5891" y="10800"/>
                </a:lnTo>
                <a:lnTo>
                  <a:pt x="5891" y="8836"/>
                </a:lnTo>
                <a:lnTo>
                  <a:pt x="15709" y="8836"/>
                </a:lnTo>
                <a:cubicBezTo>
                  <a:pt x="15709" y="8836"/>
                  <a:pt x="15709" y="10800"/>
                  <a:pt x="15709" y="10800"/>
                </a:cubicBezTo>
                <a:close/>
                <a:moveTo>
                  <a:pt x="16691" y="7855"/>
                </a:moveTo>
                <a:lnTo>
                  <a:pt x="4909" y="7855"/>
                </a:lnTo>
                <a:lnTo>
                  <a:pt x="4909" y="11782"/>
                </a:lnTo>
                <a:lnTo>
                  <a:pt x="16691" y="11782"/>
                </a:lnTo>
                <a:cubicBezTo>
                  <a:pt x="16691" y="11782"/>
                  <a:pt x="16691" y="7855"/>
                  <a:pt x="16691" y="7855"/>
                </a:cubicBezTo>
                <a:close/>
                <a:moveTo>
                  <a:pt x="15709" y="15709"/>
                </a:moveTo>
                <a:lnTo>
                  <a:pt x="11782" y="15709"/>
                </a:lnTo>
                <a:lnTo>
                  <a:pt x="11782" y="14727"/>
                </a:lnTo>
                <a:lnTo>
                  <a:pt x="9818" y="14727"/>
                </a:lnTo>
                <a:lnTo>
                  <a:pt x="9818" y="15709"/>
                </a:lnTo>
                <a:lnTo>
                  <a:pt x="5891" y="15709"/>
                </a:lnTo>
                <a:lnTo>
                  <a:pt x="5891" y="13745"/>
                </a:lnTo>
                <a:lnTo>
                  <a:pt x="15709" y="13745"/>
                </a:lnTo>
                <a:cubicBezTo>
                  <a:pt x="15709" y="13745"/>
                  <a:pt x="15709" y="15709"/>
                  <a:pt x="15709" y="15709"/>
                </a:cubicBezTo>
                <a:close/>
                <a:moveTo>
                  <a:pt x="16691" y="12764"/>
                </a:moveTo>
                <a:lnTo>
                  <a:pt x="4909" y="12764"/>
                </a:lnTo>
                <a:lnTo>
                  <a:pt x="4909" y="16691"/>
                </a:lnTo>
                <a:lnTo>
                  <a:pt x="16691" y="16691"/>
                </a:lnTo>
                <a:cubicBezTo>
                  <a:pt x="16691" y="16691"/>
                  <a:pt x="16691" y="12764"/>
                  <a:pt x="16691" y="12764"/>
                </a:cubicBezTo>
                <a:close/>
                <a:moveTo>
                  <a:pt x="15709" y="5891"/>
                </a:moveTo>
                <a:lnTo>
                  <a:pt x="11782" y="5891"/>
                </a:lnTo>
                <a:lnTo>
                  <a:pt x="11782" y="4909"/>
                </a:lnTo>
                <a:lnTo>
                  <a:pt x="9818" y="4909"/>
                </a:lnTo>
                <a:lnTo>
                  <a:pt x="9818" y="5891"/>
                </a:lnTo>
                <a:lnTo>
                  <a:pt x="5891" y="5891"/>
                </a:lnTo>
                <a:lnTo>
                  <a:pt x="5891" y="3927"/>
                </a:lnTo>
                <a:lnTo>
                  <a:pt x="15709" y="3927"/>
                </a:lnTo>
                <a:cubicBezTo>
                  <a:pt x="15709" y="3927"/>
                  <a:pt x="15709" y="5891"/>
                  <a:pt x="15709" y="5891"/>
                </a:cubicBezTo>
                <a:close/>
                <a:moveTo>
                  <a:pt x="16691" y="2945"/>
                </a:moveTo>
                <a:lnTo>
                  <a:pt x="4909" y="2945"/>
                </a:lnTo>
                <a:lnTo>
                  <a:pt x="4909" y="6873"/>
                </a:lnTo>
                <a:lnTo>
                  <a:pt x="16691" y="6873"/>
                </a:lnTo>
                <a:cubicBezTo>
                  <a:pt x="16691" y="6873"/>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6" name="Shape 2726"/>
          <p:cNvSpPr/>
          <p:nvPr/>
        </p:nvSpPr>
        <p:spPr>
          <a:xfrm>
            <a:off x="3879256" y="3479418"/>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800" y="13745"/>
                </a:moveTo>
                <a:lnTo>
                  <a:pt x="16800" y="13745"/>
                </a:lnTo>
                <a:lnTo>
                  <a:pt x="16800" y="17673"/>
                </a:lnTo>
                <a:lnTo>
                  <a:pt x="4800" y="17673"/>
                </a:lnTo>
                <a:cubicBezTo>
                  <a:pt x="4800" y="17673"/>
                  <a:pt x="4800" y="13745"/>
                  <a:pt x="4800" y="13745"/>
                </a:cubicBezTo>
                <a:close/>
                <a:moveTo>
                  <a:pt x="4800" y="8836"/>
                </a:moveTo>
                <a:lnTo>
                  <a:pt x="16800" y="8836"/>
                </a:lnTo>
                <a:lnTo>
                  <a:pt x="16800" y="12764"/>
                </a:lnTo>
                <a:lnTo>
                  <a:pt x="4800" y="12764"/>
                </a:lnTo>
                <a:cubicBezTo>
                  <a:pt x="4800" y="12764"/>
                  <a:pt x="4800" y="8836"/>
                  <a:pt x="4800" y="8836"/>
                </a:cubicBezTo>
                <a:close/>
                <a:moveTo>
                  <a:pt x="4800" y="3927"/>
                </a:moveTo>
                <a:lnTo>
                  <a:pt x="16800" y="3927"/>
                </a:lnTo>
                <a:lnTo>
                  <a:pt x="16800" y="7855"/>
                </a:lnTo>
                <a:lnTo>
                  <a:pt x="4800" y="7855"/>
                </a:lnTo>
                <a:cubicBezTo>
                  <a:pt x="4800" y="7855"/>
                  <a:pt x="4800" y="3927"/>
                  <a:pt x="4800" y="3927"/>
                </a:cubicBezTo>
                <a:close/>
                <a:moveTo>
                  <a:pt x="3600" y="18655"/>
                </a:moveTo>
                <a:lnTo>
                  <a:pt x="18000" y="18655"/>
                </a:lnTo>
                <a:lnTo>
                  <a:pt x="18000" y="2945"/>
                </a:lnTo>
                <a:lnTo>
                  <a:pt x="3600" y="2945"/>
                </a:lnTo>
                <a:cubicBezTo>
                  <a:pt x="3600" y="2945"/>
                  <a:pt x="3600" y="18655"/>
                  <a:pt x="3600" y="18655"/>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9600" y="16691"/>
                </a:moveTo>
                <a:lnTo>
                  <a:pt x="12000" y="16691"/>
                </a:lnTo>
                <a:lnTo>
                  <a:pt x="12000" y="15709"/>
                </a:lnTo>
                <a:lnTo>
                  <a:pt x="9600" y="15709"/>
                </a:lnTo>
                <a:cubicBezTo>
                  <a:pt x="9600" y="15709"/>
                  <a:pt x="9600" y="16691"/>
                  <a:pt x="9600" y="16691"/>
                </a:cubicBezTo>
                <a:close/>
                <a:moveTo>
                  <a:pt x="9600" y="6873"/>
                </a:moveTo>
                <a:lnTo>
                  <a:pt x="12000" y="6873"/>
                </a:lnTo>
                <a:lnTo>
                  <a:pt x="12000" y="5891"/>
                </a:lnTo>
                <a:lnTo>
                  <a:pt x="9600" y="5891"/>
                </a:lnTo>
                <a:cubicBezTo>
                  <a:pt x="9600" y="5891"/>
                  <a:pt x="9600" y="6873"/>
                  <a:pt x="9600" y="6873"/>
                </a:cubicBezTo>
                <a:close/>
                <a:moveTo>
                  <a:pt x="9600" y="11782"/>
                </a:moveTo>
                <a:lnTo>
                  <a:pt x="12000" y="11782"/>
                </a:lnTo>
                <a:lnTo>
                  <a:pt x="12000" y="10800"/>
                </a:lnTo>
                <a:lnTo>
                  <a:pt x="9600" y="10800"/>
                </a:lnTo>
                <a:cubicBezTo>
                  <a:pt x="9600" y="10800"/>
                  <a:pt x="9600" y="11782"/>
                  <a:pt x="9600"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7" name="Shape 2727"/>
          <p:cNvSpPr/>
          <p:nvPr/>
        </p:nvSpPr>
        <p:spPr>
          <a:xfrm>
            <a:off x="426015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5"/>
                  <a:pt x="7532" y="13745"/>
                  <a:pt x="8345" y="13745"/>
                </a:cubicBezTo>
                <a:lnTo>
                  <a:pt x="9327" y="13745"/>
                </a:lnTo>
                <a:cubicBezTo>
                  <a:pt x="10140" y="13745"/>
                  <a:pt x="10800" y="14405"/>
                  <a:pt x="10800" y="15218"/>
                </a:cubicBezTo>
                <a:cubicBezTo>
                  <a:pt x="10800" y="16031"/>
                  <a:pt x="10140" y="16691"/>
                  <a:pt x="9327" y="16691"/>
                </a:cubicBezTo>
                <a:moveTo>
                  <a:pt x="15218" y="4418"/>
                </a:moveTo>
                <a:cubicBezTo>
                  <a:pt x="15192" y="4418"/>
                  <a:pt x="15170" y="4429"/>
                  <a:pt x="15145" y="4433"/>
                </a:cubicBezTo>
                <a:lnTo>
                  <a:pt x="15143" y="4424"/>
                </a:lnTo>
                <a:lnTo>
                  <a:pt x="11483" y="3967"/>
                </a:lnTo>
                <a:cubicBezTo>
                  <a:pt x="11424" y="3942"/>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6" y="8306"/>
                </a:lnTo>
                <a:cubicBezTo>
                  <a:pt x="15085" y="8332"/>
                  <a:pt x="15150" y="8345"/>
                  <a:pt x="15218" y="8345"/>
                </a:cubicBezTo>
                <a:cubicBezTo>
                  <a:pt x="15234" y="8345"/>
                  <a:pt x="15248" y="8338"/>
                  <a:pt x="15264" y="8336"/>
                </a:cubicBezTo>
                <a:lnTo>
                  <a:pt x="15293" y="8340"/>
                </a:lnTo>
                <a:lnTo>
                  <a:pt x="15292" y="8331"/>
                </a:lnTo>
                <a:cubicBezTo>
                  <a:pt x="15526" y="8294"/>
                  <a:pt x="15709" y="8100"/>
                  <a:pt x="15709" y="7855"/>
                </a:cubicBezTo>
                <a:lnTo>
                  <a:pt x="15709" y="4909"/>
                </a:lnTo>
                <a:cubicBezTo>
                  <a:pt x="15709" y="4638"/>
                  <a:pt x="15490" y="4418"/>
                  <a:pt x="15218" y="4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8" name="Shape 2728"/>
          <p:cNvSpPr/>
          <p:nvPr/>
        </p:nvSpPr>
        <p:spPr>
          <a:xfrm>
            <a:off x="66064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6"/>
                  <a:pt x="7532" y="13745"/>
                  <a:pt x="8345" y="13745"/>
                </a:cubicBezTo>
                <a:lnTo>
                  <a:pt x="9327" y="13745"/>
                </a:lnTo>
                <a:cubicBezTo>
                  <a:pt x="10141" y="13745"/>
                  <a:pt x="10800" y="14406"/>
                  <a:pt x="10800" y="15218"/>
                </a:cubicBezTo>
                <a:cubicBezTo>
                  <a:pt x="10800" y="16031"/>
                  <a:pt x="10141" y="16691"/>
                  <a:pt x="9327" y="16691"/>
                </a:cubicBezTo>
                <a:moveTo>
                  <a:pt x="15218" y="4418"/>
                </a:moveTo>
                <a:cubicBezTo>
                  <a:pt x="15192" y="4418"/>
                  <a:pt x="15170" y="4429"/>
                  <a:pt x="15145" y="4433"/>
                </a:cubicBezTo>
                <a:lnTo>
                  <a:pt x="15144" y="4424"/>
                </a:lnTo>
                <a:lnTo>
                  <a:pt x="11483" y="3967"/>
                </a:lnTo>
                <a:cubicBezTo>
                  <a:pt x="11424" y="3941"/>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7" y="8307"/>
                </a:lnTo>
                <a:cubicBezTo>
                  <a:pt x="15085" y="8332"/>
                  <a:pt x="15150" y="8345"/>
                  <a:pt x="15218" y="8345"/>
                </a:cubicBezTo>
                <a:cubicBezTo>
                  <a:pt x="15234" y="8345"/>
                  <a:pt x="15248" y="8338"/>
                  <a:pt x="15264" y="8336"/>
                </a:cubicBezTo>
                <a:lnTo>
                  <a:pt x="15293" y="8340"/>
                </a:lnTo>
                <a:lnTo>
                  <a:pt x="15291" y="8331"/>
                </a:lnTo>
                <a:cubicBezTo>
                  <a:pt x="15526" y="8294"/>
                  <a:pt x="15709" y="8100"/>
                  <a:pt x="15709" y="7855"/>
                </a:cubicBezTo>
                <a:lnTo>
                  <a:pt x="15709" y="4909"/>
                </a:lnTo>
                <a:cubicBezTo>
                  <a:pt x="15709" y="4638"/>
                  <a:pt x="15489" y="4418"/>
                  <a:pt x="15218"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9" name="Shape 2729"/>
          <p:cNvSpPr/>
          <p:nvPr/>
        </p:nvSpPr>
        <p:spPr>
          <a:xfrm>
            <a:off x="106059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7318"/>
                </a:moveTo>
                <a:lnTo>
                  <a:pt x="14727" y="6949"/>
                </a:lnTo>
                <a:lnTo>
                  <a:pt x="14727" y="4956"/>
                </a:lnTo>
                <a:lnTo>
                  <a:pt x="17673" y="5324"/>
                </a:lnTo>
                <a:cubicBezTo>
                  <a:pt x="17673" y="5324"/>
                  <a:pt x="17673" y="7318"/>
                  <a:pt x="17673" y="7318"/>
                </a:cubicBezTo>
                <a:close/>
                <a:moveTo>
                  <a:pt x="12273" y="16691"/>
                </a:moveTo>
                <a:lnTo>
                  <a:pt x="11291" y="16691"/>
                </a:lnTo>
                <a:cubicBezTo>
                  <a:pt x="10477" y="16691"/>
                  <a:pt x="9818" y="16031"/>
                  <a:pt x="9818" y="15218"/>
                </a:cubicBezTo>
                <a:cubicBezTo>
                  <a:pt x="9818" y="14406"/>
                  <a:pt x="10477" y="13745"/>
                  <a:pt x="11291" y="13745"/>
                </a:cubicBezTo>
                <a:lnTo>
                  <a:pt x="12273" y="13745"/>
                </a:lnTo>
                <a:cubicBezTo>
                  <a:pt x="13086" y="13745"/>
                  <a:pt x="13745" y="14406"/>
                  <a:pt x="13745" y="15218"/>
                </a:cubicBezTo>
                <a:cubicBezTo>
                  <a:pt x="13745" y="16031"/>
                  <a:pt x="13086" y="16691"/>
                  <a:pt x="12273" y="16691"/>
                </a:cubicBezTo>
                <a:moveTo>
                  <a:pt x="18164" y="4418"/>
                </a:moveTo>
                <a:cubicBezTo>
                  <a:pt x="18138" y="4418"/>
                  <a:pt x="18115" y="4429"/>
                  <a:pt x="18091" y="4433"/>
                </a:cubicBezTo>
                <a:lnTo>
                  <a:pt x="18089" y="4424"/>
                </a:lnTo>
                <a:lnTo>
                  <a:pt x="14428" y="3967"/>
                </a:lnTo>
                <a:cubicBezTo>
                  <a:pt x="14369" y="3941"/>
                  <a:pt x="14305" y="3927"/>
                  <a:pt x="14236" y="3927"/>
                </a:cubicBezTo>
                <a:cubicBezTo>
                  <a:pt x="14220" y="3927"/>
                  <a:pt x="14206" y="3935"/>
                  <a:pt x="14191" y="3937"/>
                </a:cubicBezTo>
                <a:lnTo>
                  <a:pt x="14162" y="3933"/>
                </a:lnTo>
                <a:lnTo>
                  <a:pt x="14163" y="3942"/>
                </a:lnTo>
                <a:cubicBezTo>
                  <a:pt x="13929" y="3979"/>
                  <a:pt x="13745" y="4173"/>
                  <a:pt x="13745" y="4418"/>
                </a:cubicBezTo>
                <a:lnTo>
                  <a:pt x="13745" y="13266"/>
                </a:lnTo>
                <a:cubicBezTo>
                  <a:pt x="13335" y="12955"/>
                  <a:pt x="12828" y="12764"/>
                  <a:pt x="12273" y="12764"/>
                </a:cubicBezTo>
                <a:lnTo>
                  <a:pt x="11291" y="12764"/>
                </a:lnTo>
                <a:cubicBezTo>
                  <a:pt x="9935" y="12764"/>
                  <a:pt x="8836" y="13862"/>
                  <a:pt x="8836" y="15218"/>
                </a:cubicBezTo>
                <a:cubicBezTo>
                  <a:pt x="8836" y="16574"/>
                  <a:pt x="9935" y="17673"/>
                  <a:pt x="11291" y="17673"/>
                </a:cubicBezTo>
                <a:lnTo>
                  <a:pt x="12273" y="17673"/>
                </a:lnTo>
                <a:cubicBezTo>
                  <a:pt x="13629" y="17673"/>
                  <a:pt x="14727" y="16574"/>
                  <a:pt x="14727" y="15218"/>
                </a:cubicBezTo>
                <a:lnTo>
                  <a:pt x="14727" y="7901"/>
                </a:lnTo>
                <a:lnTo>
                  <a:pt x="17972" y="8307"/>
                </a:lnTo>
                <a:cubicBezTo>
                  <a:pt x="18031" y="8332"/>
                  <a:pt x="18095" y="8345"/>
                  <a:pt x="18164" y="8345"/>
                </a:cubicBezTo>
                <a:cubicBezTo>
                  <a:pt x="18180" y="8345"/>
                  <a:pt x="18194" y="8338"/>
                  <a:pt x="18210" y="8336"/>
                </a:cubicBezTo>
                <a:lnTo>
                  <a:pt x="18238" y="8340"/>
                </a:lnTo>
                <a:lnTo>
                  <a:pt x="18237" y="8331"/>
                </a:lnTo>
                <a:cubicBezTo>
                  <a:pt x="18471" y="8294"/>
                  <a:pt x="18655" y="8100"/>
                  <a:pt x="18655" y="7855"/>
                </a:cubicBezTo>
                <a:lnTo>
                  <a:pt x="18655" y="4909"/>
                </a:lnTo>
                <a:cubicBezTo>
                  <a:pt x="18655" y="4638"/>
                  <a:pt x="18434" y="4418"/>
                  <a:pt x="18164" y="4418"/>
                </a:cubicBezTo>
                <a:moveTo>
                  <a:pt x="10800" y="10309"/>
                </a:moveTo>
                <a:cubicBezTo>
                  <a:pt x="10800" y="10038"/>
                  <a:pt x="10580" y="9818"/>
                  <a:pt x="10309" y="9818"/>
                </a:cubicBezTo>
                <a:lnTo>
                  <a:pt x="4418" y="9818"/>
                </a:lnTo>
                <a:cubicBezTo>
                  <a:pt x="4147" y="9818"/>
                  <a:pt x="3927" y="10038"/>
                  <a:pt x="3927" y="10309"/>
                </a:cubicBezTo>
                <a:cubicBezTo>
                  <a:pt x="3927" y="10580"/>
                  <a:pt x="4147" y="10800"/>
                  <a:pt x="4418" y="10800"/>
                </a:cubicBezTo>
                <a:lnTo>
                  <a:pt x="10309" y="10800"/>
                </a:lnTo>
                <a:cubicBezTo>
                  <a:pt x="10580" y="10800"/>
                  <a:pt x="10800" y="10580"/>
                  <a:pt x="10800" y="10309"/>
                </a:cubicBezTo>
                <a:moveTo>
                  <a:pt x="4418" y="6873"/>
                </a:moveTo>
                <a:lnTo>
                  <a:pt x="10309" y="6873"/>
                </a:lnTo>
                <a:cubicBezTo>
                  <a:pt x="10580" y="6873"/>
                  <a:pt x="10800" y="6653"/>
                  <a:pt x="10800" y="6382"/>
                </a:cubicBezTo>
                <a:cubicBezTo>
                  <a:pt x="10800" y="6110"/>
                  <a:pt x="10580" y="5891"/>
                  <a:pt x="10309" y="5891"/>
                </a:cubicBezTo>
                <a:lnTo>
                  <a:pt x="4418" y="5891"/>
                </a:lnTo>
                <a:cubicBezTo>
                  <a:pt x="4147" y="5891"/>
                  <a:pt x="3927" y="6110"/>
                  <a:pt x="3927" y="6382"/>
                </a:cubicBezTo>
                <a:cubicBezTo>
                  <a:pt x="3927" y="6653"/>
                  <a:pt x="4147" y="6873"/>
                  <a:pt x="4418" y="6873"/>
                </a:cubicBezTo>
                <a:moveTo>
                  <a:pt x="4418" y="8836"/>
                </a:moveTo>
                <a:lnTo>
                  <a:pt x="10309" y="8836"/>
                </a:lnTo>
                <a:cubicBezTo>
                  <a:pt x="10580" y="8836"/>
                  <a:pt x="10800" y="8617"/>
                  <a:pt x="10800" y="8345"/>
                </a:cubicBezTo>
                <a:cubicBezTo>
                  <a:pt x="10800" y="8074"/>
                  <a:pt x="10580" y="7855"/>
                  <a:pt x="10309" y="7855"/>
                </a:cubicBezTo>
                <a:lnTo>
                  <a:pt x="4418" y="7855"/>
                </a:lnTo>
                <a:cubicBezTo>
                  <a:pt x="4147" y="7855"/>
                  <a:pt x="3927" y="8074"/>
                  <a:pt x="3927" y="8345"/>
                </a:cubicBezTo>
                <a:cubicBezTo>
                  <a:pt x="3927" y="8617"/>
                  <a:pt x="4147" y="8836"/>
                  <a:pt x="4418" y="8836"/>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0" name="Shape 2730"/>
          <p:cNvSpPr/>
          <p:nvPr/>
        </p:nvSpPr>
        <p:spPr>
          <a:xfrm>
            <a:off x="1460536"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691" y="5988"/>
                </a:moveTo>
                <a:lnTo>
                  <a:pt x="8836" y="7734"/>
                </a:lnTo>
                <a:lnTo>
                  <a:pt x="8836" y="5794"/>
                </a:lnTo>
                <a:lnTo>
                  <a:pt x="16691" y="4048"/>
                </a:lnTo>
                <a:cubicBezTo>
                  <a:pt x="16691" y="4048"/>
                  <a:pt x="16691" y="5988"/>
                  <a:pt x="16691" y="5988"/>
                </a:cubicBezTo>
                <a:close/>
                <a:moveTo>
                  <a:pt x="15218" y="15709"/>
                </a:moveTo>
                <a:lnTo>
                  <a:pt x="14236" y="15709"/>
                </a:lnTo>
                <a:cubicBezTo>
                  <a:pt x="13423" y="15709"/>
                  <a:pt x="12764" y="15050"/>
                  <a:pt x="12764" y="14236"/>
                </a:cubicBezTo>
                <a:cubicBezTo>
                  <a:pt x="12764" y="13423"/>
                  <a:pt x="13423" y="12764"/>
                  <a:pt x="14236" y="12764"/>
                </a:cubicBezTo>
                <a:lnTo>
                  <a:pt x="15218" y="12764"/>
                </a:lnTo>
                <a:cubicBezTo>
                  <a:pt x="16032" y="12764"/>
                  <a:pt x="16691" y="13423"/>
                  <a:pt x="16691" y="14236"/>
                </a:cubicBezTo>
                <a:cubicBezTo>
                  <a:pt x="16691" y="15050"/>
                  <a:pt x="16032" y="15709"/>
                  <a:pt x="15218" y="15709"/>
                </a:cubicBezTo>
                <a:moveTo>
                  <a:pt x="6382" y="17673"/>
                </a:moveTo>
                <a:lnTo>
                  <a:pt x="5400" y="17673"/>
                </a:lnTo>
                <a:cubicBezTo>
                  <a:pt x="4586" y="17673"/>
                  <a:pt x="3927" y="17014"/>
                  <a:pt x="3927" y="16200"/>
                </a:cubicBezTo>
                <a:cubicBezTo>
                  <a:pt x="3927" y="15387"/>
                  <a:pt x="4586" y="14727"/>
                  <a:pt x="5400" y="14727"/>
                </a:cubicBezTo>
                <a:lnTo>
                  <a:pt x="6382" y="14727"/>
                </a:lnTo>
                <a:cubicBezTo>
                  <a:pt x="7195" y="14727"/>
                  <a:pt x="7855" y="15387"/>
                  <a:pt x="7855" y="16200"/>
                </a:cubicBezTo>
                <a:cubicBezTo>
                  <a:pt x="7855" y="17014"/>
                  <a:pt x="7195" y="17673"/>
                  <a:pt x="6382" y="17673"/>
                </a:cubicBezTo>
                <a:moveTo>
                  <a:pt x="17182" y="2945"/>
                </a:moveTo>
                <a:cubicBezTo>
                  <a:pt x="17148" y="2945"/>
                  <a:pt x="17119" y="2958"/>
                  <a:pt x="17088" y="2965"/>
                </a:cubicBezTo>
                <a:lnTo>
                  <a:pt x="17086" y="2955"/>
                </a:lnTo>
                <a:lnTo>
                  <a:pt x="8249" y="4919"/>
                </a:lnTo>
                <a:lnTo>
                  <a:pt x="8251" y="4928"/>
                </a:lnTo>
                <a:cubicBezTo>
                  <a:pt x="8027" y="4973"/>
                  <a:pt x="7855" y="5162"/>
                  <a:pt x="7855" y="5400"/>
                </a:cubicBezTo>
                <a:lnTo>
                  <a:pt x="7855" y="14248"/>
                </a:lnTo>
                <a:cubicBezTo>
                  <a:pt x="7444" y="13937"/>
                  <a:pt x="6937" y="13745"/>
                  <a:pt x="6382" y="13745"/>
                </a:cubicBezTo>
                <a:lnTo>
                  <a:pt x="5400" y="13745"/>
                </a:lnTo>
                <a:cubicBezTo>
                  <a:pt x="4044" y="13745"/>
                  <a:pt x="2945" y="14844"/>
                  <a:pt x="2945" y="16200"/>
                </a:cubicBezTo>
                <a:cubicBezTo>
                  <a:pt x="2945" y="17556"/>
                  <a:pt x="4044" y="18655"/>
                  <a:pt x="5400" y="18655"/>
                </a:cubicBezTo>
                <a:lnTo>
                  <a:pt x="6382" y="18655"/>
                </a:lnTo>
                <a:cubicBezTo>
                  <a:pt x="7737" y="18655"/>
                  <a:pt x="8836" y="17556"/>
                  <a:pt x="8836" y="16200"/>
                </a:cubicBezTo>
                <a:lnTo>
                  <a:pt x="8836" y="8739"/>
                </a:lnTo>
                <a:lnTo>
                  <a:pt x="16691" y="6994"/>
                </a:lnTo>
                <a:lnTo>
                  <a:pt x="16691" y="12284"/>
                </a:lnTo>
                <a:cubicBezTo>
                  <a:pt x="16280" y="11974"/>
                  <a:pt x="15773" y="11782"/>
                  <a:pt x="15218" y="11782"/>
                </a:cubicBezTo>
                <a:lnTo>
                  <a:pt x="14236" y="11782"/>
                </a:lnTo>
                <a:cubicBezTo>
                  <a:pt x="12881" y="11782"/>
                  <a:pt x="11782" y="12881"/>
                  <a:pt x="11782" y="14236"/>
                </a:cubicBezTo>
                <a:cubicBezTo>
                  <a:pt x="11782" y="15592"/>
                  <a:pt x="12881" y="16691"/>
                  <a:pt x="14236" y="16691"/>
                </a:cubicBezTo>
                <a:lnTo>
                  <a:pt x="15218" y="16691"/>
                </a:lnTo>
                <a:cubicBezTo>
                  <a:pt x="16573" y="16691"/>
                  <a:pt x="17673" y="15592"/>
                  <a:pt x="17673" y="14236"/>
                </a:cubicBezTo>
                <a:lnTo>
                  <a:pt x="17673" y="3436"/>
                </a:lnTo>
                <a:cubicBezTo>
                  <a:pt x="17673" y="3165"/>
                  <a:pt x="17453" y="2945"/>
                  <a:pt x="17182"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1" name="Shape 2731"/>
          <p:cNvSpPr/>
          <p:nvPr/>
        </p:nvSpPr>
        <p:spPr>
          <a:xfrm>
            <a:off x="1860482"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474" y="6862"/>
                </a:moveTo>
                <a:lnTo>
                  <a:pt x="18121" y="9450"/>
                </a:lnTo>
                <a:lnTo>
                  <a:pt x="17427" y="8686"/>
                </a:lnTo>
                <a:lnTo>
                  <a:pt x="19780" y="6098"/>
                </a:lnTo>
                <a:cubicBezTo>
                  <a:pt x="19869" y="6000"/>
                  <a:pt x="19992" y="5940"/>
                  <a:pt x="20127" y="5940"/>
                </a:cubicBezTo>
                <a:cubicBezTo>
                  <a:pt x="20398" y="5940"/>
                  <a:pt x="20618" y="6182"/>
                  <a:pt x="20618" y="6480"/>
                </a:cubicBezTo>
                <a:cubicBezTo>
                  <a:pt x="20618" y="6629"/>
                  <a:pt x="20563" y="6764"/>
                  <a:pt x="20474" y="6862"/>
                </a:cubicBezTo>
                <a:moveTo>
                  <a:pt x="21600" y="6480"/>
                </a:moveTo>
                <a:cubicBezTo>
                  <a:pt x="21600" y="5586"/>
                  <a:pt x="20941" y="4860"/>
                  <a:pt x="20127" y="4860"/>
                </a:cubicBezTo>
                <a:cubicBezTo>
                  <a:pt x="19720" y="4860"/>
                  <a:pt x="19352" y="5041"/>
                  <a:pt x="19086" y="5335"/>
                </a:cubicBezTo>
                <a:lnTo>
                  <a:pt x="6813" y="18835"/>
                </a:lnTo>
                <a:cubicBezTo>
                  <a:pt x="6547" y="19128"/>
                  <a:pt x="6382" y="19533"/>
                  <a:pt x="6382" y="19980"/>
                </a:cubicBezTo>
                <a:cubicBezTo>
                  <a:pt x="6382" y="20874"/>
                  <a:pt x="7041" y="21600"/>
                  <a:pt x="7855" y="21600"/>
                </a:cubicBezTo>
                <a:cubicBezTo>
                  <a:pt x="8262" y="21600"/>
                  <a:pt x="8630" y="21419"/>
                  <a:pt x="8896" y="21125"/>
                </a:cubicBezTo>
                <a:lnTo>
                  <a:pt x="21169" y="7625"/>
                </a:lnTo>
                <a:cubicBezTo>
                  <a:pt x="21435" y="7332"/>
                  <a:pt x="21600" y="6927"/>
                  <a:pt x="21600" y="6480"/>
                </a:cubicBezTo>
                <a:moveTo>
                  <a:pt x="20127" y="14040"/>
                </a:moveTo>
                <a:lnTo>
                  <a:pt x="18655" y="14040"/>
                </a:lnTo>
                <a:lnTo>
                  <a:pt x="18655" y="11918"/>
                </a:lnTo>
                <a:lnTo>
                  <a:pt x="15744" y="15120"/>
                </a:lnTo>
                <a:lnTo>
                  <a:pt x="20127" y="15120"/>
                </a:lnTo>
                <a:cubicBezTo>
                  <a:pt x="20398" y="15120"/>
                  <a:pt x="20618" y="15362"/>
                  <a:pt x="20618" y="15660"/>
                </a:cubicBezTo>
                <a:cubicBezTo>
                  <a:pt x="20618" y="15958"/>
                  <a:pt x="20398" y="16200"/>
                  <a:pt x="20127" y="16200"/>
                </a:cubicBezTo>
                <a:lnTo>
                  <a:pt x="14762" y="16200"/>
                </a:lnTo>
                <a:lnTo>
                  <a:pt x="13780" y="17280"/>
                </a:lnTo>
                <a:lnTo>
                  <a:pt x="20127" y="17280"/>
                </a:lnTo>
                <a:cubicBezTo>
                  <a:pt x="20941" y="17280"/>
                  <a:pt x="21600" y="16554"/>
                  <a:pt x="21600" y="15660"/>
                </a:cubicBezTo>
                <a:cubicBezTo>
                  <a:pt x="21600" y="14766"/>
                  <a:pt x="20941" y="14040"/>
                  <a:pt x="20127" y="14040"/>
                </a:cubicBezTo>
                <a:moveTo>
                  <a:pt x="7820" y="16200"/>
                </a:moveTo>
                <a:lnTo>
                  <a:pt x="1473" y="16200"/>
                </a:lnTo>
                <a:cubicBezTo>
                  <a:pt x="1202" y="16200"/>
                  <a:pt x="982" y="15958"/>
                  <a:pt x="982" y="15660"/>
                </a:cubicBezTo>
                <a:cubicBezTo>
                  <a:pt x="982" y="15362"/>
                  <a:pt x="1202" y="15120"/>
                  <a:pt x="1473" y="15120"/>
                </a:cubicBezTo>
                <a:lnTo>
                  <a:pt x="8802" y="15120"/>
                </a:lnTo>
                <a:lnTo>
                  <a:pt x="12729" y="10800"/>
                </a:lnTo>
                <a:lnTo>
                  <a:pt x="3927" y="10800"/>
                </a:lnTo>
                <a:lnTo>
                  <a:pt x="3927" y="1080"/>
                </a:lnTo>
                <a:lnTo>
                  <a:pt x="17673" y="1080"/>
                </a:lnTo>
                <a:lnTo>
                  <a:pt x="17673" y="5362"/>
                </a:lnTo>
                <a:lnTo>
                  <a:pt x="18655" y="4282"/>
                </a:lnTo>
                <a:lnTo>
                  <a:pt x="18655" y="540"/>
                </a:lnTo>
                <a:cubicBezTo>
                  <a:pt x="18655" y="242"/>
                  <a:pt x="18434" y="0"/>
                  <a:pt x="18164" y="0"/>
                </a:cubicBezTo>
                <a:lnTo>
                  <a:pt x="3436" y="0"/>
                </a:lnTo>
                <a:cubicBezTo>
                  <a:pt x="3166" y="0"/>
                  <a:pt x="2945" y="242"/>
                  <a:pt x="2945" y="540"/>
                </a:cubicBezTo>
                <a:lnTo>
                  <a:pt x="2945" y="14040"/>
                </a:lnTo>
                <a:lnTo>
                  <a:pt x="1473" y="14040"/>
                </a:lnTo>
                <a:cubicBezTo>
                  <a:pt x="659" y="14040"/>
                  <a:pt x="0" y="14766"/>
                  <a:pt x="0" y="15660"/>
                </a:cubicBezTo>
                <a:cubicBezTo>
                  <a:pt x="0" y="16554"/>
                  <a:pt x="659" y="17280"/>
                  <a:pt x="1473" y="17280"/>
                </a:cubicBezTo>
                <a:lnTo>
                  <a:pt x="6838" y="17280"/>
                </a:lnTo>
                <a:cubicBezTo>
                  <a:pt x="6838" y="17280"/>
                  <a:pt x="7820" y="16200"/>
                  <a:pt x="782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2" name="Shape 2732"/>
          <p:cNvSpPr/>
          <p:nvPr/>
        </p:nvSpPr>
        <p:spPr>
          <a:xfrm>
            <a:off x="2260427" y="39364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3" name="Shape 2733"/>
          <p:cNvSpPr/>
          <p:nvPr/>
        </p:nvSpPr>
        <p:spPr>
          <a:xfrm>
            <a:off x="2727030" y="3879364"/>
            <a:ext cx="7618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4" name="Shape 2734"/>
          <p:cNvSpPr/>
          <p:nvPr/>
        </p:nvSpPr>
        <p:spPr>
          <a:xfrm>
            <a:off x="3060320" y="3907932"/>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09" y="9450"/>
                </a:moveTo>
                <a:lnTo>
                  <a:pt x="9140" y="9450"/>
                </a:lnTo>
                <a:lnTo>
                  <a:pt x="8293" y="7123"/>
                </a:lnTo>
                <a:lnTo>
                  <a:pt x="8289" y="7126"/>
                </a:lnTo>
                <a:cubicBezTo>
                  <a:pt x="8208" y="6906"/>
                  <a:pt x="8046" y="6750"/>
                  <a:pt x="7855" y="6750"/>
                </a:cubicBezTo>
                <a:cubicBezTo>
                  <a:pt x="7663" y="6750"/>
                  <a:pt x="7501" y="6906"/>
                  <a:pt x="7420" y="7126"/>
                </a:cubicBezTo>
                <a:lnTo>
                  <a:pt x="7415" y="7123"/>
                </a:lnTo>
                <a:lnTo>
                  <a:pt x="6569" y="9450"/>
                </a:lnTo>
                <a:lnTo>
                  <a:pt x="5400" y="9450"/>
                </a:lnTo>
                <a:cubicBezTo>
                  <a:pt x="5129" y="9450"/>
                  <a:pt x="4909" y="9752"/>
                  <a:pt x="4909" y="10125"/>
                </a:cubicBezTo>
                <a:cubicBezTo>
                  <a:pt x="4909" y="10571"/>
                  <a:pt x="5128" y="10687"/>
                  <a:pt x="5128" y="10687"/>
                </a:cubicBezTo>
                <a:lnTo>
                  <a:pt x="6405" y="11857"/>
                </a:lnTo>
                <a:lnTo>
                  <a:pt x="5914" y="14014"/>
                </a:lnTo>
                <a:cubicBezTo>
                  <a:pt x="5905" y="14067"/>
                  <a:pt x="5891" y="14118"/>
                  <a:pt x="5891" y="14175"/>
                </a:cubicBezTo>
                <a:cubicBezTo>
                  <a:pt x="5891" y="14548"/>
                  <a:pt x="6110" y="14850"/>
                  <a:pt x="6382" y="14850"/>
                </a:cubicBezTo>
                <a:cubicBezTo>
                  <a:pt x="6483" y="14850"/>
                  <a:pt x="6574" y="14801"/>
                  <a:pt x="6650" y="14727"/>
                </a:cubicBezTo>
                <a:lnTo>
                  <a:pt x="7855" y="13636"/>
                </a:lnTo>
                <a:lnTo>
                  <a:pt x="9055" y="14737"/>
                </a:lnTo>
                <a:cubicBezTo>
                  <a:pt x="9055" y="14737"/>
                  <a:pt x="9127" y="14850"/>
                  <a:pt x="9327" y="14850"/>
                </a:cubicBezTo>
                <a:cubicBezTo>
                  <a:pt x="9599" y="14850"/>
                  <a:pt x="9818" y="14548"/>
                  <a:pt x="9818" y="14175"/>
                </a:cubicBezTo>
                <a:cubicBezTo>
                  <a:pt x="9818" y="14117"/>
                  <a:pt x="9798" y="14070"/>
                  <a:pt x="9787" y="14017"/>
                </a:cubicBezTo>
                <a:lnTo>
                  <a:pt x="9304" y="11857"/>
                </a:lnTo>
                <a:lnTo>
                  <a:pt x="10581" y="10687"/>
                </a:lnTo>
                <a:cubicBezTo>
                  <a:pt x="10581" y="10687"/>
                  <a:pt x="10800" y="10571"/>
                  <a:pt x="10800" y="10125"/>
                </a:cubicBezTo>
                <a:cubicBezTo>
                  <a:pt x="10800" y="9752"/>
                  <a:pt x="10580" y="9450"/>
                  <a:pt x="10309" y="9450"/>
                </a:cubicBezTo>
                <a:moveTo>
                  <a:pt x="13255" y="11475"/>
                </a:moveTo>
                <a:lnTo>
                  <a:pt x="15218" y="11475"/>
                </a:lnTo>
                <a:cubicBezTo>
                  <a:pt x="15490" y="11475"/>
                  <a:pt x="15709" y="11173"/>
                  <a:pt x="15709" y="10800"/>
                </a:cubicBezTo>
                <a:cubicBezTo>
                  <a:pt x="15709" y="10427"/>
                  <a:pt x="15490" y="10125"/>
                  <a:pt x="15218" y="10125"/>
                </a:cubicBezTo>
                <a:lnTo>
                  <a:pt x="13255" y="10125"/>
                </a:lnTo>
                <a:cubicBezTo>
                  <a:pt x="12983" y="10125"/>
                  <a:pt x="12764" y="10427"/>
                  <a:pt x="12764" y="10800"/>
                </a:cubicBezTo>
                <a:cubicBezTo>
                  <a:pt x="12764" y="11173"/>
                  <a:pt x="12983" y="11475"/>
                  <a:pt x="13255" y="11475"/>
                </a:cubicBezTo>
                <a:moveTo>
                  <a:pt x="16200" y="12150"/>
                </a:moveTo>
                <a:lnTo>
                  <a:pt x="13255" y="12150"/>
                </a:lnTo>
                <a:cubicBezTo>
                  <a:pt x="12983" y="12150"/>
                  <a:pt x="12764" y="12452"/>
                  <a:pt x="12764" y="12825"/>
                </a:cubicBezTo>
                <a:cubicBezTo>
                  <a:pt x="12764" y="13198"/>
                  <a:pt x="12983" y="13500"/>
                  <a:pt x="13255" y="13500"/>
                </a:cubicBezTo>
                <a:lnTo>
                  <a:pt x="16200" y="13500"/>
                </a:lnTo>
                <a:cubicBezTo>
                  <a:pt x="16471" y="13500"/>
                  <a:pt x="16691" y="13198"/>
                  <a:pt x="16691" y="12825"/>
                </a:cubicBezTo>
                <a:cubicBezTo>
                  <a:pt x="16691" y="12452"/>
                  <a:pt x="16471" y="12150"/>
                  <a:pt x="16200" y="12150"/>
                </a:cubicBezTo>
                <a:moveTo>
                  <a:pt x="20618" y="14768"/>
                </a:moveTo>
                <a:lnTo>
                  <a:pt x="20618" y="17550"/>
                </a:lnTo>
                <a:lnTo>
                  <a:pt x="982" y="17550"/>
                </a:lnTo>
                <a:lnTo>
                  <a:pt x="982" y="14768"/>
                </a:lnTo>
                <a:cubicBezTo>
                  <a:pt x="2102" y="14393"/>
                  <a:pt x="2945" y="12759"/>
                  <a:pt x="2945" y="10800"/>
                </a:cubicBezTo>
                <a:cubicBezTo>
                  <a:pt x="2945" y="8841"/>
                  <a:pt x="2102" y="7207"/>
                  <a:pt x="982" y="6832"/>
                </a:cubicBezTo>
                <a:lnTo>
                  <a:pt x="982" y="4050"/>
                </a:lnTo>
                <a:lnTo>
                  <a:pt x="20618" y="4050"/>
                </a:lnTo>
                <a:lnTo>
                  <a:pt x="20618" y="6832"/>
                </a:lnTo>
                <a:cubicBezTo>
                  <a:pt x="19498" y="7207"/>
                  <a:pt x="18655" y="8841"/>
                  <a:pt x="18655" y="10800"/>
                </a:cubicBezTo>
                <a:cubicBezTo>
                  <a:pt x="18655" y="12759"/>
                  <a:pt x="19498" y="14393"/>
                  <a:pt x="20618" y="14768"/>
                </a:cubicBezTo>
                <a:moveTo>
                  <a:pt x="20618" y="20250"/>
                </a:moveTo>
                <a:lnTo>
                  <a:pt x="18655" y="20250"/>
                </a:lnTo>
                <a:lnTo>
                  <a:pt x="18655" y="18900"/>
                </a:lnTo>
                <a:lnTo>
                  <a:pt x="20618" y="18900"/>
                </a:lnTo>
                <a:cubicBezTo>
                  <a:pt x="20618" y="18900"/>
                  <a:pt x="20618" y="20250"/>
                  <a:pt x="20618" y="20250"/>
                </a:cubicBezTo>
                <a:close/>
                <a:moveTo>
                  <a:pt x="17673" y="20250"/>
                </a:moveTo>
                <a:lnTo>
                  <a:pt x="982" y="20250"/>
                </a:lnTo>
                <a:lnTo>
                  <a:pt x="982" y="18900"/>
                </a:lnTo>
                <a:lnTo>
                  <a:pt x="17673" y="18900"/>
                </a:lnTo>
                <a:cubicBezTo>
                  <a:pt x="17673" y="18900"/>
                  <a:pt x="17673" y="20250"/>
                  <a:pt x="17673" y="20250"/>
                </a:cubicBezTo>
                <a:close/>
                <a:moveTo>
                  <a:pt x="982" y="1350"/>
                </a:moveTo>
                <a:lnTo>
                  <a:pt x="17673" y="1350"/>
                </a:lnTo>
                <a:lnTo>
                  <a:pt x="17673" y="2700"/>
                </a:lnTo>
                <a:lnTo>
                  <a:pt x="982" y="2700"/>
                </a:lnTo>
                <a:cubicBezTo>
                  <a:pt x="982" y="2700"/>
                  <a:pt x="982" y="1350"/>
                  <a:pt x="982" y="1350"/>
                </a:cubicBezTo>
                <a:close/>
                <a:moveTo>
                  <a:pt x="18655" y="1350"/>
                </a:moveTo>
                <a:lnTo>
                  <a:pt x="20618" y="1350"/>
                </a:lnTo>
                <a:lnTo>
                  <a:pt x="20618" y="2700"/>
                </a:lnTo>
                <a:lnTo>
                  <a:pt x="18655" y="2700"/>
                </a:lnTo>
                <a:cubicBezTo>
                  <a:pt x="18655" y="2700"/>
                  <a:pt x="18655" y="1350"/>
                  <a:pt x="18655" y="1350"/>
                </a:cubicBezTo>
                <a:close/>
                <a:moveTo>
                  <a:pt x="21109" y="8100"/>
                </a:moveTo>
                <a:cubicBezTo>
                  <a:pt x="21380" y="8100"/>
                  <a:pt x="21600" y="7798"/>
                  <a:pt x="21600" y="7425"/>
                </a:cubicBezTo>
                <a:lnTo>
                  <a:pt x="21600" y="1350"/>
                </a:lnTo>
                <a:cubicBezTo>
                  <a:pt x="21600" y="605"/>
                  <a:pt x="21160" y="0"/>
                  <a:pt x="20618" y="0"/>
                </a:cubicBezTo>
                <a:lnTo>
                  <a:pt x="982" y="0"/>
                </a:lnTo>
                <a:cubicBezTo>
                  <a:pt x="439" y="0"/>
                  <a:pt x="0" y="605"/>
                  <a:pt x="0" y="1350"/>
                </a:cubicBezTo>
                <a:lnTo>
                  <a:pt x="0" y="7425"/>
                </a:lnTo>
                <a:cubicBezTo>
                  <a:pt x="0" y="7798"/>
                  <a:pt x="220" y="8100"/>
                  <a:pt x="491" y="8100"/>
                </a:cubicBezTo>
                <a:cubicBezTo>
                  <a:pt x="1304" y="8100"/>
                  <a:pt x="1964" y="9309"/>
                  <a:pt x="1964" y="10800"/>
                </a:cubicBezTo>
                <a:cubicBezTo>
                  <a:pt x="1964" y="12291"/>
                  <a:pt x="1304" y="13500"/>
                  <a:pt x="491" y="13500"/>
                </a:cubicBezTo>
                <a:cubicBezTo>
                  <a:pt x="220" y="13500"/>
                  <a:pt x="0" y="13802"/>
                  <a:pt x="0" y="14175"/>
                </a:cubicBezTo>
                <a:lnTo>
                  <a:pt x="0" y="20250"/>
                </a:lnTo>
                <a:cubicBezTo>
                  <a:pt x="0" y="20995"/>
                  <a:pt x="439" y="21600"/>
                  <a:pt x="982" y="21600"/>
                </a:cubicBezTo>
                <a:lnTo>
                  <a:pt x="20618" y="21600"/>
                </a:lnTo>
                <a:cubicBezTo>
                  <a:pt x="21160" y="21600"/>
                  <a:pt x="21600" y="20995"/>
                  <a:pt x="21600" y="20250"/>
                </a:cubicBezTo>
                <a:lnTo>
                  <a:pt x="21600" y="14175"/>
                </a:lnTo>
                <a:cubicBezTo>
                  <a:pt x="21600" y="13802"/>
                  <a:pt x="21380" y="13500"/>
                  <a:pt x="21109" y="13500"/>
                </a:cubicBezTo>
                <a:cubicBezTo>
                  <a:pt x="20296" y="13500"/>
                  <a:pt x="19636" y="12291"/>
                  <a:pt x="19636" y="10800"/>
                </a:cubicBezTo>
                <a:cubicBezTo>
                  <a:pt x="19636" y="9309"/>
                  <a:pt x="20296" y="8100"/>
                  <a:pt x="21109" y="8100"/>
                </a:cubicBezTo>
                <a:moveTo>
                  <a:pt x="16200" y="8100"/>
                </a:moveTo>
                <a:lnTo>
                  <a:pt x="13255" y="8100"/>
                </a:lnTo>
                <a:cubicBezTo>
                  <a:pt x="12983" y="8100"/>
                  <a:pt x="12764" y="8402"/>
                  <a:pt x="12764" y="8775"/>
                </a:cubicBezTo>
                <a:cubicBezTo>
                  <a:pt x="12764" y="9148"/>
                  <a:pt x="12983" y="9450"/>
                  <a:pt x="13255" y="9450"/>
                </a:cubicBezTo>
                <a:lnTo>
                  <a:pt x="16200" y="9450"/>
                </a:lnTo>
                <a:cubicBezTo>
                  <a:pt x="16471" y="9450"/>
                  <a:pt x="16691" y="9148"/>
                  <a:pt x="16691" y="8775"/>
                </a:cubicBezTo>
                <a:cubicBezTo>
                  <a:pt x="16691" y="8402"/>
                  <a:pt x="16471" y="8100"/>
                  <a:pt x="162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5" name="Shape 2735"/>
          <p:cNvSpPr/>
          <p:nvPr/>
        </p:nvSpPr>
        <p:spPr>
          <a:xfrm>
            <a:off x="3460265" y="389840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1291" y="12000"/>
                </a:moveTo>
                <a:lnTo>
                  <a:pt x="13255" y="12000"/>
                </a:lnTo>
                <a:cubicBezTo>
                  <a:pt x="13526" y="12000"/>
                  <a:pt x="13745" y="11732"/>
                  <a:pt x="13745" y="11400"/>
                </a:cubicBezTo>
                <a:cubicBezTo>
                  <a:pt x="13745" y="11068"/>
                  <a:pt x="13526" y="10800"/>
                  <a:pt x="13255" y="10800"/>
                </a:cubicBezTo>
                <a:lnTo>
                  <a:pt x="11291" y="10800"/>
                </a:lnTo>
                <a:cubicBezTo>
                  <a:pt x="11020" y="10800"/>
                  <a:pt x="10800" y="11068"/>
                  <a:pt x="10800" y="11400"/>
                </a:cubicBezTo>
                <a:cubicBezTo>
                  <a:pt x="10800" y="11732"/>
                  <a:pt x="11020" y="12000"/>
                  <a:pt x="11291" y="12000"/>
                </a:cubicBezTo>
                <a:moveTo>
                  <a:pt x="11291" y="13800"/>
                </a:moveTo>
                <a:lnTo>
                  <a:pt x="12273" y="13800"/>
                </a:lnTo>
                <a:cubicBezTo>
                  <a:pt x="12544" y="13800"/>
                  <a:pt x="12764" y="13532"/>
                  <a:pt x="12764" y="13200"/>
                </a:cubicBezTo>
                <a:cubicBezTo>
                  <a:pt x="12764" y="12868"/>
                  <a:pt x="12544" y="12600"/>
                  <a:pt x="12273" y="12600"/>
                </a:cubicBezTo>
                <a:lnTo>
                  <a:pt x="11291" y="12600"/>
                </a:lnTo>
                <a:cubicBezTo>
                  <a:pt x="11020" y="12600"/>
                  <a:pt x="10800" y="12868"/>
                  <a:pt x="10800" y="13200"/>
                </a:cubicBezTo>
                <a:cubicBezTo>
                  <a:pt x="10800" y="13532"/>
                  <a:pt x="11020" y="13800"/>
                  <a:pt x="11291" y="13800"/>
                </a:cubicBezTo>
                <a:moveTo>
                  <a:pt x="11291" y="15600"/>
                </a:moveTo>
                <a:lnTo>
                  <a:pt x="13255" y="15600"/>
                </a:lnTo>
                <a:cubicBezTo>
                  <a:pt x="13526" y="15600"/>
                  <a:pt x="13745" y="15332"/>
                  <a:pt x="13745" y="15000"/>
                </a:cubicBezTo>
                <a:cubicBezTo>
                  <a:pt x="13745" y="14668"/>
                  <a:pt x="13526" y="14400"/>
                  <a:pt x="13255" y="14400"/>
                </a:cubicBezTo>
                <a:lnTo>
                  <a:pt x="11291" y="14400"/>
                </a:lnTo>
                <a:cubicBezTo>
                  <a:pt x="11020" y="14400"/>
                  <a:pt x="10800" y="14668"/>
                  <a:pt x="10800" y="15000"/>
                </a:cubicBezTo>
                <a:cubicBezTo>
                  <a:pt x="10800" y="15332"/>
                  <a:pt x="11020" y="15600"/>
                  <a:pt x="11291" y="15600"/>
                </a:cubicBezTo>
                <a:moveTo>
                  <a:pt x="20618" y="0"/>
                </a:moveTo>
                <a:lnTo>
                  <a:pt x="3927" y="0"/>
                </a:lnTo>
                <a:cubicBezTo>
                  <a:pt x="3385" y="0"/>
                  <a:pt x="2945" y="538"/>
                  <a:pt x="2945" y="1200"/>
                </a:cubicBezTo>
                <a:lnTo>
                  <a:pt x="2945" y="3000"/>
                </a:lnTo>
                <a:cubicBezTo>
                  <a:pt x="2945" y="3332"/>
                  <a:pt x="3165" y="3600"/>
                  <a:pt x="3436" y="3600"/>
                </a:cubicBezTo>
                <a:cubicBezTo>
                  <a:pt x="3708" y="3600"/>
                  <a:pt x="3927" y="3332"/>
                  <a:pt x="3927" y="3000"/>
                </a:cubicBezTo>
                <a:lnTo>
                  <a:pt x="3927" y="1200"/>
                </a:lnTo>
                <a:lnTo>
                  <a:pt x="20618" y="1200"/>
                </a:lnTo>
                <a:lnTo>
                  <a:pt x="20618" y="15600"/>
                </a:lnTo>
                <a:lnTo>
                  <a:pt x="20127" y="15600"/>
                </a:lnTo>
                <a:cubicBezTo>
                  <a:pt x="19856" y="15600"/>
                  <a:pt x="19636" y="15868"/>
                  <a:pt x="19636" y="16200"/>
                </a:cubicBezTo>
                <a:cubicBezTo>
                  <a:pt x="19636" y="16532"/>
                  <a:pt x="19856" y="16800"/>
                  <a:pt x="20127" y="16800"/>
                </a:cubicBezTo>
                <a:lnTo>
                  <a:pt x="20618" y="16800"/>
                </a:lnTo>
                <a:cubicBezTo>
                  <a:pt x="21160" y="16800"/>
                  <a:pt x="21600" y="16263"/>
                  <a:pt x="21600" y="15600"/>
                </a:cubicBezTo>
                <a:lnTo>
                  <a:pt x="21600" y="1200"/>
                </a:lnTo>
                <a:cubicBezTo>
                  <a:pt x="21600" y="538"/>
                  <a:pt x="21160" y="0"/>
                  <a:pt x="20618" y="0"/>
                </a:cubicBezTo>
                <a:moveTo>
                  <a:pt x="5091" y="13116"/>
                </a:moveTo>
                <a:lnTo>
                  <a:pt x="6156" y="13983"/>
                </a:lnTo>
                <a:lnTo>
                  <a:pt x="5747" y="15581"/>
                </a:lnTo>
                <a:cubicBezTo>
                  <a:pt x="5738" y="15620"/>
                  <a:pt x="5727" y="15657"/>
                  <a:pt x="5727" y="15700"/>
                </a:cubicBezTo>
                <a:cubicBezTo>
                  <a:pt x="5727" y="15976"/>
                  <a:pt x="5911" y="16200"/>
                  <a:pt x="6136" y="16200"/>
                </a:cubicBezTo>
                <a:cubicBezTo>
                  <a:pt x="6221" y="16200"/>
                  <a:pt x="6296" y="16164"/>
                  <a:pt x="6360" y="16110"/>
                </a:cubicBezTo>
                <a:lnTo>
                  <a:pt x="7364" y="15301"/>
                </a:lnTo>
                <a:lnTo>
                  <a:pt x="8364" y="16116"/>
                </a:lnTo>
                <a:cubicBezTo>
                  <a:pt x="8364" y="16116"/>
                  <a:pt x="8424" y="16200"/>
                  <a:pt x="8591" y="16200"/>
                </a:cubicBezTo>
                <a:cubicBezTo>
                  <a:pt x="8817" y="16200"/>
                  <a:pt x="9000" y="15976"/>
                  <a:pt x="9000" y="15700"/>
                </a:cubicBezTo>
                <a:cubicBezTo>
                  <a:pt x="9000" y="15657"/>
                  <a:pt x="8983" y="15622"/>
                  <a:pt x="8974" y="15583"/>
                </a:cubicBezTo>
                <a:lnTo>
                  <a:pt x="8572" y="13983"/>
                </a:lnTo>
                <a:lnTo>
                  <a:pt x="9636" y="13116"/>
                </a:lnTo>
                <a:cubicBezTo>
                  <a:pt x="9636" y="13116"/>
                  <a:pt x="9818" y="13030"/>
                  <a:pt x="9818" y="12700"/>
                </a:cubicBezTo>
                <a:cubicBezTo>
                  <a:pt x="9818" y="12424"/>
                  <a:pt x="9635" y="12200"/>
                  <a:pt x="9409" y="12200"/>
                </a:cubicBezTo>
                <a:lnTo>
                  <a:pt x="8435" y="12200"/>
                </a:lnTo>
                <a:lnTo>
                  <a:pt x="7730" y="10477"/>
                </a:lnTo>
                <a:lnTo>
                  <a:pt x="7726" y="10479"/>
                </a:lnTo>
                <a:cubicBezTo>
                  <a:pt x="7658" y="10315"/>
                  <a:pt x="7524" y="10200"/>
                  <a:pt x="7364" y="10200"/>
                </a:cubicBezTo>
                <a:cubicBezTo>
                  <a:pt x="7204" y="10200"/>
                  <a:pt x="7069" y="10315"/>
                  <a:pt x="7001" y="10479"/>
                </a:cubicBezTo>
                <a:lnTo>
                  <a:pt x="6998" y="10477"/>
                </a:lnTo>
                <a:lnTo>
                  <a:pt x="6293" y="12200"/>
                </a:lnTo>
                <a:lnTo>
                  <a:pt x="5319" y="12200"/>
                </a:lnTo>
                <a:cubicBezTo>
                  <a:pt x="5092" y="12200"/>
                  <a:pt x="4909" y="12424"/>
                  <a:pt x="4909" y="12700"/>
                </a:cubicBezTo>
                <a:cubicBezTo>
                  <a:pt x="4909" y="13030"/>
                  <a:pt x="5091" y="13116"/>
                  <a:pt x="5091" y="13116"/>
                </a:cubicBezTo>
                <a:moveTo>
                  <a:pt x="17673" y="7200"/>
                </a:moveTo>
                <a:lnTo>
                  <a:pt x="16691" y="7200"/>
                </a:lnTo>
                <a:lnTo>
                  <a:pt x="16691" y="6000"/>
                </a:lnTo>
                <a:lnTo>
                  <a:pt x="17673" y="6000"/>
                </a:lnTo>
                <a:cubicBezTo>
                  <a:pt x="17673" y="6000"/>
                  <a:pt x="17673" y="7200"/>
                  <a:pt x="17673" y="7200"/>
                </a:cubicBezTo>
                <a:close/>
                <a:moveTo>
                  <a:pt x="17673" y="10947"/>
                </a:moveTo>
                <a:cubicBezTo>
                  <a:pt x="17102" y="11278"/>
                  <a:pt x="16691" y="12157"/>
                  <a:pt x="16691" y="13200"/>
                </a:cubicBezTo>
                <a:cubicBezTo>
                  <a:pt x="16691" y="14244"/>
                  <a:pt x="17102" y="15122"/>
                  <a:pt x="17673" y="15453"/>
                </a:cubicBezTo>
                <a:lnTo>
                  <a:pt x="17673" y="18000"/>
                </a:lnTo>
                <a:lnTo>
                  <a:pt x="982" y="18000"/>
                </a:lnTo>
                <a:lnTo>
                  <a:pt x="982" y="15453"/>
                </a:lnTo>
                <a:cubicBezTo>
                  <a:pt x="1552" y="15122"/>
                  <a:pt x="1964" y="14244"/>
                  <a:pt x="1964" y="13200"/>
                </a:cubicBezTo>
                <a:cubicBezTo>
                  <a:pt x="1964" y="12157"/>
                  <a:pt x="1552" y="11278"/>
                  <a:pt x="982" y="10947"/>
                </a:cubicBezTo>
                <a:lnTo>
                  <a:pt x="982" y="8400"/>
                </a:lnTo>
                <a:lnTo>
                  <a:pt x="17673" y="8400"/>
                </a:lnTo>
                <a:cubicBezTo>
                  <a:pt x="17673" y="8400"/>
                  <a:pt x="17673" y="10947"/>
                  <a:pt x="17673" y="10947"/>
                </a:cubicBezTo>
                <a:close/>
                <a:moveTo>
                  <a:pt x="17673" y="20400"/>
                </a:moveTo>
                <a:lnTo>
                  <a:pt x="16691" y="20400"/>
                </a:lnTo>
                <a:lnTo>
                  <a:pt x="16691" y="19200"/>
                </a:lnTo>
                <a:lnTo>
                  <a:pt x="17673" y="19200"/>
                </a:lnTo>
                <a:cubicBezTo>
                  <a:pt x="17673" y="19200"/>
                  <a:pt x="17673" y="20400"/>
                  <a:pt x="17673" y="20400"/>
                </a:cubicBezTo>
                <a:close/>
                <a:moveTo>
                  <a:pt x="15709" y="20400"/>
                </a:moveTo>
                <a:lnTo>
                  <a:pt x="982" y="20400"/>
                </a:lnTo>
                <a:lnTo>
                  <a:pt x="982" y="19200"/>
                </a:lnTo>
                <a:lnTo>
                  <a:pt x="15709" y="19200"/>
                </a:lnTo>
                <a:cubicBezTo>
                  <a:pt x="15709" y="19200"/>
                  <a:pt x="15709" y="20400"/>
                  <a:pt x="15709" y="20400"/>
                </a:cubicBezTo>
                <a:close/>
                <a:moveTo>
                  <a:pt x="982" y="6000"/>
                </a:moveTo>
                <a:lnTo>
                  <a:pt x="15709" y="6000"/>
                </a:lnTo>
                <a:lnTo>
                  <a:pt x="15709" y="7200"/>
                </a:lnTo>
                <a:lnTo>
                  <a:pt x="982" y="7200"/>
                </a:lnTo>
                <a:cubicBezTo>
                  <a:pt x="982" y="7200"/>
                  <a:pt x="982" y="6000"/>
                  <a:pt x="982" y="6000"/>
                </a:cubicBezTo>
                <a:close/>
                <a:moveTo>
                  <a:pt x="17673" y="4800"/>
                </a:moveTo>
                <a:lnTo>
                  <a:pt x="982" y="4800"/>
                </a:lnTo>
                <a:cubicBezTo>
                  <a:pt x="439" y="4800"/>
                  <a:pt x="0" y="5338"/>
                  <a:pt x="0" y="6000"/>
                </a:cubicBezTo>
                <a:lnTo>
                  <a:pt x="0" y="11400"/>
                </a:lnTo>
                <a:cubicBezTo>
                  <a:pt x="0" y="11732"/>
                  <a:pt x="220" y="12000"/>
                  <a:pt x="491" y="12000"/>
                </a:cubicBezTo>
                <a:cubicBezTo>
                  <a:pt x="762" y="12000"/>
                  <a:pt x="982" y="12538"/>
                  <a:pt x="982" y="13200"/>
                </a:cubicBezTo>
                <a:cubicBezTo>
                  <a:pt x="982" y="13862"/>
                  <a:pt x="762" y="14400"/>
                  <a:pt x="491" y="14400"/>
                </a:cubicBezTo>
                <a:cubicBezTo>
                  <a:pt x="220" y="14400"/>
                  <a:pt x="0" y="14668"/>
                  <a:pt x="0" y="15000"/>
                </a:cubicBezTo>
                <a:lnTo>
                  <a:pt x="0" y="20400"/>
                </a:lnTo>
                <a:cubicBezTo>
                  <a:pt x="0" y="21063"/>
                  <a:pt x="439" y="21600"/>
                  <a:pt x="982" y="21600"/>
                </a:cubicBezTo>
                <a:lnTo>
                  <a:pt x="17673" y="21600"/>
                </a:lnTo>
                <a:cubicBezTo>
                  <a:pt x="18214" y="21600"/>
                  <a:pt x="18655" y="21063"/>
                  <a:pt x="18655" y="20400"/>
                </a:cubicBezTo>
                <a:lnTo>
                  <a:pt x="18655" y="15000"/>
                </a:lnTo>
                <a:cubicBezTo>
                  <a:pt x="18655" y="14668"/>
                  <a:pt x="18435" y="14400"/>
                  <a:pt x="18164" y="14400"/>
                </a:cubicBezTo>
                <a:cubicBezTo>
                  <a:pt x="17892" y="14400"/>
                  <a:pt x="17673" y="13862"/>
                  <a:pt x="17673" y="13200"/>
                </a:cubicBezTo>
                <a:cubicBezTo>
                  <a:pt x="17673" y="12538"/>
                  <a:pt x="17892" y="12000"/>
                  <a:pt x="18164" y="12000"/>
                </a:cubicBezTo>
                <a:cubicBezTo>
                  <a:pt x="18435" y="12000"/>
                  <a:pt x="18655" y="11732"/>
                  <a:pt x="18655" y="11400"/>
                </a:cubicBezTo>
                <a:lnTo>
                  <a:pt x="18655" y="6000"/>
                </a:lnTo>
                <a:cubicBezTo>
                  <a:pt x="18655" y="5338"/>
                  <a:pt x="18214" y="4800"/>
                  <a:pt x="17673"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6" name="Shape 2736"/>
          <p:cNvSpPr/>
          <p:nvPr/>
        </p:nvSpPr>
        <p:spPr>
          <a:xfrm>
            <a:off x="3860211"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18655"/>
                </a:lnTo>
                <a:lnTo>
                  <a:pt x="2945" y="18655"/>
                </a:lnTo>
                <a:cubicBezTo>
                  <a:pt x="2945" y="18655"/>
                  <a:pt x="2945" y="2945"/>
                  <a:pt x="2945" y="2945"/>
                </a:cubicBezTo>
                <a:close/>
                <a:moveTo>
                  <a:pt x="1964" y="19636"/>
                </a:moveTo>
                <a:lnTo>
                  <a:pt x="19636" y="19636"/>
                </a:lnTo>
                <a:lnTo>
                  <a:pt x="19636"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7" name="Shape 2737"/>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8" name="Shape 2738"/>
          <p:cNvSpPr/>
          <p:nvPr/>
        </p:nvSpPr>
        <p:spPr>
          <a:xfrm>
            <a:off x="66064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9" name="Shape 2739"/>
          <p:cNvSpPr/>
          <p:nvPr/>
        </p:nvSpPr>
        <p:spPr>
          <a:xfrm>
            <a:off x="106059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0" name="Shape 2740"/>
          <p:cNvSpPr/>
          <p:nvPr/>
        </p:nvSpPr>
        <p:spPr>
          <a:xfrm>
            <a:off x="1460536"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1" name="Shape 2741"/>
          <p:cNvSpPr/>
          <p:nvPr/>
        </p:nvSpPr>
        <p:spPr>
          <a:xfrm>
            <a:off x="1860482"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9327" y="9327"/>
                </a:moveTo>
                <a:lnTo>
                  <a:pt x="2945" y="9327"/>
                </a:lnTo>
                <a:lnTo>
                  <a:pt x="2945" y="2945"/>
                </a:lnTo>
                <a:lnTo>
                  <a:pt x="9327" y="2945"/>
                </a:lnTo>
                <a:cubicBezTo>
                  <a:pt x="9327" y="2945"/>
                  <a:pt x="9327" y="9327"/>
                  <a:pt x="9327" y="9327"/>
                </a:cubicBezTo>
                <a:close/>
                <a:moveTo>
                  <a:pt x="10309" y="1964"/>
                </a:moveTo>
                <a:lnTo>
                  <a:pt x="1964" y="1964"/>
                </a:lnTo>
                <a:lnTo>
                  <a:pt x="1964" y="10309"/>
                </a:lnTo>
                <a:lnTo>
                  <a:pt x="10309" y="10309"/>
                </a:lnTo>
                <a:cubicBezTo>
                  <a:pt x="10309" y="10309"/>
                  <a:pt x="10309" y="1964"/>
                  <a:pt x="10309"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2" name="Shape 2742"/>
          <p:cNvSpPr/>
          <p:nvPr/>
        </p:nvSpPr>
        <p:spPr>
          <a:xfrm>
            <a:off x="226042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3" name="Shape 2743"/>
          <p:cNvSpPr/>
          <p:nvPr/>
        </p:nvSpPr>
        <p:spPr>
          <a:xfrm>
            <a:off x="266037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4" name="Shape 2744"/>
          <p:cNvSpPr/>
          <p:nvPr/>
        </p:nvSpPr>
        <p:spPr>
          <a:xfrm>
            <a:off x="306032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9327"/>
                </a:moveTo>
                <a:lnTo>
                  <a:pt x="12273" y="9327"/>
                </a:lnTo>
                <a:lnTo>
                  <a:pt x="12273" y="12273"/>
                </a:lnTo>
                <a:lnTo>
                  <a:pt x="9327" y="12273"/>
                </a:lnTo>
                <a:cubicBezTo>
                  <a:pt x="9327" y="12273"/>
                  <a:pt x="9327" y="9327"/>
                  <a:pt x="9327" y="9327"/>
                </a:cubicBezTo>
                <a:close/>
                <a:moveTo>
                  <a:pt x="8345" y="13255"/>
                </a:moveTo>
                <a:lnTo>
                  <a:pt x="13255" y="13255"/>
                </a:lnTo>
                <a:lnTo>
                  <a:pt x="13255" y="8345"/>
                </a:lnTo>
                <a:lnTo>
                  <a:pt x="8345" y="8345"/>
                </a:lnTo>
                <a:cubicBezTo>
                  <a:pt x="8345" y="8345"/>
                  <a:pt x="8345" y="13255"/>
                  <a:pt x="8345" y="13255"/>
                </a:cubicBezTo>
                <a:close/>
                <a:moveTo>
                  <a:pt x="9327" y="15709"/>
                </a:moveTo>
                <a:lnTo>
                  <a:pt x="12273" y="15709"/>
                </a:lnTo>
                <a:lnTo>
                  <a:pt x="12273" y="18655"/>
                </a:lnTo>
                <a:lnTo>
                  <a:pt x="9327" y="18655"/>
                </a:lnTo>
                <a:cubicBezTo>
                  <a:pt x="9327" y="18655"/>
                  <a:pt x="9327" y="15709"/>
                  <a:pt x="9327" y="15709"/>
                </a:cubicBezTo>
                <a:close/>
                <a:moveTo>
                  <a:pt x="8345" y="19636"/>
                </a:moveTo>
                <a:lnTo>
                  <a:pt x="13255" y="19636"/>
                </a:lnTo>
                <a:lnTo>
                  <a:pt x="13255" y="14727"/>
                </a:lnTo>
                <a:lnTo>
                  <a:pt x="8345" y="14727"/>
                </a:lnTo>
                <a:cubicBezTo>
                  <a:pt x="8345" y="14727"/>
                  <a:pt x="8345" y="19636"/>
                  <a:pt x="8345" y="19636"/>
                </a:cubicBezTo>
                <a:close/>
                <a:moveTo>
                  <a:pt x="15709" y="2945"/>
                </a:moveTo>
                <a:lnTo>
                  <a:pt x="18655" y="2945"/>
                </a:lnTo>
                <a:lnTo>
                  <a:pt x="18655" y="5891"/>
                </a:lnTo>
                <a:lnTo>
                  <a:pt x="15709" y="5891"/>
                </a:lnTo>
                <a:cubicBezTo>
                  <a:pt x="15709" y="5891"/>
                  <a:pt x="15709" y="2945"/>
                  <a:pt x="15709" y="2945"/>
                </a:cubicBezTo>
                <a:close/>
                <a:moveTo>
                  <a:pt x="14727" y="6873"/>
                </a:moveTo>
                <a:lnTo>
                  <a:pt x="19636" y="6873"/>
                </a:lnTo>
                <a:lnTo>
                  <a:pt x="19636" y="1964"/>
                </a:lnTo>
                <a:lnTo>
                  <a:pt x="14727" y="1964"/>
                </a:lnTo>
                <a:cubicBezTo>
                  <a:pt x="14727" y="1964"/>
                  <a:pt x="14727" y="6873"/>
                  <a:pt x="14727" y="6873"/>
                </a:cubicBezTo>
                <a:close/>
                <a:moveTo>
                  <a:pt x="15709" y="9327"/>
                </a:moveTo>
                <a:lnTo>
                  <a:pt x="18655" y="9327"/>
                </a:lnTo>
                <a:lnTo>
                  <a:pt x="18655" y="12273"/>
                </a:lnTo>
                <a:lnTo>
                  <a:pt x="15709" y="12273"/>
                </a:lnTo>
                <a:cubicBezTo>
                  <a:pt x="15709" y="12273"/>
                  <a:pt x="15709" y="9327"/>
                  <a:pt x="15709" y="9327"/>
                </a:cubicBezTo>
                <a:close/>
                <a:moveTo>
                  <a:pt x="14727" y="13255"/>
                </a:moveTo>
                <a:lnTo>
                  <a:pt x="19636" y="13255"/>
                </a:lnTo>
                <a:lnTo>
                  <a:pt x="19636" y="8345"/>
                </a:lnTo>
                <a:lnTo>
                  <a:pt x="14727" y="8345"/>
                </a:lnTo>
                <a:cubicBezTo>
                  <a:pt x="14727" y="8345"/>
                  <a:pt x="14727" y="13255"/>
                  <a:pt x="14727" y="13255"/>
                </a:cubicBezTo>
                <a:close/>
                <a:moveTo>
                  <a:pt x="9327" y="2945"/>
                </a:moveTo>
                <a:lnTo>
                  <a:pt x="12273" y="2945"/>
                </a:lnTo>
                <a:lnTo>
                  <a:pt x="12273" y="5891"/>
                </a:lnTo>
                <a:lnTo>
                  <a:pt x="9327" y="5891"/>
                </a:lnTo>
                <a:cubicBezTo>
                  <a:pt x="9327" y="5891"/>
                  <a:pt x="9327" y="2945"/>
                  <a:pt x="9327" y="2945"/>
                </a:cubicBezTo>
                <a:close/>
                <a:moveTo>
                  <a:pt x="8345" y="6873"/>
                </a:moveTo>
                <a:lnTo>
                  <a:pt x="13255" y="6873"/>
                </a:lnTo>
                <a:lnTo>
                  <a:pt x="13255" y="1964"/>
                </a:lnTo>
                <a:lnTo>
                  <a:pt x="8345" y="1964"/>
                </a:lnTo>
                <a:cubicBezTo>
                  <a:pt x="8345" y="1964"/>
                  <a:pt x="8345" y="6873"/>
                  <a:pt x="8345" y="6873"/>
                </a:cubicBezTo>
                <a:close/>
                <a:moveTo>
                  <a:pt x="2945" y="9327"/>
                </a:moveTo>
                <a:lnTo>
                  <a:pt x="5891" y="9327"/>
                </a:lnTo>
                <a:lnTo>
                  <a:pt x="5891" y="12273"/>
                </a:lnTo>
                <a:lnTo>
                  <a:pt x="2945" y="12273"/>
                </a:lnTo>
                <a:cubicBezTo>
                  <a:pt x="2945" y="12273"/>
                  <a:pt x="2945" y="9327"/>
                  <a:pt x="2945" y="9327"/>
                </a:cubicBezTo>
                <a:close/>
                <a:moveTo>
                  <a:pt x="1964" y="13255"/>
                </a:moveTo>
                <a:lnTo>
                  <a:pt x="6873" y="13255"/>
                </a:lnTo>
                <a:lnTo>
                  <a:pt x="6873" y="8345"/>
                </a:lnTo>
                <a:lnTo>
                  <a:pt x="1964" y="8345"/>
                </a:lnTo>
                <a:cubicBezTo>
                  <a:pt x="1964" y="8345"/>
                  <a:pt x="1964" y="13255"/>
                  <a:pt x="1964" y="13255"/>
                </a:cubicBezTo>
                <a:close/>
                <a:moveTo>
                  <a:pt x="2945" y="2945"/>
                </a:moveTo>
                <a:lnTo>
                  <a:pt x="5891" y="2945"/>
                </a:lnTo>
                <a:lnTo>
                  <a:pt x="5891" y="5891"/>
                </a:lnTo>
                <a:lnTo>
                  <a:pt x="2945" y="5891"/>
                </a:lnTo>
                <a:cubicBezTo>
                  <a:pt x="2945" y="5891"/>
                  <a:pt x="2945" y="2945"/>
                  <a:pt x="2945" y="2945"/>
                </a:cubicBezTo>
                <a:close/>
                <a:moveTo>
                  <a:pt x="1964" y="6873"/>
                </a:moveTo>
                <a:lnTo>
                  <a:pt x="6873" y="6873"/>
                </a:lnTo>
                <a:lnTo>
                  <a:pt x="6873" y="1964"/>
                </a:lnTo>
                <a:lnTo>
                  <a:pt x="1964" y="1964"/>
                </a:lnTo>
                <a:cubicBezTo>
                  <a:pt x="1964" y="1964"/>
                  <a:pt x="1964" y="6873"/>
                  <a:pt x="1964" y="6873"/>
                </a:cubicBezTo>
                <a:close/>
                <a:moveTo>
                  <a:pt x="20618" y="19636"/>
                </a:moveTo>
                <a:cubicBezTo>
                  <a:pt x="20618" y="20178"/>
                  <a:pt x="20178" y="20618"/>
                  <a:pt x="19636" y="20618"/>
                </a:cubicBezTo>
                <a:lnTo>
                  <a:pt x="1964" y="20618"/>
                </a:lnTo>
                <a:cubicBezTo>
                  <a:pt x="1421" y="20618"/>
                  <a:pt x="982" y="20178"/>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15709"/>
                </a:moveTo>
                <a:lnTo>
                  <a:pt x="5891" y="15709"/>
                </a:lnTo>
                <a:lnTo>
                  <a:pt x="5891" y="18655"/>
                </a:lnTo>
                <a:lnTo>
                  <a:pt x="2945" y="18655"/>
                </a:lnTo>
                <a:cubicBezTo>
                  <a:pt x="2945" y="18655"/>
                  <a:pt x="2945" y="15709"/>
                  <a:pt x="2945" y="15709"/>
                </a:cubicBezTo>
                <a:close/>
                <a:moveTo>
                  <a:pt x="1964" y="19636"/>
                </a:moveTo>
                <a:lnTo>
                  <a:pt x="6873" y="19636"/>
                </a:lnTo>
                <a:lnTo>
                  <a:pt x="6873" y="14727"/>
                </a:lnTo>
                <a:lnTo>
                  <a:pt x="1964" y="14727"/>
                </a:lnTo>
                <a:cubicBezTo>
                  <a:pt x="1964" y="14727"/>
                  <a:pt x="1964" y="19636"/>
                  <a:pt x="1964" y="19636"/>
                </a:cubicBezTo>
                <a:close/>
                <a:moveTo>
                  <a:pt x="15709" y="15709"/>
                </a:moveTo>
                <a:lnTo>
                  <a:pt x="18655" y="15709"/>
                </a:lnTo>
                <a:lnTo>
                  <a:pt x="18655" y="18655"/>
                </a:lnTo>
                <a:lnTo>
                  <a:pt x="15709" y="18655"/>
                </a:lnTo>
                <a:cubicBezTo>
                  <a:pt x="15709" y="18655"/>
                  <a:pt x="15709" y="15709"/>
                  <a:pt x="15709" y="15709"/>
                </a:cubicBezTo>
                <a:close/>
                <a:moveTo>
                  <a:pt x="14727" y="19636"/>
                </a:moveTo>
                <a:lnTo>
                  <a:pt x="19636" y="19636"/>
                </a:lnTo>
                <a:lnTo>
                  <a:pt x="19636" y="14727"/>
                </a:lnTo>
                <a:lnTo>
                  <a:pt x="14727" y="14727"/>
                </a:lnTo>
                <a:cubicBezTo>
                  <a:pt x="14727" y="14727"/>
                  <a:pt x="14727" y="19636"/>
                  <a:pt x="14727"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5" name="Shape 2745"/>
          <p:cNvSpPr/>
          <p:nvPr/>
        </p:nvSpPr>
        <p:spPr>
          <a:xfrm>
            <a:off x="3460265"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3745" y="20618"/>
                </a:lnTo>
                <a:cubicBezTo>
                  <a:pt x="13204" y="20618"/>
                  <a:pt x="12764" y="20178"/>
                  <a:pt x="12764" y="19636"/>
                </a:cubicBezTo>
                <a:lnTo>
                  <a:pt x="12764" y="13745"/>
                </a:lnTo>
                <a:cubicBezTo>
                  <a:pt x="12764" y="13204"/>
                  <a:pt x="13204" y="12764"/>
                  <a:pt x="13745" y="12764"/>
                </a:cubicBezTo>
                <a:lnTo>
                  <a:pt x="19636" y="12764"/>
                </a:lnTo>
                <a:cubicBezTo>
                  <a:pt x="20178" y="12764"/>
                  <a:pt x="20618" y="13204"/>
                  <a:pt x="20618" y="13745"/>
                </a:cubicBezTo>
                <a:cubicBezTo>
                  <a:pt x="20618" y="13745"/>
                  <a:pt x="20618" y="19636"/>
                  <a:pt x="20618" y="19636"/>
                </a:cubicBezTo>
                <a:close/>
                <a:moveTo>
                  <a:pt x="19636" y="11782"/>
                </a:moveTo>
                <a:lnTo>
                  <a:pt x="13745" y="11782"/>
                </a:lnTo>
                <a:cubicBezTo>
                  <a:pt x="12661" y="11782"/>
                  <a:pt x="11782" y="12661"/>
                  <a:pt x="11782" y="13745"/>
                </a:cubicBezTo>
                <a:lnTo>
                  <a:pt x="11782" y="19636"/>
                </a:lnTo>
                <a:cubicBezTo>
                  <a:pt x="11782" y="20721"/>
                  <a:pt x="12661" y="21600"/>
                  <a:pt x="13745" y="21600"/>
                </a:cubicBezTo>
                <a:lnTo>
                  <a:pt x="19636" y="21600"/>
                </a:lnTo>
                <a:cubicBezTo>
                  <a:pt x="20721" y="21600"/>
                  <a:pt x="21600" y="20721"/>
                  <a:pt x="21600" y="19636"/>
                </a:cubicBezTo>
                <a:lnTo>
                  <a:pt x="21600" y="13745"/>
                </a:lnTo>
                <a:cubicBezTo>
                  <a:pt x="21600" y="12661"/>
                  <a:pt x="20721" y="11782"/>
                  <a:pt x="19636" y="11782"/>
                </a:cubicBezTo>
                <a:moveTo>
                  <a:pt x="20618" y="7855"/>
                </a:moveTo>
                <a:cubicBezTo>
                  <a:pt x="20618" y="8396"/>
                  <a:pt x="20178" y="8836"/>
                  <a:pt x="19636" y="8836"/>
                </a:cubicBezTo>
                <a:lnTo>
                  <a:pt x="13745" y="8836"/>
                </a:lnTo>
                <a:cubicBezTo>
                  <a:pt x="13204" y="8836"/>
                  <a:pt x="12764" y="8396"/>
                  <a:pt x="12764" y="7855"/>
                </a:cubicBezTo>
                <a:lnTo>
                  <a:pt x="12764" y="1964"/>
                </a:lnTo>
                <a:cubicBezTo>
                  <a:pt x="12764" y="1422"/>
                  <a:pt x="13204" y="982"/>
                  <a:pt x="13745" y="982"/>
                </a:cubicBezTo>
                <a:lnTo>
                  <a:pt x="19636" y="982"/>
                </a:lnTo>
                <a:cubicBezTo>
                  <a:pt x="20178" y="982"/>
                  <a:pt x="20618" y="1422"/>
                  <a:pt x="20618" y="1964"/>
                </a:cubicBezTo>
                <a:cubicBezTo>
                  <a:pt x="20618" y="1964"/>
                  <a:pt x="20618" y="7855"/>
                  <a:pt x="20618" y="7855"/>
                </a:cubicBezTo>
                <a:close/>
                <a:moveTo>
                  <a:pt x="19636" y="0"/>
                </a:moveTo>
                <a:lnTo>
                  <a:pt x="13745" y="0"/>
                </a:lnTo>
                <a:cubicBezTo>
                  <a:pt x="12661" y="0"/>
                  <a:pt x="11782" y="879"/>
                  <a:pt x="11782" y="1964"/>
                </a:cubicBezTo>
                <a:lnTo>
                  <a:pt x="11782" y="7855"/>
                </a:lnTo>
                <a:cubicBezTo>
                  <a:pt x="11782" y="8939"/>
                  <a:pt x="12661" y="9818"/>
                  <a:pt x="13745" y="9818"/>
                </a:cubicBezTo>
                <a:lnTo>
                  <a:pt x="19636" y="9818"/>
                </a:lnTo>
                <a:cubicBezTo>
                  <a:pt x="20721" y="9818"/>
                  <a:pt x="21600" y="8939"/>
                  <a:pt x="21600" y="7855"/>
                </a:cubicBezTo>
                <a:lnTo>
                  <a:pt x="21600" y="1964"/>
                </a:lnTo>
                <a:cubicBezTo>
                  <a:pt x="21600" y="879"/>
                  <a:pt x="20721" y="0"/>
                  <a:pt x="19636" y="0"/>
                </a:cubicBezTo>
                <a:moveTo>
                  <a:pt x="8836" y="7855"/>
                </a:moveTo>
                <a:cubicBezTo>
                  <a:pt x="8836" y="8396"/>
                  <a:pt x="8396" y="8836"/>
                  <a:pt x="7855" y="8836"/>
                </a:cubicBezTo>
                <a:lnTo>
                  <a:pt x="1964" y="8836"/>
                </a:lnTo>
                <a:cubicBezTo>
                  <a:pt x="1421" y="8836"/>
                  <a:pt x="982" y="8396"/>
                  <a:pt x="982" y="7855"/>
                </a:cubicBezTo>
                <a:lnTo>
                  <a:pt x="982" y="1964"/>
                </a:lnTo>
                <a:cubicBezTo>
                  <a:pt x="982" y="1422"/>
                  <a:pt x="1421" y="982"/>
                  <a:pt x="1964" y="982"/>
                </a:cubicBezTo>
                <a:lnTo>
                  <a:pt x="7855" y="982"/>
                </a:lnTo>
                <a:cubicBezTo>
                  <a:pt x="8396" y="982"/>
                  <a:pt x="8836" y="1422"/>
                  <a:pt x="8836" y="1964"/>
                </a:cubicBezTo>
                <a:cubicBezTo>
                  <a:pt x="8836" y="1964"/>
                  <a:pt x="8836" y="7855"/>
                  <a:pt x="8836" y="7855"/>
                </a:cubicBezTo>
                <a:close/>
                <a:moveTo>
                  <a:pt x="7855" y="0"/>
                </a:moveTo>
                <a:lnTo>
                  <a:pt x="1964" y="0"/>
                </a:lnTo>
                <a:cubicBezTo>
                  <a:pt x="879" y="0"/>
                  <a:pt x="0" y="879"/>
                  <a:pt x="0" y="1964"/>
                </a:cubicBezTo>
                <a:lnTo>
                  <a:pt x="0" y="7855"/>
                </a:lnTo>
                <a:cubicBezTo>
                  <a:pt x="0" y="8939"/>
                  <a:pt x="879" y="9818"/>
                  <a:pt x="1964" y="9818"/>
                </a:cubicBezTo>
                <a:lnTo>
                  <a:pt x="7855" y="9818"/>
                </a:lnTo>
                <a:cubicBezTo>
                  <a:pt x="8939" y="9818"/>
                  <a:pt x="9818" y="8939"/>
                  <a:pt x="9818" y="7855"/>
                </a:cubicBezTo>
                <a:lnTo>
                  <a:pt x="9818" y="1964"/>
                </a:lnTo>
                <a:cubicBezTo>
                  <a:pt x="9818" y="879"/>
                  <a:pt x="8939" y="0"/>
                  <a:pt x="7855" y="0"/>
                </a:cubicBezTo>
                <a:moveTo>
                  <a:pt x="8836" y="19636"/>
                </a:moveTo>
                <a:cubicBezTo>
                  <a:pt x="8836" y="20178"/>
                  <a:pt x="8396" y="20618"/>
                  <a:pt x="7855" y="20618"/>
                </a:cubicBezTo>
                <a:lnTo>
                  <a:pt x="1964" y="20618"/>
                </a:lnTo>
                <a:cubicBezTo>
                  <a:pt x="1421" y="20618"/>
                  <a:pt x="982" y="20178"/>
                  <a:pt x="982" y="19636"/>
                </a:cubicBezTo>
                <a:lnTo>
                  <a:pt x="982" y="13745"/>
                </a:lnTo>
                <a:cubicBezTo>
                  <a:pt x="982" y="13204"/>
                  <a:pt x="1421" y="12764"/>
                  <a:pt x="1964" y="12764"/>
                </a:cubicBezTo>
                <a:lnTo>
                  <a:pt x="7855" y="12764"/>
                </a:lnTo>
                <a:cubicBezTo>
                  <a:pt x="8396" y="12764"/>
                  <a:pt x="8836" y="13204"/>
                  <a:pt x="8836" y="13745"/>
                </a:cubicBezTo>
                <a:cubicBezTo>
                  <a:pt x="8836" y="13745"/>
                  <a:pt x="8836" y="19636"/>
                  <a:pt x="8836" y="19636"/>
                </a:cubicBezTo>
                <a:close/>
                <a:moveTo>
                  <a:pt x="7855" y="11782"/>
                </a:moveTo>
                <a:lnTo>
                  <a:pt x="1964" y="11782"/>
                </a:lnTo>
                <a:cubicBezTo>
                  <a:pt x="879" y="11782"/>
                  <a:pt x="0" y="12661"/>
                  <a:pt x="0" y="13745"/>
                </a:cubicBezTo>
                <a:lnTo>
                  <a:pt x="0" y="19636"/>
                </a:lnTo>
                <a:cubicBezTo>
                  <a:pt x="0" y="20721"/>
                  <a:pt x="879" y="21600"/>
                  <a:pt x="1964" y="21600"/>
                </a:cubicBezTo>
                <a:lnTo>
                  <a:pt x="7855" y="21600"/>
                </a:lnTo>
                <a:cubicBezTo>
                  <a:pt x="8939" y="21600"/>
                  <a:pt x="9818" y="20721"/>
                  <a:pt x="9818" y="19636"/>
                </a:cubicBezTo>
                <a:lnTo>
                  <a:pt x="9818" y="13745"/>
                </a:lnTo>
                <a:cubicBezTo>
                  <a:pt x="9818" y="12661"/>
                  <a:pt x="8939"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6" name="Shape 2746"/>
          <p:cNvSpPr/>
          <p:nvPr/>
        </p:nvSpPr>
        <p:spPr>
          <a:xfrm>
            <a:off x="3860211"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764"/>
                </a:moveTo>
                <a:lnTo>
                  <a:pt x="16691" y="12764"/>
                </a:lnTo>
                <a:lnTo>
                  <a:pt x="16691" y="8836"/>
                </a:lnTo>
                <a:lnTo>
                  <a:pt x="20618" y="8836"/>
                </a:lnTo>
                <a:cubicBezTo>
                  <a:pt x="20618" y="8836"/>
                  <a:pt x="20618" y="12764"/>
                  <a:pt x="20618" y="12764"/>
                </a:cubicBezTo>
                <a:close/>
                <a:moveTo>
                  <a:pt x="20618" y="7855"/>
                </a:moveTo>
                <a:lnTo>
                  <a:pt x="16691" y="7855"/>
                </a:lnTo>
                <a:cubicBezTo>
                  <a:pt x="16149" y="7855"/>
                  <a:pt x="15709" y="8295"/>
                  <a:pt x="15709" y="8836"/>
                </a:cubicBezTo>
                <a:lnTo>
                  <a:pt x="15709" y="12764"/>
                </a:lnTo>
                <a:cubicBezTo>
                  <a:pt x="15709" y="13305"/>
                  <a:pt x="16149" y="13745"/>
                  <a:pt x="16691" y="13745"/>
                </a:cubicBezTo>
                <a:lnTo>
                  <a:pt x="20618" y="13745"/>
                </a:lnTo>
                <a:cubicBezTo>
                  <a:pt x="21160" y="13745"/>
                  <a:pt x="21600" y="13305"/>
                  <a:pt x="21600" y="12764"/>
                </a:cubicBezTo>
                <a:lnTo>
                  <a:pt x="21600" y="8836"/>
                </a:lnTo>
                <a:cubicBezTo>
                  <a:pt x="21600" y="8295"/>
                  <a:pt x="21160" y="7855"/>
                  <a:pt x="20618" y="7855"/>
                </a:cubicBezTo>
                <a:moveTo>
                  <a:pt x="12764" y="20618"/>
                </a:moveTo>
                <a:lnTo>
                  <a:pt x="8836" y="20618"/>
                </a:lnTo>
                <a:lnTo>
                  <a:pt x="8836" y="16691"/>
                </a:lnTo>
                <a:lnTo>
                  <a:pt x="12764" y="16691"/>
                </a:lnTo>
                <a:cubicBezTo>
                  <a:pt x="12764" y="16691"/>
                  <a:pt x="12764" y="20618"/>
                  <a:pt x="12764" y="20618"/>
                </a:cubicBezTo>
                <a:close/>
                <a:moveTo>
                  <a:pt x="12764" y="15709"/>
                </a:moveTo>
                <a:lnTo>
                  <a:pt x="8836" y="15709"/>
                </a:lnTo>
                <a:cubicBezTo>
                  <a:pt x="8295" y="15709"/>
                  <a:pt x="7855" y="16149"/>
                  <a:pt x="7855" y="16691"/>
                </a:cubicBezTo>
                <a:lnTo>
                  <a:pt x="7855" y="20618"/>
                </a:lnTo>
                <a:cubicBezTo>
                  <a:pt x="7855" y="21160"/>
                  <a:pt x="8295" y="21600"/>
                  <a:pt x="8836" y="21600"/>
                </a:cubicBezTo>
                <a:lnTo>
                  <a:pt x="12764" y="21600"/>
                </a:lnTo>
                <a:cubicBezTo>
                  <a:pt x="13305" y="21600"/>
                  <a:pt x="13745" y="21160"/>
                  <a:pt x="13745" y="20618"/>
                </a:cubicBezTo>
                <a:lnTo>
                  <a:pt x="13745" y="16691"/>
                </a:lnTo>
                <a:cubicBezTo>
                  <a:pt x="13745" y="16149"/>
                  <a:pt x="13305" y="15709"/>
                  <a:pt x="12764" y="15709"/>
                </a:cubicBezTo>
                <a:moveTo>
                  <a:pt x="12764" y="12764"/>
                </a:moveTo>
                <a:lnTo>
                  <a:pt x="8836" y="12764"/>
                </a:lnTo>
                <a:lnTo>
                  <a:pt x="8836" y="8836"/>
                </a:lnTo>
                <a:lnTo>
                  <a:pt x="12764" y="8836"/>
                </a:lnTo>
                <a:cubicBezTo>
                  <a:pt x="12764" y="8836"/>
                  <a:pt x="12764" y="12764"/>
                  <a:pt x="12764" y="12764"/>
                </a:cubicBezTo>
                <a:close/>
                <a:moveTo>
                  <a:pt x="12764" y="7855"/>
                </a:moveTo>
                <a:lnTo>
                  <a:pt x="8836" y="7855"/>
                </a:lnTo>
                <a:cubicBezTo>
                  <a:pt x="8295" y="7855"/>
                  <a:pt x="7855" y="8295"/>
                  <a:pt x="7855" y="8836"/>
                </a:cubicBezTo>
                <a:lnTo>
                  <a:pt x="7855" y="12764"/>
                </a:lnTo>
                <a:cubicBezTo>
                  <a:pt x="7855" y="13305"/>
                  <a:pt x="8295" y="13745"/>
                  <a:pt x="8836" y="13745"/>
                </a:cubicBezTo>
                <a:lnTo>
                  <a:pt x="12764" y="13745"/>
                </a:lnTo>
                <a:cubicBezTo>
                  <a:pt x="13305" y="13745"/>
                  <a:pt x="13745" y="13305"/>
                  <a:pt x="13745" y="12764"/>
                </a:cubicBezTo>
                <a:lnTo>
                  <a:pt x="13745" y="8836"/>
                </a:lnTo>
                <a:cubicBezTo>
                  <a:pt x="13745" y="8295"/>
                  <a:pt x="13305" y="7855"/>
                  <a:pt x="12764" y="7855"/>
                </a:cubicBezTo>
                <a:moveTo>
                  <a:pt x="4909" y="4909"/>
                </a:moveTo>
                <a:lnTo>
                  <a:pt x="982" y="4909"/>
                </a:lnTo>
                <a:lnTo>
                  <a:pt x="982" y="982"/>
                </a:lnTo>
                <a:lnTo>
                  <a:pt x="4909" y="982"/>
                </a:lnTo>
                <a:cubicBezTo>
                  <a:pt x="4909" y="982"/>
                  <a:pt x="4909" y="4909"/>
                  <a:pt x="4909" y="4909"/>
                </a:cubicBezTo>
                <a:close/>
                <a:moveTo>
                  <a:pt x="4909" y="0"/>
                </a:moveTo>
                <a:lnTo>
                  <a:pt x="982" y="0"/>
                </a:lnTo>
                <a:cubicBezTo>
                  <a:pt x="440" y="0"/>
                  <a:pt x="0" y="440"/>
                  <a:pt x="0" y="982"/>
                </a:cubicBezTo>
                <a:lnTo>
                  <a:pt x="0" y="4909"/>
                </a:lnTo>
                <a:cubicBezTo>
                  <a:pt x="0" y="5451"/>
                  <a:pt x="440" y="5891"/>
                  <a:pt x="982" y="5891"/>
                </a:cubicBezTo>
                <a:lnTo>
                  <a:pt x="4909" y="5891"/>
                </a:lnTo>
                <a:cubicBezTo>
                  <a:pt x="5451" y="5891"/>
                  <a:pt x="5891" y="5451"/>
                  <a:pt x="5891" y="4909"/>
                </a:cubicBezTo>
                <a:lnTo>
                  <a:pt x="5891" y="982"/>
                </a:lnTo>
                <a:cubicBezTo>
                  <a:pt x="5891" y="440"/>
                  <a:pt x="5451" y="0"/>
                  <a:pt x="4909" y="0"/>
                </a:cubicBezTo>
                <a:moveTo>
                  <a:pt x="20618" y="20618"/>
                </a:moveTo>
                <a:lnTo>
                  <a:pt x="16691" y="20618"/>
                </a:lnTo>
                <a:lnTo>
                  <a:pt x="16691" y="16691"/>
                </a:lnTo>
                <a:lnTo>
                  <a:pt x="20618" y="16691"/>
                </a:lnTo>
                <a:cubicBezTo>
                  <a:pt x="20618" y="16691"/>
                  <a:pt x="20618" y="20618"/>
                  <a:pt x="20618" y="20618"/>
                </a:cubicBezTo>
                <a:close/>
                <a:moveTo>
                  <a:pt x="20618" y="15709"/>
                </a:moveTo>
                <a:lnTo>
                  <a:pt x="16691" y="15709"/>
                </a:lnTo>
                <a:cubicBezTo>
                  <a:pt x="16149" y="15709"/>
                  <a:pt x="15709" y="16149"/>
                  <a:pt x="15709" y="16691"/>
                </a:cubicBezTo>
                <a:lnTo>
                  <a:pt x="15709" y="20618"/>
                </a:lnTo>
                <a:cubicBezTo>
                  <a:pt x="15709" y="21160"/>
                  <a:pt x="16149" y="21600"/>
                  <a:pt x="16691" y="21600"/>
                </a:cubicBezTo>
                <a:lnTo>
                  <a:pt x="20618" y="21600"/>
                </a:lnTo>
                <a:cubicBezTo>
                  <a:pt x="21160" y="21600"/>
                  <a:pt x="21600" y="21160"/>
                  <a:pt x="21600" y="20618"/>
                </a:cubicBezTo>
                <a:lnTo>
                  <a:pt x="21600" y="16691"/>
                </a:lnTo>
                <a:cubicBezTo>
                  <a:pt x="21600" y="16149"/>
                  <a:pt x="21160" y="15709"/>
                  <a:pt x="20618" y="15709"/>
                </a:cubicBezTo>
                <a:moveTo>
                  <a:pt x="20618" y="4909"/>
                </a:moveTo>
                <a:lnTo>
                  <a:pt x="16691" y="4909"/>
                </a:lnTo>
                <a:lnTo>
                  <a:pt x="16691" y="982"/>
                </a:lnTo>
                <a:lnTo>
                  <a:pt x="20618" y="982"/>
                </a:lnTo>
                <a:cubicBezTo>
                  <a:pt x="20618" y="982"/>
                  <a:pt x="20618" y="4909"/>
                  <a:pt x="20618" y="4909"/>
                </a:cubicBezTo>
                <a:close/>
                <a:moveTo>
                  <a:pt x="20618" y="0"/>
                </a:moveTo>
                <a:lnTo>
                  <a:pt x="16691" y="0"/>
                </a:lnTo>
                <a:cubicBezTo>
                  <a:pt x="16149" y="0"/>
                  <a:pt x="15709" y="440"/>
                  <a:pt x="15709" y="982"/>
                </a:cubicBezTo>
                <a:lnTo>
                  <a:pt x="15709" y="4909"/>
                </a:lnTo>
                <a:cubicBezTo>
                  <a:pt x="15709" y="5451"/>
                  <a:pt x="16149" y="5891"/>
                  <a:pt x="16691"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16691"/>
                </a:lnTo>
                <a:lnTo>
                  <a:pt x="4909" y="16691"/>
                </a:lnTo>
                <a:cubicBezTo>
                  <a:pt x="4909" y="16691"/>
                  <a:pt x="4909" y="20618"/>
                  <a:pt x="4909" y="20618"/>
                </a:cubicBezTo>
                <a:close/>
                <a:moveTo>
                  <a:pt x="4909" y="15709"/>
                </a:moveTo>
                <a:lnTo>
                  <a:pt x="982" y="15709"/>
                </a:lnTo>
                <a:cubicBezTo>
                  <a:pt x="440" y="15709"/>
                  <a:pt x="0" y="16149"/>
                  <a:pt x="0" y="16691"/>
                </a:cubicBezTo>
                <a:lnTo>
                  <a:pt x="0" y="20618"/>
                </a:lnTo>
                <a:cubicBezTo>
                  <a:pt x="0" y="21160"/>
                  <a:pt x="440" y="21600"/>
                  <a:pt x="982" y="21600"/>
                </a:cubicBezTo>
                <a:lnTo>
                  <a:pt x="4909" y="21600"/>
                </a:lnTo>
                <a:cubicBezTo>
                  <a:pt x="5451" y="21600"/>
                  <a:pt x="5891" y="21160"/>
                  <a:pt x="5891" y="20618"/>
                </a:cubicBezTo>
                <a:lnTo>
                  <a:pt x="5891" y="16691"/>
                </a:lnTo>
                <a:cubicBezTo>
                  <a:pt x="5891" y="16149"/>
                  <a:pt x="5451" y="15709"/>
                  <a:pt x="4909" y="15709"/>
                </a:cubicBezTo>
                <a:moveTo>
                  <a:pt x="12764" y="4909"/>
                </a:moveTo>
                <a:lnTo>
                  <a:pt x="8836" y="4909"/>
                </a:lnTo>
                <a:lnTo>
                  <a:pt x="8836" y="982"/>
                </a:lnTo>
                <a:lnTo>
                  <a:pt x="12764" y="982"/>
                </a:lnTo>
                <a:cubicBezTo>
                  <a:pt x="12764" y="982"/>
                  <a:pt x="12764" y="4909"/>
                  <a:pt x="12764" y="4909"/>
                </a:cubicBezTo>
                <a:close/>
                <a:moveTo>
                  <a:pt x="12764" y="0"/>
                </a:moveTo>
                <a:lnTo>
                  <a:pt x="8836" y="0"/>
                </a:lnTo>
                <a:cubicBezTo>
                  <a:pt x="8295" y="0"/>
                  <a:pt x="7855" y="440"/>
                  <a:pt x="7855" y="982"/>
                </a:cubicBezTo>
                <a:lnTo>
                  <a:pt x="7855" y="4909"/>
                </a:lnTo>
                <a:cubicBezTo>
                  <a:pt x="7855" y="5451"/>
                  <a:pt x="8295" y="5891"/>
                  <a:pt x="8836" y="5891"/>
                </a:cubicBezTo>
                <a:lnTo>
                  <a:pt x="12764" y="5891"/>
                </a:lnTo>
                <a:cubicBezTo>
                  <a:pt x="13305" y="5891"/>
                  <a:pt x="13745" y="5451"/>
                  <a:pt x="13745" y="4909"/>
                </a:cubicBezTo>
                <a:lnTo>
                  <a:pt x="13745" y="982"/>
                </a:lnTo>
                <a:cubicBezTo>
                  <a:pt x="13745" y="440"/>
                  <a:pt x="13305" y="0"/>
                  <a:pt x="12764" y="0"/>
                </a:cubicBezTo>
                <a:moveTo>
                  <a:pt x="4909" y="12764"/>
                </a:moveTo>
                <a:lnTo>
                  <a:pt x="982" y="12764"/>
                </a:lnTo>
                <a:lnTo>
                  <a:pt x="982" y="8836"/>
                </a:lnTo>
                <a:lnTo>
                  <a:pt x="4909" y="8836"/>
                </a:lnTo>
                <a:cubicBezTo>
                  <a:pt x="4909" y="8836"/>
                  <a:pt x="4909" y="12764"/>
                  <a:pt x="4909" y="12764"/>
                </a:cubicBezTo>
                <a:close/>
                <a:moveTo>
                  <a:pt x="4909" y="7855"/>
                </a:moveTo>
                <a:lnTo>
                  <a:pt x="982" y="7855"/>
                </a:lnTo>
                <a:cubicBezTo>
                  <a:pt x="440" y="7855"/>
                  <a:pt x="0" y="8295"/>
                  <a:pt x="0" y="8836"/>
                </a:cubicBezTo>
                <a:lnTo>
                  <a:pt x="0" y="12764"/>
                </a:lnTo>
                <a:cubicBezTo>
                  <a:pt x="0" y="13305"/>
                  <a:pt x="440" y="13745"/>
                  <a:pt x="982" y="13745"/>
                </a:cubicBezTo>
                <a:lnTo>
                  <a:pt x="4909" y="13745"/>
                </a:lnTo>
                <a:cubicBezTo>
                  <a:pt x="5451" y="13745"/>
                  <a:pt x="5891" y="13305"/>
                  <a:pt x="5891" y="12764"/>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7" name="Shape 2747"/>
          <p:cNvSpPr/>
          <p:nvPr/>
        </p:nvSpPr>
        <p:spPr>
          <a:xfrm>
            <a:off x="426015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618"/>
                </a:moveTo>
                <a:lnTo>
                  <a:pt x="8836" y="20618"/>
                </a:lnTo>
                <a:lnTo>
                  <a:pt x="8836" y="8836"/>
                </a:lnTo>
                <a:lnTo>
                  <a:pt x="20618" y="8836"/>
                </a:lnTo>
                <a:cubicBezTo>
                  <a:pt x="20618" y="8836"/>
                  <a:pt x="20618" y="20618"/>
                  <a:pt x="20618" y="20618"/>
                </a:cubicBezTo>
                <a:close/>
                <a:moveTo>
                  <a:pt x="20618" y="7855"/>
                </a:moveTo>
                <a:lnTo>
                  <a:pt x="8836" y="7855"/>
                </a:lnTo>
                <a:cubicBezTo>
                  <a:pt x="8295" y="7855"/>
                  <a:pt x="7855" y="8295"/>
                  <a:pt x="7855" y="8836"/>
                </a:cubicBezTo>
                <a:lnTo>
                  <a:pt x="7855" y="20618"/>
                </a:lnTo>
                <a:cubicBezTo>
                  <a:pt x="7855" y="21160"/>
                  <a:pt x="8295" y="21600"/>
                  <a:pt x="8836" y="21600"/>
                </a:cubicBezTo>
                <a:lnTo>
                  <a:pt x="20618" y="21600"/>
                </a:lnTo>
                <a:cubicBezTo>
                  <a:pt x="21160" y="21600"/>
                  <a:pt x="21600" y="21160"/>
                  <a:pt x="21600" y="20618"/>
                </a:cubicBezTo>
                <a:lnTo>
                  <a:pt x="21600" y="8836"/>
                </a:lnTo>
                <a:cubicBezTo>
                  <a:pt x="21600" y="8295"/>
                  <a:pt x="21160" y="7855"/>
                  <a:pt x="20618" y="7855"/>
                </a:cubicBezTo>
                <a:moveTo>
                  <a:pt x="20618" y="4909"/>
                </a:moveTo>
                <a:lnTo>
                  <a:pt x="982" y="4909"/>
                </a:lnTo>
                <a:lnTo>
                  <a:pt x="982" y="982"/>
                </a:lnTo>
                <a:lnTo>
                  <a:pt x="20618" y="982"/>
                </a:lnTo>
                <a:cubicBezTo>
                  <a:pt x="20618" y="982"/>
                  <a:pt x="20618" y="4909"/>
                  <a:pt x="20618" y="4909"/>
                </a:cubicBezTo>
                <a:close/>
                <a:moveTo>
                  <a:pt x="20618" y="0"/>
                </a:moveTo>
                <a:lnTo>
                  <a:pt x="982" y="0"/>
                </a:lnTo>
                <a:cubicBezTo>
                  <a:pt x="440" y="0"/>
                  <a:pt x="0" y="440"/>
                  <a:pt x="0" y="982"/>
                </a:cubicBezTo>
                <a:lnTo>
                  <a:pt x="0" y="4909"/>
                </a:lnTo>
                <a:cubicBezTo>
                  <a:pt x="0" y="5451"/>
                  <a:pt x="440" y="5891"/>
                  <a:pt x="982"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8836"/>
                </a:lnTo>
                <a:lnTo>
                  <a:pt x="4909" y="8836"/>
                </a:lnTo>
                <a:cubicBezTo>
                  <a:pt x="4909" y="8836"/>
                  <a:pt x="4909" y="20618"/>
                  <a:pt x="4909" y="20618"/>
                </a:cubicBezTo>
                <a:close/>
                <a:moveTo>
                  <a:pt x="4909" y="7855"/>
                </a:moveTo>
                <a:lnTo>
                  <a:pt x="982" y="7855"/>
                </a:lnTo>
                <a:cubicBezTo>
                  <a:pt x="440" y="7855"/>
                  <a:pt x="0" y="8295"/>
                  <a:pt x="0" y="8836"/>
                </a:cubicBezTo>
                <a:lnTo>
                  <a:pt x="0" y="20618"/>
                </a:lnTo>
                <a:cubicBezTo>
                  <a:pt x="0" y="21160"/>
                  <a:pt x="440" y="21600"/>
                  <a:pt x="982" y="21600"/>
                </a:cubicBezTo>
                <a:lnTo>
                  <a:pt x="4909" y="21600"/>
                </a:lnTo>
                <a:cubicBezTo>
                  <a:pt x="5451" y="21600"/>
                  <a:pt x="5891" y="21160"/>
                  <a:pt x="5891" y="20618"/>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8" name="Shape 2748"/>
          <p:cNvSpPr/>
          <p:nvPr/>
        </p:nvSpPr>
        <p:spPr>
          <a:xfrm>
            <a:off x="4679147" y="307946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9" name="Shape 2749"/>
          <p:cNvSpPr/>
          <p:nvPr/>
        </p:nvSpPr>
        <p:spPr>
          <a:xfrm>
            <a:off x="5117184"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2884"/>
                </a:moveTo>
                <a:cubicBezTo>
                  <a:pt x="19862" y="3005"/>
                  <a:pt x="15661" y="5580"/>
                  <a:pt x="11606" y="4718"/>
                </a:cubicBezTo>
                <a:cubicBezTo>
                  <a:pt x="9681" y="4310"/>
                  <a:pt x="8390" y="3899"/>
                  <a:pt x="7251" y="3535"/>
                </a:cubicBezTo>
                <a:cubicBezTo>
                  <a:pt x="5426" y="2953"/>
                  <a:pt x="4042" y="2513"/>
                  <a:pt x="1543" y="2647"/>
                </a:cubicBezTo>
                <a:lnTo>
                  <a:pt x="1543" y="982"/>
                </a:lnTo>
                <a:lnTo>
                  <a:pt x="20057" y="982"/>
                </a:lnTo>
                <a:cubicBezTo>
                  <a:pt x="20057" y="982"/>
                  <a:pt x="20057" y="2884"/>
                  <a:pt x="20057" y="2884"/>
                </a:cubicBezTo>
                <a:close/>
                <a:moveTo>
                  <a:pt x="20057" y="5891"/>
                </a:moveTo>
                <a:cubicBezTo>
                  <a:pt x="20057" y="9144"/>
                  <a:pt x="15912" y="11782"/>
                  <a:pt x="10800" y="11782"/>
                </a:cubicBezTo>
                <a:cubicBezTo>
                  <a:pt x="5688" y="11782"/>
                  <a:pt x="1543" y="9144"/>
                  <a:pt x="1543" y="5891"/>
                </a:cubicBezTo>
                <a:lnTo>
                  <a:pt x="1543" y="3634"/>
                </a:lnTo>
                <a:cubicBezTo>
                  <a:pt x="3681" y="3500"/>
                  <a:pt x="4767" y="3841"/>
                  <a:pt x="6560" y="4413"/>
                </a:cubicBezTo>
                <a:cubicBezTo>
                  <a:pt x="7686" y="4772"/>
                  <a:pt x="9088" y="5219"/>
                  <a:pt x="11118" y="5650"/>
                </a:cubicBezTo>
                <a:cubicBezTo>
                  <a:pt x="11869" y="5809"/>
                  <a:pt x="12616" y="5877"/>
                  <a:pt x="13343" y="5877"/>
                </a:cubicBezTo>
                <a:cubicBezTo>
                  <a:pt x="16154" y="5877"/>
                  <a:pt x="18675" y="4862"/>
                  <a:pt x="20057" y="4176"/>
                </a:cubicBezTo>
                <a:cubicBezTo>
                  <a:pt x="20057" y="4176"/>
                  <a:pt x="20057" y="5891"/>
                  <a:pt x="20057" y="5891"/>
                </a:cubicBezTo>
                <a:close/>
                <a:moveTo>
                  <a:pt x="20829" y="0"/>
                </a:moveTo>
                <a:lnTo>
                  <a:pt x="771" y="0"/>
                </a:lnTo>
                <a:cubicBezTo>
                  <a:pt x="346" y="0"/>
                  <a:pt x="0" y="220"/>
                  <a:pt x="0" y="491"/>
                </a:cubicBezTo>
                <a:lnTo>
                  <a:pt x="0" y="5891"/>
                </a:lnTo>
                <a:cubicBezTo>
                  <a:pt x="0" y="9521"/>
                  <a:pt x="4426" y="12486"/>
                  <a:pt x="10029" y="12739"/>
                </a:cubicBezTo>
                <a:lnTo>
                  <a:pt x="10029" y="20618"/>
                </a:lnTo>
                <a:lnTo>
                  <a:pt x="3857" y="20618"/>
                </a:lnTo>
                <a:cubicBezTo>
                  <a:pt x="3432" y="20618"/>
                  <a:pt x="3086" y="20838"/>
                  <a:pt x="3086" y="21109"/>
                </a:cubicBezTo>
                <a:cubicBezTo>
                  <a:pt x="3086" y="21380"/>
                  <a:pt x="3432" y="21600"/>
                  <a:pt x="3857" y="21600"/>
                </a:cubicBezTo>
                <a:lnTo>
                  <a:pt x="17743" y="21600"/>
                </a:lnTo>
                <a:cubicBezTo>
                  <a:pt x="18168" y="21600"/>
                  <a:pt x="18514" y="21380"/>
                  <a:pt x="18514" y="21109"/>
                </a:cubicBezTo>
                <a:cubicBezTo>
                  <a:pt x="18514" y="20838"/>
                  <a:pt x="18168" y="20618"/>
                  <a:pt x="17743" y="20618"/>
                </a:cubicBezTo>
                <a:lnTo>
                  <a:pt x="11571" y="20618"/>
                </a:lnTo>
                <a:lnTo>
                  <a:pt x="11571" y="12739"/>
                </a:lnTo>
                <a:cubicBezTo>
                  <a:pt x="17174" y="12486"/>
                  <a:pt x="21600" y="9521"/>
                  <a:pt x="21600" y="5891"/>
                </a:cubicBezTo>
                <a:lnTo>
                  <a:pt x="21600" y="491"/>
                </a:lnTo>
                <a:cubicBezTo>
                  <a:pt x="21600" y="220"/>
                  <a:pt x="21254" y="0"/>
                  <a:pt x="2082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0" name="Shape 2750"/>
          <p:cNvSpPr/>
          <p:nvPr/>
        </p:nvSpPr>
        <p:spPr>
          <a:xfrm>
            <a:off x="5536175" y="3079463"/>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0800"/>
                </a:moveTo>
                <a:lnTo>
                  <a:pt x="2160" y="10800"/>
                </a:lnTo>
                <a:lnTo>
                  <a:pt x="2160" y="8836"/>
                </a:lnTo>
                <a:cubicBezTo>
                  <a:pt x="2160" y="7752"/>
                  <a:pt x="4094" y="6873"/>
                  <a:pt x="6480" y="6873"/>
                </a:cubicBezTo>
                <a:lnTo>
                  <a:pt x="15120" y="6873"/>
                </a:lnTo>
                <a:cubicBezTo>
                  <a:pt x="17506" y="6873"/>
                  <a:pt x="19440" y="7752"/>
                  <a:pt x="19440" y="8836"/>
                </a:cubicBezTo>
                <a:cubicBezTo>
                  <a:pt x="19440" y="8836"/>
                  <a:pt x="19440" y="10800"/>
                  <a:pt x="19440" y="10800"/>
                </a:cubicBezTo>
                <a:close/>
                <a:moveTo>
                  <a:pt x="19440" y="15709"/>
                </a:moveTo>
                <a:lnTo>
                  <a:pt x="2160" y="15709"/>
                </a:lnTo>
                <a:lnTo>
                  <a:pt x="2160" y="11782"/>
                </a:lnTo>
                <a:lnTo>
                  <a:pt x="19440" y="11782"/>
                </a:lnTo>
                <a:cubicBezTo>
                  <a:pt x="19440" y="11782"/>
                  <a:pt x="19440" y="15709"/>
                  <a:pt x="19440" y="15709"/>
                </a:cubicBezTo>
                <a:close/>
                <a:moveTo>
                  <a:pt x="19440" y="18655"/>
                </a:moveTo>
                <a:cubicBezTo>
                  <a:pt x="19440" y="19739"/>
                  <a:pt x="17506" y="20618"/>
                  <a:pt x="15120" y="20618"/>
                </a:cubicBezTo>
                <a:lnTo>
                  <a:pt x="6480" y="20618"/>
                </a:lnTo>
                <a:cubicBezTo>
                  <a:pt x="4094" y="20618"/>
                  <a:pt x="2160" y="19739"/>
                  <a:pt x="2160" y="18655"/>
                </a:cubicBezTo>
                <a:lnTo>
                  <a:pt x="2160" y="16691"/>
                </a:lnTo>
                <a:lnTo>
                  <a:pt x="19440" y="16691"/>
                </a:lnTo>
                <a:cubicBezTo>
                  <a:pt x="19440" y="16691"/>
                  <a:pt x="19440" y="18655"/>
                  <a:pt x="19440" y="18655"/>
                </a:cubicBezTo>
                <a:close/>
                <a:moveTo>
                  <a:pt x="8640" y="2945"/>
                </a:moveTo>
                <a:lnTo>
                  <a:pt x="12960" y="2945"/>
                </a:lnTo>
                <a:lnTo>
                  <a:pt x="12960" y="5891"/>
                </a:lnTo>
                <a:lnTo>
                  <a:pt x="8640" y="5891"/>
                </a:lnTo>
                <a:cubicBezTo>
                  <a:pt x="8640" y="5891"/>
                  <a:pt x="8640" y="2945"/>
                  <a:pt x="8640" y="2945"/>
                </a:cubicBezTo>
                <a:close/>
                <a:moveTo>
                  <a:pt x="8640" y="982"/>
                </a:moveTo>
                <a:lnTo>
                  <a:pt x="12960" y="982"/>
                </a:lnTo>
                <a:lnTo>
                  <a:pt x="12960" y="1964"/>
                </a:lnTo>
                <a:lnTo>
                  <a:pt x="8640" y="1964"/>
                </a:lnTo>
                <a:cubicBezTo>
                  <a:pt x="8640" y="1964"/>
                  <a:pt x="8640" y="982"/>
                  <a:pt x="8640" y="982"/>
                </a:cubicBezTo>
                <a:close/>
                <a:moveTo>
                  <a:pt x="15120" y="5891"/>
                </a:moveTo>
                <a:lnTo>
                  <a:pt x="15120" y="982"/>
                </a:lnTo>
                <a:cubicBezTo>
                  <a:pt x="15120" y="440"/>
                  <a:pt x="14152" y="0"/>
                  <a:pt x="12960" y="0"/>
                </a:cubicBezTo>
                <a:lnTo>
                  <a:pt x="8640" y="0"/>
                </a:lnTo>
                <a:cubicBezTo>
                  <a:pt x="7448" y="0"/>
                  <a:pt x="6480" y="440"/>
                  <a:pt x="6480" y="982"/>
                </a:cubicBezTo>
                <a:lnTo>
                  <a:pt x="6480" y="5891"/>
                </a:lnTo>
                <a:cubicBezTo>
                  <a:pt x="2901" y="5891"/>
                  <a:pt x="0" y="7209"/>
                  <a:pt x="0" y="8836"/>
                </a:cubicBezTo>
                <a:lnTo>
                  <a:pt x="0" y="18655"/>
                </a:lnTo>
                <a:cubicBezTo>
                  <a:pt x="0" y="20281"/>
                  <a:pt x="2901" y="21600"/>
                  <a:pt x="6480" y="21600"/>
                </a:cubicBezTo>
                <a:lnTo>
                  <a:pt x="15120" y="21600"/>
                </a:lnTo>
                <a:cubicBezTo>
                  <a:pt x="18698" y="21600"/>
                  <a:pt x="21600" y="20281"/>
                  <a:pt x="21600" y="18655"/>
                </a:cubicBezTo>
                <a:lnTo>
                  <a:pt x="21600" y="8836"/>
                </a:lnTo>
                <a:cubicBezTo>
                  <a:pt x="21600" y="7209"/>
                  <a:pt x="18698" y="5891"/>
                  <a:pt x="1512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1" name="Shape 2751"/>
          <p:cNvSpPr/>
          <p:nvPr/>
        </p:nvSpPr>
        <p:spPr>
          <a:xfrm>
            <a:off x="5917075"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2" name="Shape 2752"/>
          <p:cNvSpPr/>
          <p:nvPr/>
        </p:nvSpPr>
        <p:spPr>
          <a:xfrm>
            <a:off x="6297976"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7673"/>
                </a:moveTo>
                <a:cubicBezTo>
                  <a:pt x="12269" y="17673"/>
                  <a:pt x="12000" y="17892"/>
                  <a:pt x="12000" y="18164"/>
                </a:cubicBezTo>
                <a:cubicBezTo>
                  <a:pt x="12000" y="18435"/>
                  <a:pt x="12269" y="18655"/>
                  <a:pt x="12600" y="18655"/>
                </a:cubicBezTo>
                <a:cubicBezTo>
                  <a:pt x="12931" y="18655"/>
                  <a:pt x="13200" y="18435"/>
                  <a:pt x="13200" y="18164"/>
                </a:cubicBezTo>
                <a:cubicBezTo>
                  <a:pt x="13200" y="17892"/>
                  <a:pt x="12931" y="17673"/>
                  <a:pt x="12600" y="17673"/>
                </a:cubicBezTo>
                <a:moveTo>
                  <a:pt x="10800" y="13745"/>
                </a:moveTo>
                <a:cubicBezTo>
                  <a:pt x="10138" y="13745"/>
                  <a:pt x="9600" y="14186"/>
                  <a:pt x="9600" y="14727"/>
                </a:cubicBezTo>
                <a:cubicBezTo>
                  <a:pt x="9600" y="15269"/>
                  <a:pt x="10138" y="15709"/>
                  <a:pt x="10800" y="15709"/>
                </a:cubicBezTo>
                <a:cubicBezTo>
                  <a:pt x="11462" y="15709"/>
                  <a:pt x="12000" y="15269"/>
                  <a:pt x="12000" y="14727"/>
                </a:cubicBezTo>
                <a:cubicBezTo>
                  <a:pt x="12000" y="14186"/>
                  <a:pt x="11462" y="13745"/>
                  <a:pt x="10800" y="13745"/>
                </a:cubicBezTo>
                <a:moveTo>
                  <a:pt x="12600" y="10800"/>
                </a:moveTo>
                <a:cubicBezTo>
                  <a:pt x="12269" y="10800"/>
                  <a:pt x="12000" y="10580"/>
                  <a:pt x="12000" y="10309"/>
                </a:cubicBezTo>
                <a:cubicBezTo>
                  <a:pt x="12000" y="10038"/>
                  <a:pt x="12269" y="9818"/>
                  <a:pt x="12600" y="9818"/>
                </a:cubicBezTo>
                <a:cubicBezTo>
                  <a:pt x="12931" y="9818"/>
                  <a:pt x="13200" y="10038"/>
                  <a:pt x="13200" y="10309"/>
                </a:cubicBezTo>
                <a:cubicBezTo>
                  <a:pt x="13200" y="10580"/>
                  <a:pt x="12931" y="10800"/>
                  <a:pt x="12600" y="10800"/>
                </a:cubicBezTo>
                <a:moveTo>
                  <a:pt x="12600" y="8836"/>
                </a:moveTo>
                <a:cubicBezTo>
                  <a:pt x="11606" y="8836"/>
                  <a:pt x="10800" y="9496"/>
                  <a:pt x="10800" y="10309"/>
                </a:cubicBezTo>
                <a:cubicBezTo>
                  <a:pt x="10800" y="11123"/>
                  <a:pt x="11606" y="11782"/>
                  <a:pt x="12600" y="11782"/>
                </a:cubicBezTo>
                <a:cubicBezTo>
                  <a:pt x="13594" y="11782"/>
                  <a:pt x="14400" y="11123"/>
                  <a:pt x="14400" y="10309"/>
                </a:cubicBezTo>
                <a:cubicBezTo>
                  <a:pt x="14400" y="9496"/>
                  <a:pt x="13594" y="8836"/>
                  <a:pt x="12600" y="8836"/>
                </a:cubicBezTo>
                <a:moveTo>
                  <a:pt x="17760" y="20618"/>
                </a:moveTo>
                <a:lnTo>
                  <a:pt x="3840" y="20618"/>
                </a:lnTo>
                <a:cubicBezTo>
                  <a:pt x="2134" y="19151"/>
                  <a:pt x="1200" y="17248"/>
                  <a:pt x="1200" y="15218"/>
                </a:cubicBezTo>
                <a:cubicBezTo>
                  <a:pt x="1200" y="12593"/>
                  <a:pt x="2796" y="10152"/>
                  <a:pt x="5468" y="8688"/>
                </a:cubicBezTo>
                <a:cubicBezTo>
                  <a:pt x="5800" y="8506"/>
                  <a:pt x="6000" y="8199"/>
                  <a:pt x="6000" y="7872"/>
                </a:cubicBezTo>
                <a:lnTo>
                  <a:pt x="6000" y="6529"/>
                </a:lnTo>
                <a:cubicBezTo>
                  <a:pt x="6729" y="6758"/>
                  <a:pt x="7567" y="6924"/>
                  <a:pt x="8484" y="6924"/>
                </a:cubicBezTo>
                <a:cubicBezTo>
                  <a:pt x="9499" y="6924"/>
                  <a:pt x="10603" y="6723"/>
                  <a:pt x="11748" y="6188"/>
                </a:cubicBezTo>
                <a:cubicBezTo>
                  <a:pt x="13252" y="5485"/>
                  <a:pt x="14575" y="5306"/>
                  <a:pt x="15600" y="5323"/>
                </a:cubicBezTo>
                <a:lnTo>
                  <a:pt x="15600" y="7872"/>
                </a:lnTo>
                <a:cubicBezTo>
                  <a:pt x="15600" y="8199"/>
                  <a:pt x="15800" y="8506"/>
                  <a:pt x="16132" y="8688"/>
                </a:cubicBezTo>
                <a:cubicBezTo>
                  <a:pt x="18804" y="10152"/>
                  <a:pt x="20400" y="12593"/>
                  <a:pt x="20400" y="15218"/>
                </a:cubicBezTo>
                <a:cubicBezTo>
                  <a:pt x="20400" y="17248"/>
                  <a:pt x="19466" y="19151"/>
                  <a:pt x="17760" y="20618"/>
                </a:cubicBezTo>
                <a:moveTo>
                  <a:pt x="15600" y="2945"/>
                </a:moveTo>
                <a:lnTo>
                  <a:pt x="15600" y="4340"/>
                </a:lnTo>
                <a:cubicBezTo>
                  <a:pt x="14391" y="4322"/>
                  <a:pt x="12860" y="4538"/>
                  <a:pt x="11152" y="5336"/>
                </a:cubicBezTo>
                <a:cubicBezTo>
                  <a:pt x="9163" y="6265"/>
                  <a:pt x="7312" y="5965"/>
                  <a:pt x="6000" y="5473"/>
                </a:cubicBezTo>
                <a:lnTo>
                  <a:pt x="6000" y="2945"/>
                </a:lnTo>
                <a:cubicBezTo>
                  <a:pt x="6000" y="2945"/>
                  <a:pt x="15600" y="2945"/>
                  <a:pt x="15600" y="2945"/>
                </a:cubicBezTo>
                <a:close/>
                <a:moveTo>
                  <a:pt x="3600" y="982"/>
                </a:moveTo>
                <a:lnTo>
                  <a:pt x="18000" y="982"/>
                </a:lnTo>
                <a:lnTo>
                  <a:pt x="18000" y="1964"/>
                </a:lnTo>
                <a:lnTo>
                  <a:pt x="3600" y="1964"/>
                </a:lnTo>
                <a:cubicBezTo>
                  <a:pt x="3600" y="1964"/>
                  <a:pt x="3600" y="982"/>
                  <a:pt x="3600" y="982"/>
                </a:cubicBezTo>
                <a:close/>
                <a:moveTo>
                  <a:pt x="16800" y="7872"/>
                </a:moveTo>
                <a:lnTo>
                  <a:pt x="16800" y="2945"/>
                </a:ln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800" y="2945"/>
                </a:lnTo>
                <a:lnTo>
                  <a:pt x="4800" y="7872"/>
                </a:lnTo>
                <a:cubicBezTo>
                  <a:pt x="1906" y="9457"/>
                  <a:pt x="0" y="12155"/>
                  <a:pt x="0" y="15218"/>
                </a:cubicBezTo>
                <a:cubicBezTo>
                  <a:pt x="0" y="17730"/>
                  <a:pt x="1286" y="19991"/>
                  <a:pt x="3342" y="21600"/>
                </a:cubicBezTo>
                <a:lnTo>
                  <a:pt x="18258" y="21600"/>
                </a:lnTo>
                <a:cubicBezTo>
                  <a:pt x="20313" y="19991"/>
                  <a:pt x="21600" y="17730"/>
                  <a:pt x="21600" y="15218"/>
                </a:cubicBezTo>
                <a:cubicBezTo>
                  <a:pt x="21600" y="12155"/>
                  <a:pt x="19693" y="9457"/>
                  <a:pt x="16800" y="7872"/>
                </a:cubicBezTo>
                <a:moveTo>
                  <a:pt x="16200" y="15709"/>
                </a:moveTo>
                <a:cubicBezTo>
                  <a:pt x="15869" y="15709"/>
                  <a:pt x="15600" y="15929"/>
                  <a:pt x="15600" y="16200"/>
                </a:cubicBezTo>
                <a:cubicBezTo>
                  <a:pt x="15600" y="16471"/>
                  <a:pt x="15869" y="16691"/>
                  <a:pt x="16200" y="16691"/>
                </a:cubicBezTo>
                <a:cubicBezTo>
                  <a:pt x="16531" y="16691"/>
                  <a:pt x="16800" y="16471"/>
                  <a:pt x="16800" y="16200"/>
                </a:cubicBezTo>
                <a:cubicBezTo>
                  <a:pt x="16800" y="15929"/>
                  <a:pt x="16531" y="15709"/>
                  <a:pt x="16200" y="15709"/>
                </a:cubicBezTo>
                <a:moveTo>
                  <a:pt x="7800" y="11782"/>
                </a:moveTo>
                <a:cubicBezTo>
                  <a:pt x="7469" y="11782"/>
                  <a:pt x="7200" y="12001"/>
                  <a:pt x="7200" y="12273"/>
                </a:cubicBezTo>
                <a:cubicBezTo>
                  <a:pt x="7200" y="12544"/>
                  <a:pt x="7469" y="12764"/>
                  <a:pt x="7800" y="12764"/>
                </a:cubicBezTo>
                <a:cubicBezTo>
                  <a:pt x="8131" y="12764"/>
                  <a:pt x="8400" y="12544"/>
                  <a:pt x="8400" y="12273"/>
                </a:cubicBezTo>
                <a:cubicBezTo>
                  <a:pt x="8400" y="12001"/>
                  <a:pt x="8131" y="11782"/>
                  <a:pt x="7800" y="11782"/>
                </a:cubicBezTo>
                <a:moveTo>
                  <a:pt x="6000" y="15709"/>
                </a:moveTo>
                <a:cubicBezTo>
                  <a:pt x="5338" y="15709"/>
                  <a:pt x="4800" y="16149"/>
                  <a:pt x="4800" y="16691"/>
                </a:cubicBezTo>
                <a:cubicBezTo>
                  <a:pt x="4800" y="17233"/>
                  <a:pt x="5338" y="17673"/>
                  <a:pt x="6000" y="17673"/>
                </a:cubicBezTo>
                <a:cubicBezTo>
                  <a:pt x="6662" y="17673"/>
                  <a:pt x="7200" y="17233"/>
                  <a:pt x="7200" y="16691"/>
                </a:cubicBezTo>
                <a:cubicBezTo>
                  <a:pt x="7200" y="16149"/>
                  <a:pt x="6662" y="15709"/>
                  <a:pt x="6000"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3" name="Shape 2753"/>
          <p:cNvSpPr/>
          <p:nvPr/>
        </p:nvSpPr>
        <p:spPr>
          <a:xfrm>
            <a:off x="6697921"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4" name="Shape 2754"/>
          <p:cNvSpPr/>
          <p:nvPr/>
        </p:nvSpPr>
        <p:spPr>
          <a:xfrm>
            <a:off x="7088345" y="3079463"/>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5" name="Shape 2755"/>
          <p:cNvSpPr/>
          <p:nvPr/>
        </p:nvSpPr>
        <p:spPr>
          <a:xfrm>
            <a:off x="7497813"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4909"/>
                </a:moveTo>
                <a:lnTo>
                  <a:pt x="19200" y="4909"/>
                </a:lnTo>
                <a:lnTo>
                  <a:pt x="19200" y="2945"/>
                </a:lnTo>
                <a:cubicBezTo>
                  <a:pt x="19200" y="2674"/>
                  <a:pt x="18932" y="2455"/>
                  <a:pt x="18600" y="2455"/>
                </a:cubicBezTo>
                <a:cubicBezTo>
                  <a:pt x="18268" y="2455"/>
                  <a:pt x="18000" y="2674"/>
                  <a:pt x="18000" y="2945"/>
                </a:cubicBezTo>
                <a:lnTo>
                  <a:pt x="18000" y="4909"/>
                </a:lnTo>
                <a:lnTo>
                  <a:pt x="16800" y="4909"/>
                </a:lnTo>
                <a:lnTo>
                  <a:pt x="16800" y="2945"/>
                </a:lnTo>
                <a:cubicBezTo>
                  <a:pt x="16800" y="2674"/>
                  <a:pt x="16532" y="2455"/>
                  <a:pt x="16200" y="2455"/>
                </a:cubicBezTo>
                <a:cubicBezTo>
                  <a:pt x="15868" y="2455"/>
                  <a:pt x="15600" y="2674"/>
                  <a:pt x="15600" y="2945"/>
                </a:cubicBezTo>
                <a:lnTo>
                  <a:pt x="15600" y="4909"/>
                </a:lnTo>
                <a:lnTo>
                  <a:pt x="14400" y="4909"/>
                </a:lnTo>
                <a:lnTo>
                  <a:pt x="14400" y="2455"/>
                </a:lnTo>
                <a:cubicBezTo>
                  <a:pt x="14400" y="2183"/>
                  <a:pt x="14132" y="1964"/>
                  <a:pt x="13800" y="1964"/>
                </a:cubicBezTo>
                <a:cubicBezTo>
                  <a:pt x="13468" y="1964"/>
                  <a:pt x="13200" y="2183"/>
                  <a:pt x="13200" y="2455"/>
                </a:cubicBezTo>
                <a:lnTo>
                  <a:pt x="13200" y="4909"/>
                </a:lnTo>
                <a:lnTo>
                  <a:pt x="12000" y="4909"/>
                </a:lnTo>
                <a:lnTo>
                  <a:pt x="12000" y="2945"/>
                </a:lnTo>
                <a:cubicBezTo>
                  <a:pt x="12000" y="2674"/>
                  <a:pt x="11732" y="2455"/>
                  <a:pt x="11400" y="2455"/>
                </a:cubicBezTo>
                <a:cubicBezTo>
                  <a:pt x="11068" y="2455"/>
                  <a:pt x="10800" y="2674"/>
                  <a:pt x="10800" y="2945"/>
                </a:cubicBezTo>
                <a:lnTo>
                  <a:pt x="10800" y="4909"/>
                </a:lnTo>
                <a:lnTo>
                  <a:pt x="9600" y="4909"/>
                </a:lnTo>
                <a:lnTo>
                  <a:pt x="9600" y="2455"/>
                </a:lnTo>
                <a:cubicBezTo>
                  <a:pt x="9600" y="2183"/>
                  <a:pt x="9332" y="1964"/>
                  <a:pt x="9000" y="1964"/>
                </a:cubicBezTo>
                <a:cubicBezTo>
                  <a:pt x="8668" y="1964"/>
                  <a:pt x="8400" y="2183"/>
                  <a:pt x="8400" y="2455"/>
                </a:cubicBezTo>
                <a:lnTo>
                  <a:pt x="8400" y="4909"/>
                </a:lnTo>
                <a:lnTo>
                  <a:pt x="6000" y="4909"/>
                </a:lnTo>
                <a:lnTo>
                  <a:pt x="6000" y="2945"/>
                </a:lnTo>
                <a:cubicBezTo>
                  <a:pt x="6000" y="2674"/>
                  <a:pt x="5732" y="2455"/>
                  <a:pt x="5400" y="2455"/>
                </a:cubicBezTo>
                <a:cubicBezTo>
                  <a:pt x="5068" y="2455"/>
                  <a:pt x="4800" y="2674"/>
                  <a:pt x="4800" y="2945"/>
                </a:cubicBezTo>
                <a:lnTo>
                  <a:pt x="4800" y="4909"/>
                </a:lnTo>
                <a:lnTo>
                  <a:pt x="3600" y="4909"/>
                </a:lnTo>
                <a:lnTo>
                  <a:pt x="3600" y="2455"/>
                </a:lnTo>
                <a:cubicBezTo>
                  <a:pt x="3600" y="2183"/>
                  <a:pt x="3332" y="1964"/>
                  <a:pt x="3000" y="1964"/>
                </a:cubicBezTo>
                <a:cubicBezTo>
                  <a:pt x="2668" y="1964"/>
                  <a:pt x="2400" y="2183"/>
                  <a:pt x="2400" y="2455"/>
                </a:cubicBezTo>
                <a:lnTo>
                  <a:pt x="2400" y="4909"/>
                </a:lnTo>
                <a:lnTo>
                  <a:pt x="1200" y="4909"/>
                </a:lnTo>
                <a:lnTo>
                  <a:pt x="1200" y="982"/>
                </a:lnTo>
                <a:lnTo>
                  <a:pt x="20400" y="982"/>
                </a:lnTo>
                <a:cubicBezTo>
                  <a:pt x="20400" y="982"/>
                  <a:pt x="20400" y="4909"/>
                  <a:pt x="20400" y="4909"/>
                </a:cubicBezTo>
                <a:close/>
                <a:moveTo>
                  <a:pt x="20400" y="10309"/>
                </a:moveTo>
                <a:lnTo>
                  <a:pt x="19200" y="10309"/>
                </a:lnTo>
                <a:lnTo>
                  <a:pt x="19200" y="7855"/>
                </a:lnTo>
                <a:cubicBezTo>
                  <a:pt x="19200" y="7583"/>
                  <a:pt x="18932" y="7364"/>
                  <a:pt x="18600" y="7364"/>
                </a:cubicBezTo>
                <a:cubicBezTo>
                  <a:pt x="18268" y="7364"/>
                  <a:pt x="18000" y="7583"/>
                  <a:pt x="18000" y="7855"/>
                </a:cubicBezTo>
                <a:lnTo>
                  <a:pt x="18000" y="10309"/>
                </a:lnTo>
                <a:lnTo>
                  <a:pt x="16800" y="10309"/>
                </a:lnTo>
                <a:lnTo>
                  <a:pt x="16800" y="7364"/>
                </a:lnTo>
                <a:cubicBezTo>
                  <a:pt x="16800" y="7092"/>
                  <a:pt x="16532" y="6873"/>
                  <a:pt x="16200" y="6873"/>
                </a:cubicBezTo>
                <a:cubicBezTo>
                  <a:pt x="15868" y="6873"/>
                  <a:pt x="15600" y="7092"/>
                  <a:pt x="15600" y="7364"/>
                </a:cubicBezTo>
                <a:lnTo>
                  <a:pt x="15600" y="10309"/>
                </a:lnTo>
                <a:lnTo>
                  <a:pt x="14400" y="10309"/>
                </a:lnTo>
                <a:lnTo>
                  <a:pt x="14400" y="7855"/>
                </a:lnTo>
                <a:cubicBezTo>
                  <a:pt x="14400" y="7583"/>
                  <a:pt x="14132" y="7364"/>
                  <a:pt x="13800" y="7364"/>
                </a:cubicBezTo>
                <a:cubicBezTo>
                  <a:pt x="13468" y="7364"/>
                  <a:pt x="13200" y="7583"/>
                  <a:pt x="13200" y="7855"/>
                </a:cubicBezTo>
                <a:lnTo>
                  <a:pt x="13200" y="10309"/>
                </a:lnTo>
                <a:lnTo>
                  <a:pt x="12000" y="10309"/>
                </a:lnTo>
                <a:lnTo>
                  <a:pt x="12000" y="7364"/>
                </a:lnTo>
                <a:cubicBezTo>
                  <a:pt x="12000" y="7092"/>
                  <a:pt x="11732" y="6873"/>
                  <a:pt x="11400" y="6873"/>
                </a:cubicBezTo>
                <a:cubicBezTo>
                  <a:pt x="11068" y="6873"/>
                  <a:pt x="10800" y="7092"/>
                  <a:pt x="10800" y="7364"/>
                </a:cubicBezTo>
                <a:lnTo>
                  <a:pt x="10800" y="10309"/>
                </a:lnTo>
                <a:lnTo>
                  <a:pt x="8400" y="10309"/>
                </a:lnTo>
                <a:lnTo>
                  <a:pt x="8400" y="7855"/>
                </a:lnTo>
                <a:cubicBezTo>
                  <a:pt x="8400" y="7583"/>
                  <a:pt x="8132" y="7364"/>
                  <a:pt x="7800" y="7364"/>
                </a:cubicBezTo>
                <a:cubicBezTo>
                  <a:pt x="7468" y="7364"/>
                  <a:pt x="7200" y="7583"/>
                  <a:pt x="7200" y="7855"/>
                </a:cubicBezTo>
                <a:lnTo>
                  <a:pt x="7200" y="10309"/>
                </a:lnTo>
                <a:lnTo>
                  <a:pt x="6000" y="10309"/>
                </a:lnTo>
                <a:lnTo>
                  <a:pt x="6000" y="7855"/>
                </a:lnTo>
                <a:cubicBezTo>
                  <a:pt x="6000" y="7583"/>
                  <a:pt x="5732" y="7364"/>
                  <a:pt x="5400" y="7364"/>
                </a:cubicBezTo>
                <a:cubicBezTo>
                  <a:pt x="5068" y="7364"/>
                  <a:pt x="4800" y="7583"/>
                  <a:pt x="4800" y="7855"/>
                </a:cubicBezTo>
                <a:lnTo>
                  <a:pt x="4800" y="10309"/>
                </a:lnTo>
                <a:lnTo>
                  <a:pt x="3600" y="10309"/>
                </a:lnTo>
                <a:lnTo>
                  <a:pt x="3600" y="7364"/>
                </a:lnTo>
                <a:cubicBezTo>
                  <a:pt x="3600" y="7092"/>
                  <a:pt x="3332" y="6873"/>
                  <a:pt x="3000" y="6873"/>
                </a:cubicBezTo>
                <a:cubicBezTo>
                  <a:pt x="2668" y="6873"/>
                  <a:pt x="2400" y="7092"/>
                  <a:pt x="2400" y="7364"/>
                </a:cubicBezTo>
                <a:lnTo>
                  <a:pt x="2400" y="10309"/>
                </a:lnTo>
                <a:lnTo>
                  <a:pt x="1200" y="10309"/>
                </a:lnTo>
                <a:lnTo>
                  <a:pt x="1200" y="5891"/>
                </a:lnTo>
                <a:lnTo>
                  <a:pt x="20400" y="5891"/>
                </a:lnTo>
                <a:cubicBezTo>
                  <a:pt x="20400" y="5891"/>
                  <a:pt x="20400" y="10309"/>
                  <a:pt x="20400" y="10309"/>
                </a:cubicBezTo>
                <a:close/>
                <a:moveTo>
                  <a:pt x="20400" y="15709"/>
                </a:moveTo>
                <a:lnTo>
                  <a:pt x="19200" y="15709"/>
                </a:lnTo>
                <a:lnTo>
                  <a:pt x="19200" y="13255"/>
                </a:lnTo>
                <a:cubicBezTo>
                  <a:pt x="19200" y="12983"/>
                  <a:pt x="18932" y="12764"/>
                  <a:pt x="18600" y="12764"/>
                </a:cubicBezTo>
                <a:cubicBezTo>
                  <a:pt x="18268" y="12764"/>
                  <a:pt x="18000" y="12983"/>
                  <a:pt x="18000" y="13255"/>
                </a:cubicBezTo>
                <a:lnTo>
                  <a:pt x="18000" y="15709"/>
                </a:lnTo>
                <a:lnTo>
                  <a:pt x="16800" y="15709"/>
                </a:lnTo>
                <a:lnTo>
                  <a:pt x="16800" y="13255"/>
                </a:lnTo>
                <a:cubicBezTo>
                  <a:pt x="16800" y="12983"/>
                  <a:pt x="16532" y="12764"/>
                  <a:pt x="16200" y="12764"/>
                </a:cubicBezTo>
                <a:cubicBezTo>
                  <a:pt x="15868" y="12764"/>
                  <a:pt x="15600" y="12983"/>
                  <a:pt x="15600" y="13255"/>
                </a:cubicBezTo>
                <a:lnTo>
                  <a:pt x="15600" y="15709"/>
                </a:lnTo>
                <a:lnTo>
                  <a:pt x="13200" y="15709"/>
                </a:lnTo>
                <a:lnTo>
                  <a:pt x="13200" y="13745"/>
                </a:lnTo>
                <a:cubicBezTo>
                  <a:pt x="13200" y="13474"/>
                  <a:pt x="12932" y="13255"/>
                  <a:pt x="12600" y="13255"/>
                </a:cubicBezTo>
                <a:cubicBezTo>
                  <a:pt x="12268" y="13255"/>
                  <a:pt x="12000" y="13474"/>
                  <a:pt x="12000" y="13745"/>
                </a:cubicBezTo>
                <a:lnTo>
                  <a:pt x="12000" y="15709"/>
                </a:lnTo>
                <a:lnTo>
                  <a:pt x="10800" y="15709"/>
                </a:lnTo>
                <a:lnTo>
                  <a:pt x="10800" y="13745"/>
                </a:lnTo>
                <a:cubicBezTo>
                  <a:pt x="10800" y="13474"/>
                  <a:pt x="10532" y="13255"/>
                  <a:pt x="10200" y="13255"/>
                </a:cubicBezTo>
                <a:cubicBezTo>
                  <a:pt x="9868" y="13255"/>
                  <a:pt x="9600" y="13474"/>
                  <a:pt x="9600" y="13745"/>
                </a:cubicBezTo>
                <a:lnTo>
                  <a:pt x="9600" y="15709"/>
                </a:lnTo>
                <a:lnTo>
                  <a:pt x="8400" y="15709"/>
                </a:lnTo>
                <a:lnTo>
                  <a:pt x="8400" y="13255"/>
                </a:lnTo>
                <a:cubicBezTo>
                  <a:pt x="8400" y="12983"/>
                  <a:pt x="8132" y="12764"/>
                  <a:pt x="7800" y="12764"/>
                </a:cubicBezTo>
                <a:cubicBezTo>
                  <a:pt x="7468" y="12764"/>
                  <a:pt x="7200" y="12983"/>
                  <a:pt x="7200" y="13255"/>
                </a:cubicBezTo>
                <a:lnTo>
                  <a:pt x="7200" y="15709"/>
                </a:lnTo>
                <a:lnTo>
                  <a:pt x="6000" y="15709"/>
                </a:lnTo>
                <a:lnTo>
                  <a:pt x="6000" y="13745"/>
                </a:lnTo>
                <a:cubicBezTo>
                  <a:pt x="6000" y="13474"/>
                  <a:pt x="5732" y="13255"/>
                  <a:pt x="5400" y="13255"/>
                </a:cubicBezTo>
                <a:cubicBezTo>
                  <a:pt x="5068" y="13255"/>
                  <a:pt x="4800" y="13474"/>
                  <a:pt x="4800" y="13745"/>
                </a:cubicBezTo>
                <a:lnTo>
                  <a:pt x="4800" y="15709"/>
                </a:lnTo>
                <a:lnTo>
                  <a:pt x="1200" y="15709"/>
                </a:lnTo>
                <a:lnTo>
                  <a:pt x="1200" y="11291"/>
                </a:lnTo>
                <a:lnTo>
                  <a:pt x="20400" y="11291"/>
                </a:lnTo>
                <a:cubicBezTo>
                  <a:pt x="20400" y="11291"/>
                  <a:pt x="20400" y="15709"/>
                  <a:pt x="20400" y="15709"/>
                </a:cubicBezTo>
                <a:close/>
                <a:moveTo>
                  <a:pt x="20400" y="20618"/>
                </a:moveTo>
                <a:lnTo>
                  <a:pt x="19200" y="20618"/>
                </a:lnTo>
                <a:lnTo>
                  <a:pt x="19200" y="18655"/>
                </a:lnTo>
                <a:cubicBezTo>
                  <a:pt x="19200" y="18383"/>
                  <a:pt x="18932" y="18164"/>
                  <a:pt x="18600" y="18164"/>
                </a:cubicBezTo>
                <a:cubicBezTo>
                  <a:pt x="18268" y="18164"/>
                  <a:pt x="18000" y="18383"/>
                  <a:pt x="18000" y="18655"/>
                </a:cubicBezTo>
                <a:lnTo>
                  <a:pt x="18000" y="20618"/>
                </a:lnTo>
                <a:lnTo>
                  <a:pt x="16800" y="20618"/>
                </a:lnTo>
                <a:lnTo>
                  <a:pt x="16800" y="18655"/>
                </a:lnTo>
                <a:cubicBezTo>
                  <a:pt x="16800" y="18383"/>
                  <a:pt x="16532" y="18164"/>
                  <a:pt x="16200" y="18164"/>
                </a:cubicBezTo>
                <a:cubicBezTo>
                  <a:pt x="15868" y="18164"/>
                  <a:pt x="15600" y="18383"/>
                  <a:pt x="15600" y="18655"/>
                </a:cubicBezTo>
                <a:lnTo>
                  <a:pt x="15600" y="20618"/>
                </a:lnTo>
                <a:lnTo>
                  <a:pt x="14400" y="20618"/>
                </a:lnTo>
                <a:lnTo>
                  <a:pt x="14400" y="18164"/>
                </a:lnTo>
                <a:cubicBezTo>
                  <a:pt x="14400" y="17892"/>
                  <a:pt x="14132" y="17673"/>
                  <a:pt x="13800" y="17673"/>
                </a:cubicBezTo>
                <a:cubicBezTo>
                  <a:pt x="13468" y="17673"/>
                  <a:pt x="13200" y="17892"/>
                  <a:pt x="13200" y="18164"/>
                </a:cubicBezTo>
                <a:lnTo>
                  <a:pt x="13200" y="20618"/>
                </a:lnTo>
                <a:lnTo>
                  <a:pt x="10800" y="20618"/>
                </a:lnTo>
                <a:lnTo>
                  <a:pt x="10800" y="18164"/>
                </a:lnTo>
                <a:cubicBezTo>
                  <a:pt x="10800" y="17892"/>
                  <a:pt x="10532" y="17673"/>
                  <a:pt x="10200" y="17673"/>
                </a:cubicBezTo>
                <a:cubicBezTo>
                  <a:pt x="9868" y="17673"/>
                  <a:pt x="9600" y="17892"/>
                  <a:pt x="9600" y="18164"/>
                </a:cubicBezTo>
                <a:lnTo>
                  <a:pt x="9600" y="20618"/>
                </a:lnTo>
                <a:lnTo>
                  <a:pt x="8400" y="20618"/>
                </a:lnTo>
                <a:lnTo>
                  <a:pt x="8400" y="18655"/>
                </a:lnTo>
                <a:cubicBezTo>
                  <a:pt x="8400" y="18383"/>
                  <a:pt x="8132" y="18164"/>
                  <a:pt x="7800" y="18164"/>
                </a:cubicBezTo>
                <a:cubicBezTo>
                  <a:pt x="7468" y="18164"/>
                  <a:pt x="7200" y="18383"/>
                  <a:pt x="7200" y="18655"/>
                </a:cubicBezTo>
                <a:lnTo>
                  <a:pt x="7200" y="20618"/>
                </a:lnTo>
                <a:lnTo>
                  <a:pt x="6000" y="20618"/>
                </a:lnTo>
                <a:lnTo>
                  <a:pt x="6000" y="18164"/>
                </a:lnTo>
                <a:cubicBezTo>
                  <a:pt x="6000" y="17892"/>
                  <a:pt x="5732" y="17673"/>
                  <a:pt x="5400" y="17673"/>
                </a:cubicBezTo>
                <a:cubicBezTo>
                  <a:pt x="5068" y="17673"/>
                  <a:pt x="4800" y="17892"/>
                  <a:pt x="4800" y="18164"/>
                </a:cubicBezTo>
                <a:lnTo>
                  <a:pt x="4800" y="20618"/>
                </a:lnTo>
                <a:lnTo>
                  <a:pt x="3600" y="20618"/>
                </a:lnTo>
                <a:lnTo>
                  <a:pt x="3600" y="18655"/>
                </a:lnTo>
                <a:cubicBezTo>
                  <a:pt x="3600" y="18383"/>
                  <a:pt x="3332" y="18164"/>
                  <a:pt x="3000" y="18164"/>
                </a:cubicBezTo>
                <a:cubicBezTo>
                  <a:pt x="2668" y="18164"/>
                  <a:pt x="2400" y="18383"/>
                  <a:pt x="2400" y="18655"/>
                </a:cubicBezTo>
                <a:lnTo>
                  <a:pt x="2400" y="20618"/>
                </a:lnTo>
                <a:lnTo>
                  <a:pt x="1200" y="20618"/>
                </a:lnTo>
                <a:lnTo>
                  <a:pt x="1200" y="16691"/>
                </a:lnTo>
                <a:lnTo>
                  <a:pt x="20400" y="16691"/>
                </a:lnTo>
                <a:cubicBezTo>
                  <a:pt x="20400" y="16691"/>
                  <a:pt x="20400" y="20618"/>
                  <a:pt x="20400" y="20618"/>
                </a:cubicBezTo>
                <a:close/>
                <a:moveTo>
                  <a:pt x="20400" y="0"/>
                </a:moveTo>
                <a:lnTo>
                  <a:pt x="1200" y="0"/>
                </a:lnTo>
                <a:cubicBezTo>
                  <a:pt x="537" y="0"/>
                  <a:pt x="0" y="440"/>
                  <a:pt x="0" y="982"/>
                </a:cubicBezTo>
                <a:lnTo>
                  <a:pt x="0" y="20618"/>
                </a:lnTo>
                <a:cubicBezTo>
                  <a:pt x="0" y="21160"/>
                  <a:pt x="537" y="21600"/>
                  <a:pt x="1200" y="21600"/>
                </a:cubicBezTo>
                <a:lnTo>
                  <a:pt x="20400" y="21600"/>
                </a:lnTo>
                <a:cubicBezTo>
                  <a:pt x="21062" y="21600"/>
                  <a:pt x="21600" y="21160"/>
                  <a:pt x="21600" y="20618"/>
                </a:cubicBezTo>
                <a:lnTo>
                  <a:pt x="21600" y="982"/>
                </a:lnTo>
                <a:cubicBezTo>
                  <a:pt x="21600" y="440"/>
                  <a:pt x="21062" y="0"/>
                  <a:pt x="204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6" name="Shape 2756"/>
          <p:cNvSpPr/>
          <p:nvPr/>
        </p:nvSpPr>
        <p:spPr>
          <a:xfrm>
            <a:off x="7878715" y="31365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8900" y="19440"/>
                </a:moveTo>
                <a:cubicBezTo>
                  <a:pt x="17951" y="19440"/>
                  <a:pt x="17182" y="17747"/>
                  <a:pt x="17182" y="15660"/>
                </a:cubicBezTo>
                <a:cubicBezTo>
                  <a:pt x="17182" y="14601"/>
                  <a:pt x="17381" y="13647"/>
                  <a:pt x="17700" y="12960"/>
                </a:cubicBezTo>
                <a:lnTo>
                  <a:pt x="3900" y="12960"/>
                </a:lnTo>
                <a:cubicBezTo>
                  <a:pt x="4219" y="13647"/>
                  <a:pt x="4418" y="14601"/>
                  <a:pt x="4418" y="15660"/>
                </a:cubicBezTo>
                <a:cubicBezTo>
                  <a:pt x="4418" y="17747"/>
                  <a:pt x="3649" y="19440"/>
                  <a:pt x="2700" y="19440"/>
                </a:cubicBezTo>
                <a:cubicBezTo>
                  <a:pt x="1751" y="19440"/>
                  <a:pt x="982" y="17747"/>
                  <a:pt x="982" y="15660"/>
                </a:cubicBezTo>
                <a:cubicBezTo>
                  <a:pt x="982" y="13757"/>
                  <a:pt x="1623" y="12199"/>
                  <a:pt x="2455" y="11935"/>
                </a:cubicBezTo>
                <a:lnTo>
                  <a:pt x="2455" y="11880"/>
                </a:lnTo>
                <a:cubicBezTo>
                  <a:pt x="2726" y="11880"/>
                  <a:pt x="2945" y="11397"/>
                  <a:pt x="2945" y="10800"/>
                </a:cubicBezTo>
                <a:cubicBezTo>
                  <a:pt x="2945" y="10203"/>
                  <a:pt x="2726" y="9720"/>
                  <a:pt x="2455" y="9720"/>
                </a:cubicBezTo>
                <a:lnTo>
                  <a:pt x="2455" y="9665"/>
                </a:lnTo>
                <a:cubicBezTo>
                  <a:pt x="1623" y="9401"/>
                  <a:pt x="982" y="7843"/>
                  <a:pt x="982" y="5940"/>
                </a:cubicBezTo>
                <a:cubicBezTo>
                  <a:pt x="982" y="3852"/>
                  <a:pt x="1751" y="2160"/>
                  <a:pt x="2700" y="2160"/>
                </a:cubicBezTo>
                <a:cubicBezTo>
                  <a:pt x="3649" y="2160"/>
                  <a:pt x="4418" y="3852"/>
                  <a:pt x="4418" y="5940"/>
                </a:cubicBezTo>
                <a:cubicBezTo>
                  <a:pt x="4418" y="6999"/>
                  <a:pt x="4219" y="7954"/>
                  <a:pt x="3900" y="8640"/>
                </a:cubicBezTo>
                <a:lnTo>
                  <a:pt x="17700" y="8640"/>
                </a:lnTo>
                <a:cubicBezTo>
                  <a:pt x="17381" y="7954"/>
                  <a:pt x="17182" y="6999"/>
                  <a:pt x="17182" y="5940"/>
                </a:cubicBezTo>
                <a:cubicBezTo>
                  <a:pt x="17182" y="3852"/>
                  <a:pt x="17951" y="2160"/>
                  <a:pt x="18900" y="2160"/>
                </a:cubicBezTo>
                <a:cubicBezTo>
                  <a:pt x="19849" y="2160"/>
                  <a:pt x="20618" y="3852"/>
                  <a:pt x="20618" y="5940"/>
                </a:cubicBezTo>
                <a:cubicBezTo>
                  <a:pt x="20618" y="7843"/>
                  <a:pt x="19977" y="9401"/>
                  <a:pt x="19145" y="9665"/>
                </a:cubicBezTo>
                <a:lnTo>
                  <a:pt x="19145" y="9720"/>
                </a:lnTo>
                <a:cubicBezTo>
                  <a:pt x="18874" y="9720"/>
                  <a:pt x="18655" y="10203"/>
                  <a:pt x="18655" y="10800"/>
                </a:cubicBezTo>
                <a:cubicBezTo>
                  <a:pt x="18655" y="11397"/>
                  <a:pt x="18874" y="11880"/>
                  <a:pt x="19145" y="11880"/>
                </a:cubicBezTo>
                <a:lnTo>
                  <a:pt x="19145" y="11935"/>
                </a:lnTo>
                <a:cubicBezTo>
                  <a:pt x="19977" y="12199"/>
                  <a:pt x="20618" y="13757"/>
                  <a:pt x="20618" y="15660"/>
                </a:cubicBezTo>
                <a:cubicBezTo>
                  <a:pt x="20618" y="17747"/>
                  <a:pt x="19849" y="19440"/>
                  <a:pt x="18900" y="19440"/>
                </a:cubicBezTo>
                <a:moveTo>
                  <a:pt x="20449" y="10800"/>
                </a:moveTo>
                <a:cubicBezTo>
                  <a:pt x="21145" y="9725"/>
                  <a:pt x="21600" y="7950"/>
                  <a:pt x="21600" y="5940"/>
                </a:cubicBezTo>
                <a:cubicBezTo>
                  <a:pt x="21600" y="2660"/>
                  <a:pt x="20391" y="0"/>
                  <a:pt x="18900" y="0"/>
                </a:cubicBezTo>
                <a:cubicBezTo>
                  <a:pt x="17409" y="0"/>
                  <a:pt x="16200" y="2660"/>
                  <a:pt x="16200" y="5940"/>
                </a:cubicBezTo>
                <a:cubicBezTo>
                  <a:pt x="16200" y="6124"/>
                  <a:pt x="16208" y="6301"/>
                  <a:pt x="16215" y="6480"/>
                </a:cubicBezTo>
                <a:lnTo>
                  <a:pt x="5385" y="6480"/>
                </a:lnTo>
                <a:cubicBezTo>
                  <a:pt x="5392" y="6301"/>
                  <a:pt x="5400" y="6124"/>
                  <a:pt x="5400" y="5940"/>
                </a:cubicBezTo>
                <a:cubicBezTo>
                  <a:pt x="5400" y="2660"/>
                  <a:pt x="4191" y="0"/>
                  <a:pt x="2700" y="0"/>
                </a:cubicBezTo>
                <a:cubicBezTo>
                  <a:pt x="1209" y="0"/>
                  <a:pt x="0" y="2660"/>
                  <a:pt x="0" y="5940"/>
                </a:cubicBezTo>
                <a:cubicBezTo>
                  <a:pt x="0" y="7950"/>
                  <a:pt x="455" y="9725"/>
                  <a:pt x="1151" y="10800"/>
                </a:cubicBezTo>
                <a:cubicBezTo>
                  <a:pt x="455" y="11875"/>
                  <a:pt x="0" y="13649"/>
                  <a:pt x="0" y="15660"/>
                </a:cubicBezTo>
                <a:cubicBezTo>
                  <a:pt x="0" y="18940"/>
                  <a:pt x="1209" y="21600"/>
                  <a:pt x="2700" y="21600"/>
                </a:cubicBezTo>
                <a:cubicBezTo>
                  <a:pt x="4191" y="21600"/>
                  <a:pt x="5400" y="18940"/>
                  <a:pt x="5400" y="15660"/>
                </a:cubicBezTo>
                <a:cubicBezTo>
                  <a:pt x="5400" y="15476"/>
                  <a:pt x="5392" y="15298"/>
                  <a:pt x="5385" y="15120"/>
                </a:cubicBezTo>
                <a:lnTo>
                  <a:pt x="16215" y="15120"/>
                </a:lnTo>
                <a:cubicBezTo>
                  <a:pt x="16208" y="15298"/>
                  <a:pt x="16200" y="15476"/>
                  <a:pt x="16200" y="15660"/>
                </a:cubicBezTo>
                <a:cubicBezTo>
                  <a:pt x="16200" y="18940"/>
                  <a:pt x="17409" y="21600"/>
                  <a:pt x="18900" y="21600"/>
                </a:cubicBezTo>
                <a:cubicBezTo>
                  <a:pt x="20391" y="21600"/>
                  <a:pt x="21600" y="18940"/>
                  <a:pt x="21600" y="15660"/>
                </a:cubicBezTo>
                <a:cubicBezTo>
                  <a:pt x="21600" y="13649"/>
                  <a:pt x="21145" y="11875"/>
                  <a:pt x="20449"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7" name="Shape 2757"/>
          <p:cNvSpPr/>
          <p:nvPr/>
        </p:nvSpPr>
        <p:spPr>
          <a:xfrm>
            <a:off x="8278659" y="3079464"/>
            <a:ext cx="209549" cy="209550"/>
          </a:xfrm>
          <a:custGeom>
            <a:avLst/>
            <a:gdLst/>
            <a:ahLst/>
            <a:cxnLst>
              <a:cxn ang="0">
                <a:pos x="wd2" y="hd2"/>
              </a:cxn>
              <a:cxn ang="5400000">
                <a:pos x="wd2" y="hd2"/>
              </a:cxn>
              <a:cxn ang="10800000">
                <a:pos x="wd2" y="hd2"/>
              </a:cxn>
              <a:cxn ang="16200000">
                <a:pos x="wd2" y="hd2"/>
              </a:cxn>
            </a:cxnLst>
            <a:rect l="0" t="0" r="r" b="b"/>
            <a:pathLst>
              <a:path w="21084" h="21085" extrusionOk="0">
                <a:moveTo>
                  <a:pt x="6690" y="19632"/>
                </a:moveTo>
                <a:cubicBezTo>
                  <a:pt x="6035" y="20288"/>
                  <a:pt x="4973" y="20288"/>
                  <a:pt x="4318" y="19632"/>
                </a:cubicBezTo>
                <a:cubicBezTo>
                  <a:pt x="3731" y="19043"/>
                  <a:pt x="3675" y="18127"/>
                  <a:pt x="4141" y="17471"/>
                </a:cubicBezTo>
                <a:lnTo>
                  <a:pt x="4127" y="17458"/>
                </a:lnTo>
                <a:cubicBezTo>
                  <a:pt x="4237" y="17311"/>
                  <a:pt x="4231" y="17106"/>
                  <a:pt x="4096" y="16973"/>
                </a:cubicBezTo>
                <a:cubicBezTo>
                  <a:pt x="3963" y="16842"/>
                  <a:pt x="3758" y="16835"/>
                  <a:pt x="3610" y="16939"/>
                </a:cubicBezTo>
                <a:lnTo>
                  <a:pt x="3601" y="16931"/>
                </a:lnTo>
                <a:cubicBezTo>
                  <a:pt x="2946" y="17395"/>
                  <a:pt x="2036" y="17338"/>
                  <a:pt x="1449" y="16752"/>
                </a:cubicBezTo>
                <a:cubicBezTo>
                  <a:pt x="794" y="16097"/>
                  <a:pt x="794" y="15035"/>
                  <a:pt x="1449" y="14381"/>
                </a:cubicBezTo>
                <a:cubicBezTo>
                  <a:pt x="2104" y="13726"/>
                  <a:pt x="3166" y="13726"/>
                  <a:pt x="3821" y="14381"/>
                </a:cubicBezTo>
                <a:cubicBezTo>
                  <a:pt x="4110" y="14670"/>
                  <a:pt x="4264" y="15040"/>
                  <a:pt x="4297" y="15418"/>
                </a:cubicBezTo>
                <a:lnTo>
                  <a:pt x="9862" y="9852"/>
                </a:lnTo>
                <a:lnTo>
                  <a:pt x="15417" y="4298"/>
                </a:lnTo>
                <a:cubicBezTo>
                  <a:pt x="15038" y="4264"/>
                  <a:pt x="14669" y="4111"/>
                  <a:pt x="14380" y="3821"/>
                </a:cubicBezTo>
                <a:cubicBezTo>
                  <a:pt x="13725" y="3166"/>
                  <a:pt x="13725" y="2105"/>
                  <a:pt x="14380" y="1450"/>
                </a:cubicBezTo>
                <a:cubicBezTo>
                  <a:pt x="15034" y="795"/>
                  <a:pt x="16096" y="795"/>
                  <a:pt x="16751" y="1450"/>
                </a:cubicBezTo>
                <a:cubicBezTo>
                  <a:pt x="17332" y="2031"/>
                  <a:pt x="17394" y="2932"/>
                  <a:pt x="16943" y="3585"/>
                </a:cubicBezTo>
                <a:lnTo>
                  <a:pt x="16949" y="3592"/>
                </a:lnTo>
                <a:cubicBezTo>
                  <a:pt x="16829" y="3738"/>
                  <a:pt x="16832" y="3953"/>
                  <a:pt x="16971" y="4089"/>
                </a:cubicBezTo>
                <a:cubicBezTo>
                  <a:pt x="17109" y="4225"/>
                  <a:pt x="17323" y="4230"/>
                  <a:pt x="17473" y="4114"/>
                </a:cubicBezTo>
                <a:lnTo>
                  <a:pt x="17487" y="4129"/>
                </a:lnTo>
                <a:cubicBezTo>
                  <a:pt x="18142" y="3675"/>
                  <a:pt x="19047" y="3737"/>
                  <a:pt x="19631" y="4319"/>
                </a:cubicBezTo>
                <a:cubicBezTo>
                  <a:pt x="20287" y="4974"/>
                  <a:pt x="20287" y="6036"/>
                  <a:pt x="19631" y="6691"/>
                </a:cubicBezTo>
                <a:cubicBezTo>
                  <a:pt x="18974" y="7346"/>
                  <a:pt x="17909" y="7346"/>
                  <a:pt x="17253" y="6691"/>
                </a:cubicBezTo>
                <a:cubicBezTo>
                  <a:pt x="16962" y="6400"/>
                  <a:pt x="16807" y="6029"/>
                  <a:pt x="16775" y="5650"/>
                </a:cubicBezTo>
                <a:lnTo>
                  <a:pt x="5650" y="16775"/>
                </a:lnTo>
                <a:cubicBezTo>
                  <a:pt x="6029" y="16808"/>
                  <a:pt x="6400" y="16963"/>
                  <a:pt x="6690" y="17254"/>
                </a:cubicBezTo>
                <a:cubicBezTo>
                  <a:pt x="7344" y="17910"/>
                  <a:pt x="7344" y="18975"/>
                  <a:pt x="6690" y="19632"/>
                </a:cubicBezTo>
                <a:moveTo>
                  <a:pt x="7277" y="16503"/>
                </a:moveTo>
                <a:lnTo>
                  <a:pt x="16501" y="7278"/>
                </a:lnTo>
                <a:cubicBezTo>
                  <a:pt x="16528" y="7307"/>
                  <a:pt x="16545" y="7340"/>
                  <a:pt x="16573" y="7368"/>
                </a:cubicBezTo>
                <a:cubicBezTo>
                  <a:pt x="17605" y="8397"/>
                  <a:pt x="19278" y="8397"/>
                  <a:pt x="20310" y="7368"/>
                </a:cubicBezTo>
                <a:cubicBezTo>
                  <a:pt x="21342" y="6339"/>
                  <a:pt x="21342" y="4671"/>
                  <a:pt x="20310" y="3641"/>
                </a:cubicBezTo>
                <a:cubicBezTo>
                  <a:pt x="19726" y="3059"/>
                  <a:pt x="18937" y="2818"/>
                  <a:pt x="18175" y="2895"/>
                </a:cubicBezTo>
                <a:cubicBezTo>
                  <a:pt x="18250" y="2137"/>
                  <a:pt x="18009" y="1353"/>
                  <a:pt x="17428" y="772"/>
                </a:cubicBezTo>
                <a:cubicBezTo>
                  <a:pt x="16399" y="-257"/>
                  <a:pt x="14731" y="-257"/>
                  <a:pt x="13702" y="772"/>
                </a:cubicBezTo>
                <a:cubicBezTo>
                  <a:pt x="12673" y="1802"/>
                  <a:pt x="12673" y="3470"/>
                  <a:pt x="13702" y="4498"/>
                </a:cubicBezTo>
                <a:cubicBezTo>
                  <a:pt x="13729" y="4526"/>
                  <a:pt x="13763" y="4543"/>
                  <a:pt x="13791" y="4569"/>
                </a:cubicBezTo>
                <a:lnTo>
                  <a:pt x="4568" y="13791"/>
                </a:lnTo>
                <a:cubicBezTo>
                  <a:pt x="4542" y="13763"/>
                  <a:pt x="4526" y="13730"/>
                  <a:pt x="4498" y="13703"/>
                </a:cubicBezTo>
                <a:cubicBezTo>
                  <a:pt x="3469" y="12674"/>
                  <a:pt x="1801" y="12674"/>
                  <a:pt x="772" y="13703"/>
                </a:cubicBezTo>
                <a:cubicBezTo>
                  <a:pt x="-258" y="14732"/>
                  <a:pt x="-258" y="16400"/>
                  <a:pt x="772" y="17429"/>
                </a:cubicBezTo>
                <a:cubicBezTo>
                  <a:pt x="1353" y="18010"/>
                  <a:pt x="2136" y="18251"/>
                  <a:pt x="2895" y="18176"/>
                </a:cubicBezTo>
                <a:cubicBezTo>
                  <a:pt x="2818" y="18938"/>
                  <a:pt x="3058" y="19727"/>
                  <a:pt x="3641" y="20311"/>
                </a:cubicBezTo>
                <a:cubicBezTo>
                  <a:pt x="4670" y="21343"/>
                  <a:pt x="6338" y="21343"/>
                  <a:pt x="7367" y="20311"/>
                </a:cubicBezTo>
                <a:cubicBezTo>
                  <a:pt x="8396" y="19279"/>
                  <a:pt x="8396" y="17606"/>
                  <a:pt x="7367" y="16574"/>
                </a:cubicBezTo>
                <a:cubicBezTo>
                  <a:pt x="7339" y="16546"/>
                  <a:pt x="7306" y="16529"/>
                  <a:pt x="7277" y="16503"/>
                </a:cubicBezTo>
                <a:moveTo>
                  <a:pt x="16558" y="13703"/>
                </a:moveTo>
                <a:cubicBezTo>
                  <a:pt x="16530" y="13731"/>
                  <a:pt x="16513" y="13764"/>
                  <a:pt x="16487" y="13793"/>
                </a:cubicBezTo>
                <a:lnTo>
                  <a:pt x="14254" y="11560"/>
                </a:lnTo>
                <a:cubicBezTo>
                  <a:pt x="14067" y="11391"/>
                  <a:pt x="13780" y="11393"/>
                  <a:pt x="13601" y="11573"/>
                </a:cubicBezTo>
                <a:cubicBezTo>
                  <a:pt x="13421" y="11753"/>
                  <a:pt x="13419" y="12039"/>
                  <a:pt x="13588" y="12226"/>
                </a:cubicBezTo>
                <a:lnTo>
                  <a:pt x="13576" y="12237"/>
                </a:lnTo>
                <a:lnTo>
                  <a:pt x="16759" y="15420"/>
                </a:lnTo>
                <a:cubicBezTo>
                  <a:pt x="16792" y="15041"/>
                  <a:pt x="16947" y="14671"/>
                  <a:pt x="17238" y="14381"/>
                </a:cubicBezTo>
                <a:cubicBezTo>
                  <a:pt x="17895" y="13726"/>
                  <a:pt x="18959" y="13726"/>
                  <a:pt x="19615" y="14381"/>
                </a:cubicBezTo>
                <a:cubicBezTo>
                  <a:pt x="20273" y="15035"/>
                  <a:pt x="20273" y="16097"/>
                  <a:pt x="19615" y="16752"/>
                </a:cubicBezTo>
                <a:cubicBezTo>
                  <a:pt x="19027" y="17339"/>
                  <a:pt x="18112" y="17395"/>
                  <a:pt x="17455" y="16929"/>
                </a:cubicBezTo>
                <a:lnTo>
                  <a:pt x="17442" y="16942"/>
                </a:lnTo>
                <a:cubicBezTo>
                  <a:pt x="17295" y="16832"/>
                  <a:pt x="17090" y="16839"/>
                  <a:pt x="16957" y="16974"/>
                </a:cubicBezTo>
                <a:cubicBezTo>
                  <a:pt x="16826" y="17107"/>
                  <a:pt x="16819" y="17312"/>
                  <a:pt x="16923" y="17460"/>
                </a:cubicBezTo>
                <a:lnTo>
                  <a:pt x="16915" y="17469"/>
                </a:lnTo>
                <a:cubicBezTo>
                  <a:pt x="17379" y="18124"/>
                  <a:pt x="17322" y="19034"/>
                  <a:pt x="16736" y="19621"/>
                </a:cubicBezTo>
                <a:cubicBezTo>
                  <a:pt x="16081" y="20276"/>
                  <a:pt x="15019" y="20276"/>
                  <a:pt x="14365" y="19621"/>
                </a:cubicBezTo>
                <a:cubicBezTo>
                  <a:pt x="13710" y="18966"/>
                  <a:pt x="13710" y="17904"/>
                  <a:pt x="14365" y="17250"/>
                </a:cubicBezTo>
                <a:cubicBezTo>
                  <a:pt x="14654" y="16960"/>
                  <a:pt x="15024" y="16807"/>
                  <a:pt x="15402" y="16773"/>
                </a:cubicBezTo>
                <a:lnTo>
                  <a:pt x="12222" y="13592"/>
                </a:lnTo>
                <a:lnTo>
                  <a:pt x="12218" y="13596"/>
                </a:lnTo>
                <a:cubicBezTo>
                  <a:pt x="12031" y="13427"/>
                  <a:pt x="11744" y="13428"/>
                  <a:pt x="11565" y="13609"/>
                </a:cubicBezTo>
                <a:cubicBezTo>
                  <a:pt x="11385" y="13789"/>
                  <a:pt x="11383" y="14075"/>
                  <a:pt x="11552" y="14262"/>
                </a:cubicBezTo>
                <a:lnTo>
                  <a:pt x="13776" y="16501"/>
                </a:lnTo>
                <a:cubicBezTo>
                  <a:pt x="13748" y="16528"/>
                  <a:pt x="13714" y="16544"/>
                  <a:pt x="13687" y="16572"/>
                </a:cubicBezTo>
                <a:cubicBezTo>
                  <a:pt x="12658" y="17601"/>
                  <a:pt x="12658" y="19269"/>
                  <a:pt x="13687" y="20298"/>
                </a:cubicBezTo>
                <a:cubicBezTo>
                  <a:pt x="14716" y="21328"/>
                  <a:pt x="16384" y="21328"/>
                  <a:pt x="17413" y="20298"/>
                </a:cubicBezTo>
                <a:cubicBezTo>
                  <a:pt x="17994" y="19717"/>
                  <a:pt x="18235" y="18934"/>
                  <a:pt x="18160" y="18175"/>
                </a:cubicBezTo>
                <a:cubicBezTo>
                  <a:pt x="18922" y="18252"/>
                  <a:pt x="19711" y="18011"/>
                  <a:pt x="20295" y="17429"/>
                </a:cubicBezTo>
                <a:cubicBezTo>
                  <a:pt x="21327" y="16400"/>
                  <a:pt x="21327" y="14732"/>
                  <a:pt x="20295" y="13703"/>
                </a:cubicBezTo>
                <a:cubicBezTo>
                  <a:pt x="19263" y="12674"/>
                  <a:pt x="17590" y="12674"/>
                  <a:pt x="16558" y="13703"/>
                </a:cubicBezTo>
                <a:moveTo>
                  <a:pt x="4511" y="7368"/>
                </a:moveTo>
                <a:cubicBezTo>
                  <a:pt x="4539" y="7340"/>
                  <a:pt x="4556" y="7306"/>
                  <a:pt x="4582" y="7278"/>
                </a:cubicBezTo>
                <a:lnTo>
                  <a:pt x="6815" y="9511"/>
                </a:lnTo>
                <a:cubicBezTo>
                  <a:pt x="7002" y="9679"/>
                  <a:pt x="7289" y="9678"/>
                  <a:pt x="7468" y="9498"/>
                </a:cubicBezTo>
                <a:cubicBezTo>
                  <a:pt x="7649" y="9318"/>
                  <a:pt x="7650" y="9031"/>
                  <a:pt x="7481" y="8844"/>
                </a:cubicBezTo>
                <a:lnTo>
                  <a:pt x="7493" y="8833"/>
                </a:lnTo>
                <a:lnTo>
                  <a:pt x="4309" y="5650"/>
                </a:lnTo>
                <a:cubicBezTo>
                  <a:pt x="4277" y="6029"/>
                  <a:pt x="4122" y="6400"/>
                  <a:pt x="3831" y="6691"/>
                </a:cubicBezTo>
                <a:cubicBezTo>
                  <a:pt x="3175" y="7346"/>
                  <a:pt x="2110" y="7346"/>
                  <a:pt x="1453" y="6691"/>
                </a:cubicBezTo>
                <a:cubicBezTo>
                  <a:pt x="797" y="6036"/>
                  <a:pt x="797" y="4974"/>
                  <a:pt x="1453" y="4319"/>
                </a:cubicBezTo>
                <a:cubicBezTo>
                  <a:pt x="2042" y="3732"/>
                  <a:pt x="2957" y="3676"/>
                  <a:pt x="3614" y="4142"/>
                </a:cubicBezTo>
                <a:lnTo>
                  <a:pt x="3627" y="4128"/>
                </a:lnTo>
                <a:cubicBezTo>
                  <a:pt x="3774" y="4238"/>
                  <a:pt x="3979" y="4232"/>
                  <a:pt x="4112" y="4097"/>
                </a:cubicBezTo>
                <a:cubicBezTo>
                  <a:pt x="4243" y="3963"/>
                  <a:pt x="4250" y="3759"/>
                  <a:pt x="4146" y="3610"/>
                </a:cubicBezTo>
                <a:lnTo>
                  <a:pt x="4154" y="3602"/>
                </a:lnTo>
                <a:cubicBezTo>
                  <a:pt x="3690" y="2947"/>
                  <a:pt x="3746" y="2036"/>
                  <a:pt x="4333" y="1450"/>
                </a:cubicBezTo>
                <a:cubicBezTo>
                  <a:pt x="4988" y="795"/>
                  <a:pt x="6050" y="795"/>
                  <a:pt x="6705" y="1450"/>
                </a:cubicBezTo>
                <a:cubicBezTo>
                  <a:pt x="7359" y="2105"/>
                  <a:pt x="7359" y="3166"/>
                  <a:pt x="6705" y="3821"/>
                </a:cubicBezTo>
                <a:cubicBezTo>
                  <a:pt x="6415" y="4111"/>
                  <a:pt x="6046" y="4264"/>
                  <a:pt x="5667" y="4298"/>
                </a:cubicBezTo>
                <a:lnTo>
                  <a:pt x="8847" y="7478"/>
                </a:lnTo>
                <a:lnTo>
                  <a:pt x="8851" y="7475"/>
                </a:lnTo>
                <a:cubicBezTo>
                  <a:pt x="9038" y="7644"/>
                  <a:pt x="9325" y="7642"/>
                  <a:pt x="9504" y="7462"/>
                </a:cubicBezTo>
                <a:cubicBezTo>
                  <a:pt x="9684" y="7282"/>
                  <a:pt x="9686" y="6995"/>
                  <a:pt x="9517" y="6808"/>
                </a:cubicBezTo>
                <a:lnTo>
                  <a:pt x="7293" y="4569"/>
                </a:lnTo>
                <a:cubicBezTo>
                  <a:pt x="7321" y="4543"/>
                  <a:pt x="7355" y="4526"/>
                  <a:pt x="7382" y="4498"/>
                </a:cubicBezTo>
                <a:cubicBezTo>
                  <a:pt x="8411" y="3470"/>
                  <a:pt x="8411" y="1802"/>
                  <a:pt x="7382" y="772"/>
                </a:cubicBezTo>
                <a:cubicBezTo>
                  <a:pt x="6353" y="-257"/>
                  <a:pt x="4685" y="-257"/>
                  <a:pt x="3656" y="772"/>
                </a:cubicBezTo>
                <a:cubicBezTo>
                  <a:pt x="3075" y="1353"/>
                  <a:pt x="2834" y="2137"/>
                  <a:pt x="2909" y="2895"/>
                </a:cubicBezTo>
                <a:cubicBezTo>
                  <a:pt x="2147" y="2818"/>
                  <a:pt x="1358" y="3059"/>
                  <a:pt x="774" y="3641"/>
                </a:cubicBezTo>
                <a:cubicBezTo>
                  <a:pt x="-258" y="4671"/>
                  <a:pt x="-258" y="6339"/>
                  <a:pt x="774" y="7368"/>
                </a:cubicBezTo>
                <a:cubicBezTo>
                  <a:pt x="1806" y="8397"/>
                  <a:pt x="3479" y="8397"/>
                  <a:pt x="4511" y="736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8" name="Shape 2758"/>
          <p:cNvSpPr/>
          <p:nvPr/>
        </p:nvSpPr>
        <p:spPr>
          <a:xfrm>
            <a:off x="467914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982" y="6873"/>
                </a:moveTo>
                <a:lnTo>
                  <a:pt x="14727" y="6873"/>
                </a:lnTo>
                <a:lnTo>
                  <a:pt x="14727" y="8836"/>
                </a:lnTo>
                <a:lnTo>
                  <a:pt x="982" y="8836"/>
                </a:lnTo>
                <a:cubicBezTo>
                  <a:pt x="982" y="8836"/>
                  <a:pt x="982" y="6873"/>
                  <a:pt x="982" y="6873"/>
                </a:cubicBezTo>
                <a:close/>
                <a:moveTo>
                  <a:pt x="982" y="9818"/>
                </a:moveTo>
                <a:lnTo>
                  <a:pt x="14727" y="9818"/>
                </a:lnTo>
                <a:cubicBezTo>
                  <a:pt x="15269" y="9818"/>
                  <a:pt x="15709" y="9378"/>
                  <a:pt x="15709" y="8836"/>
                </a:cubicBezTo>
                <a:lnTo>
                  <a:pt x="15709" y="6873"/>
                </a:lnTo>
                <a:cubicBezTo>
                  <a:pt x="15709" y="6331"/>
                  <a:pt x="15269" y="5891"/>
                  <a:pt x="14727" y="5891"/>
                </a:cubicBezTo>
                <a:lnTo>
                  <a:pt x="982" y="5891"/>
                </a:lnTo>
                <a:cubicBezTo>
                  <a:pt x="440" y="5891"/>
                  <a:pt x="0" y="6331"/>
                  <a:pt x="0" y="6873"/>
                </a:cubicBezTo>
                <a:lnTo>
                  <a:pt x="0" y="8836"/>
                </a:lnTo>
                <a:cubicBezTo>
                  <a:pt x="0" y="9378"/>
                  <a:pt x="440" y="9818"/>
                  <a:pt x="982" y="9818"/>
                </a:cubicBezTo>
                <a:moveTo>
                  <a:pt x="14727" y="20618"/>
                </a:moveTo>
                <a:lnTo>
                  <a:pt x="982" y="20618"/>
                </a:lnTo>
                <a:lnTo>
                  <a:pt x="982" y="18655"/>
                </a:lnTo>
                <a:lnTo>
                  <a:pt x="14727" y="18655"/>
                </a:lnTo>
                <a:cubicBezTo>
                  <a:pt x="14727" y="18655"/>
                  <a:pt x="14727" y="20618"/>
                  <a:pt x="14727" y="20618"/>
                </a:cubicBezTo>
                <a:close/>
                <a:moveTo>
                  <a:pt x="14727" y="17673"/>
                </a:moveTo>
                <a:lnTo>
                  <a:pt x="982" y="17673"/>
                </a:lnTo>
                <a:cubicBezTo>
                  <a:pt x="440" y="17673"/>
                  <a:pt x="0" y="18113"/>
                  <a:pt x="0" y="18655"/>
                </a:cubicBezTo>
                <a:lnTo>
                  <a:pt x="0" y="20618"/>
                </a:lnTo>
                <a:cubicBezTo>
                  <a:pt x="0" y="21160"/>
                  <a:pt x="440" y="21600"/>
                  <a:pt x="982" y="21600"/>
                </a:cubicBezTo>
                <a:lnTo>
                  <a:pt x="14727" y="21600"/>
                </a:lnTo>
                <a:cubicBezTo>
                  <a:pt x="15269" y="21600"/>
                  <a:pt x="15709" y="21160"/>
                  <a:pt x="15709" y="20618"/>
                </a:cubicBezTo>
                <a:lnTo>
                  <a:pt x="15709" y="18655"/>
                </a:lnTo>
                <a:cubicBezTo>
                  <a:pt x="15709" y="18113"/>
                  <a:pt x="15269" y="17673"/>
                  <a:pt x="14727"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9" name="Shape 2759"/>
          <p:cNvSpPr/>
          <p:nvPr/>
        </p:nvSpPr>
        <p:spPr>
          <a:xfrm>
            <a:off x="5079094"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3927" y="6873"/>
                </a:moveTo>
                <a:lnTo>
                  <a:pt x="17673" y="6873"/>
                </a:lnTo>
                <a:lnTo>
                  <a:pt x="17673" y="8836"/>
                </a:lnTo>
                <a:lnTo>
                  <a:pt x="3927" y="8836"/>
                </a:lnTo>
                <a:cubicBezTo>
                  <a:pt x="3927" y="8836"/>
                  <a:pt x="3927" y="6873"/>
                  <a:pt x="3927" y="6873"/>
                </a:cubicBezTo>
                <a:close/>
                <a:moveTo>
                  <a:pt x="17673" y="9818"/>
                </a:moveTo>
                <a:cubicBezTo>
                  <a:pt x="18215" y="9818"/>
                  <a:pt x="18655" y="9378"/>
                  <a:pt x="18655" y="8836"/>
                </a:cubicBezTo>
                <a:lnTo>
                  <a:pt x="18655" y="6873"/>
                </a:lnTo>
                <a:cubicBezTo>
                  <a:pt x="18655" y="6331"/>
                  <a:pt x="18215" y="5891"/>
                  <a:pt x="17673" y="5891"/>
                </a:cubicBezTo>
                <a:lnTo>
                  <a:pt x="3927" y="5891"/>
                </a:lnTo>
                <a:cubicBezTo>
                  <a:pt x="3385" y="5891"/>
                  <a:pt x="2945" y="6331"/>
                  <a:pt x="2945" y="6873"/>
                </a:cubicBezTo>
                <a:lnTo>
                  <a:pt x="2945" y="8836"/>
                </a:lnTo>
                <a:cubicBezTo>
                  <a:pt x="2945" y="9378"/>
                  <a:pt x="3385" y="9818"/>
                  <a:pt x="3927" y="9818"/>
                </a:cubicBezTo>
                <a:cubicBezTo>
                  <a:pt x="3927" y="9818"/>
                  <a:pt x="17673" y="9818"/>
                  <a:pt x="17673" y="9818"/>
                </a:cubicBezTo>
                <a:close/>
                <a:moveTo>
                  <a:pt x="17673" y="20618"/>
                </a:moveTo>
                <a:lnTo>
                  <a:pt x="3927" y="20618"/>
                </a:lnTo>
                <a:lnTo>
                  <a:pt x="3927" y="18655"/>
                </a:lnTo>
                <a:lnTo>
                  <a:pt x="17673" y="18655"/>
                </a:lnTo>
                <a:cubicBezTo>
                  <a:pt x="17673" y="18655"/>
                  <a:pt x="17673" y="20618"/>
                  <a:pt x="17673" y="20618"/>
                </a:cubicBezTo>
                <a:close/>
                <a:moveTo>
                  <a:pt x="17673" y="17673"/>
                </a:moveTo>
                <a:lnTo>
                  <a:pt x="3927" y="17673"/>
                </a:lnTo>
                <a:cubicBezTo>
                  <a:pt x="3385" y="17673"/>
                  <a:pt x="2945" y="18113"/>
                  <a:pt x="2945" y="18655"/>
                </a:cubicBezTo>
                <a:lnTo>
                  <a:pt x="2945" y="20618"/>
                </a:lnTo>
                <a:cubicBezTo>
                  <a:pt x="2945" y="21160"/>
                  <a:pt x="3385" y="21600"/>
                  <a:pt x="3927" y="21600"/>
                </a:cubicBezTo>
                <a:lnTo>
                  <a:pt x="17673" y="21600"/>
                </a:lnTo>
                <a:cubicBezTo>
                  <a:pt x="18215" y="21600"/>
                  <a:pt x="18655" y="21160"/>
                  <a:pt x="18655" y="20618"/>
                </a:cubicBezTo>
                <a:lnTo>
                  <a:pt x="18655" y="18655"/>
                </a:lnTo>
                <a:cubicBezTo>
                  <a:pt x="18655" y="18113"/>
                  <a:pt x="18215" y="17673"/>
                  <a:pt x="17673"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0" name="Shape 2760"/>
          <p:cNvSpPr/>
          <p:nvPr/>
        </p:nvSpPr>
        <p:spPr>
          <a:xfrm>
            <a:off x="547904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6873" y="8836"/>
                </a:lnTo>
                <a:lnTo>
                  <a:pt x="6873" y="6873"/>
                </a:lnTo>
                <a:lnTo>
                  <a:pt x="20618" y="6873"/>
                </a:lnTo>
                <a:cubicBezTo>
                  <a:pt x="20618" y="6873"/>
                  <a:pt x="20618" y="8836"/>
                  <a:pt x="20618" y="8836"/>
                </a:cubicBezTo>
                <a:close/>
                <a:moveTo>
                  <a:pt x="20618" y="5891"/>
                </a:moveTo>
                <a:lnTo>
                  <a:pt x="6873" y="5891"/>
                </a:lnTo>
                <a:cubicBezTo>
                  <a:pt x="6331" y="5891"/>
                  <a:pt x="5891" y="6331"/>
                  <a:pt x="5891" y="6873"/>
                </a:cubicBezTo>
                <a:lnTo>
                  <a:pt x="5891" y="8836"/>
                </a:lnTo>
                <a:cubicBezTo>
                  <a:pt x="5891" y="9378"/>
                  <a:pt x="6331" y="9818"/>
                  <a:pt x="6873" y="9818"/>
                </a:cubicBezTo>
                <a:lnTo>
                  <a:pt x="20618" y="9818"/>
                </a:lnTo>
                <a:cubicBezTo>
                  <a:pt x="21160" y="9818"/>
                  <a:pt x="21600" y="9378"/>
                  <a:pt x="21600" y="8836"/>
                </a:cubicBezTo>
                <a:lnTo>
                  <a:pt x="21600" y="6873"/>
                </a:lnTo>
                <a:cubicBezTo>
                  <a:pt x="21600" y="6331"/>
                  <a:pt x="21160" y="5891"/>
                  <a:pt x="20618" y="5891"/>
                </a:cubicBezTo>
                <a:moveTo>
                  <a:pt x="20618" y="20618"/>
                </a:moveTo>
                <a:lnTo>
                  <a:pt x="6873" y="20618"/>
                </a:lnTo>
                <a:lnTo>
                  <a:pt x="6873" y="18655"/>
                </a:lnTo>
                <a:lnTo>
                  <a:pt x="20618" y="18655"/>
                </a:lnTo>
                <a:cubicBezTo>
                  <a:pt x="20618" y="18655"/>
                  <a:pt x="20618" y="20618"/>
                  <a:pt x="20618" y="20618"/>
                </a:cubicBezTo>
                <a:close/>
                <a:moveTo>
                  <a:pt x="20618" y="17673"/>
                </a:moveTo>
                <a:lnTo>
                  <a:pt x="6873" y="17673"/>
                </a:lnTo>
                <a:cubicBezTo>
                  <a:pt x="6331" y="17673"/>
                  <a:pt x="5891" y="18113"/>
                  <a:pt x="5891" y="18655"/>
                </a:cubicBezTo>
                <a:lnTo>
                  <a:pt x="5891" y="20618"/>
                </a:lnTo>
                <a:cubicBezTo>
                  <a:pt x="5891" y="21160"/>
                  <a:pt x="6331" y="21600"/>
                  <a:pt x="6873"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1" name="Shape 2761"/>
          <p:cNvSpPr/>
          <p:nvPr/>
        </p:nvSpPr>
        <p:spPr>
          <a:xfrm>
            <a:off x="587898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982" y="8836"/>
                </a:lnTo>
                <a:lnTo>
                  <a:pt x="982" y="6873"/>
                </a:lnTo>
                <a:lnTo>
                  <a:pt x="20618" y="6873"/>
                </a:lnTo>
                <a:cubicBezTo>
                  <a:pt x="20618" y="6873"/>
                  <a:pt x="20618" y="8836"/>
                  <a:pt x="20618" y="8836"/>
                </a:cubicBezTo>
                <a:close/>
                <a:moveTo>
                  <a:pt x="20618" y="5891"/>
                </a:moveTo>
                <a:lnTo>
                  <a:pt x="982" y="5891"/>
                </a:lnTo>
                <a:cubicBezTo>
                  <a:pt x="440" y="5891"/>
                  <a:pt x="0" y="6331"/>
                  <a:pt x="0" y="6873"/>
                </a:cubicBezTo>
                <a:lnTo>
                  <a:pt x="0" y="8836"/>
                </a:lnTo>
                <a:cubicBezTo>
                  <a:pt x="0" y="9378"/>
                  <a:pt x="440" y="9818"/>
                  <a:pt x="982" y="9818"/>
                </a:cubicBezTo>
                <a:lnTo>
                  <a:pt x="20618" y="9818"/>
                </a:lnTo>
                <a:cubicBezTo>
                  <a:pt x="21160" y="9818"/>
                  <a:pt x="21600" y="9378"/>
                  <a:pt x="21600" y="8836"/>
                </a:cubicBezTo>
                <a:lnTo>
                  <a:pt x="21600" y="6873"/>
                </a:lnTo>
                <a:cubicBezTo>
                  <a:pt x="21600" y="6331"/>
                  <a:pt x="21160" y="5891"/>
                  <a:pt x="20618" y="5891"/>
                </a:cubicBezTo>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20618"/>
                </a:moveTo>
                <a:lnTo>
                  <a:pt x="982" y="20618"/>
                </a:lnTo>
                <a:lnTo>
                  <a:pt x="982" y="18655"/>
                </a:lnTo>
                <a:lnTo>
                  <a:pt x="20618" y="18655"/>
                </a:lnTo>
                <a:cubicBezTo>
                  <a:pt x="20618" y="18655"/>
                  <a:pt x="20618" y="20618"/>
                  <a:pt x="20618" y="20618"/>
                </a:cubicBezTo>
                <a:close/>
                <a:moveTo>
                  <a:pt x="20618" y="17673"/>
                </a:moveTo>
                <a:lnTo>
                  <a:pt x="982" y="17673"/>
                </a:lnTo>
                <a:cubicBezTo>
                  <a:pt x="440" y="17673"/>
                  <a:pt x="0" y="18113"/>
                  <a:pt x="0" y="18655"/>
                </a:cubicBezTo>
                <a:lnTo>
                  <a:pt x="0" y="20618"/>
                </a:lnTo>
                <a:cubicBezTo>
                  <a:pt x="0" y="21160"/>
                  <a:pt x="440" y="21600"/>
                  <a:pt x="982"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2" name="Shape 2762"/>
          <p:cNvSpPr/>
          <p:nvPr/>
        </p:nvSpPr>
        <p:spPr>
          <a:xfrm>
            <a:off x="6278931"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982"/>
                </a:moveTo>
                <a:cubicBezTo>
                  <a:pt x="19520" y="982"/>
                  <a:pt x="20618" y="2081"/>
                  <a:pt x="20618" y="3436"/>
                </a:cubicBezTo>
                <a:cubicBezTo>
                  <a:pt x="20618" y="4792"/>
                  <a:pt x="19520" y="5891"/>
                  <a:pt x="18164" y="5891"/>
                </a:cubicBezTo>
                <a:cubicBezTo>
                  <a:pt x="16808" y="5891"/>
                  <a:pt x="15709" y="4792"/>
                  <a:pt x="15709" y="3436"/>
                </a:cubicBezTo>
                <a:cubicBezTo>
                  <a:pt x="15709" y="2081"/>
                  <a:pt x="16808" y="982"/>
                  <a:pt x="18164" y="982"/>
                </a:cubicBezTo>
                <a:moveTo>
                  <a:pt x="18164" y="6873"/>
                </a:moveTo>
                <a:cubicBezTo>
                  <a:pt x="20062" y="6873"/>
                  <a:pt x="21600" y="5334"/>
                  <a:pt x="21600" y="3436"/>
                </a:cubicBezTo>
                <a:cubicBezTo>
                  <a:pt x="21600" y="1538"/>
                  <a:pt x="20062" y="0"/>
                  <a:pt x="18164" y="0"/>
                </a:cubicBezTo>
                <a:cubicBezTo>
                  <a:pt x="16266" y="0"/>
                  <a:pt x="14727" y="1538"/>
                  <a:pt x="14727" y="3436"/>
                </a:cubicBezTo>
                <a:cubicBezTo>
                  <a:pt x="14727" y="5334"/>
                  <a:pt x="16266" y="6873"/>
                  <a:pt x="18164" y="6873"/>
                </a:cubicBezTo>
                <a:moveTo>
                  <a:pt x="18164" y="3927"/>
                </a:moveTo>
                <a:lnTo>
                  <a:pt x="18655" y="3927"/>
                </a:lnTo>
                <a:cubicBezTo>
                  <a:pt x="18925" y="3927"/>
                  <a:pt x="19145" y="3708"/>
                  <a:pt x="19145" y="3436"/>
                </a:cubicBezTo>
                <a:cubicBezTo>
                  <a:pt x="19145" y="3165"/>
                  <a:pt x="18925" y="2945"/>
                  <a:pt x="18655" y="2945"/>
                </a:cubicBezTo>
                <a:lnTo>
                  <a:pt x="18655" y="2455"/>
                </a:lnTo>
                <a:cubicBezTo>
                  <a:pt x="18655" y="2183"/>
                  <a:pt x="18434" y="1964"/>
                  <a:pt x="18164" y="1964"/>
                </a:cubicBezTo>
                <a:cubicBezTo>
                  <a:pt x="17893" y="1964"/>
                  <a:pt x="17673" y="2183"/>
                  <a:pt x="17673" y="2455"/>
                </a:cubicBezTo>
                <a:lnTo>
                  <a:pt x="17673" y="3436"/>
                </a:lnTo>
                <a:cubicBezTo>
                  <a:pt x="17673" y="3708"/>
                  <a:pt x="17893" y="3927"/>
                  <a:pt x="18164" y="3927"/>
                </a:cubicBezTo>
                <a:moveTo>
                  <a:pt x="9818" y="11782"/>
                </a:moveTo>
                <a:lnTo>
                  <a:pt x="4909" y="11782"/>
                </a:lnTo>
                <a:lnTo>
                  <a:pt x="4909" y="8836"/>
                </a:lnTo>
                <a:lnTo>
                  <a:pt x="9818" y="8836"/>
                </a:lnTo>
                <a:cubicBezTo>
                  <a:pt x="9818" y="8836"/>
                  <a:pt x="9818" y="11782"/>
                  <a:pt x="9818" y="11782"/>
                </a:cubicBezTo>
                <a:close/>
                <a:moveTo>
                  <a:pt x="21109" y="12764"/>
                </a:moveTo>
                <a:lnTo>
                  <a:pt x="11291" y="12764"/>
                </a:lnTo>
                <a:cubicBezTo>
                  <a:pt x="11562" y="12764"/>
                  <a:pt x="11782" y="12544"/>
                  <a:pt x="11782" y="12273"/>
                </a:cubicBezTo>
                <a:cubicBezTo>
                  <a:pt x="11782" y="12001"/>
                  <a:pt x="11562" y="11782"/>
                  <a:pt x="11291" y="11782"/>
                </a:cubicBezTo>
                <a:lnTo>
                  <a:pt x="10800" y="11782"/>
                </a:lnTo>
                <a:lnTo>
                  <a:pt x="10800" y="8836"/>
                </a:lnTo>
                <a:cubicBezTo>
                  <a:pt x="10800" y="8295"/>
                  <a:pt x="10360" y="7855"/>
                  <a:pt x="9818" y="7855"/>
                </a:cubicBezTo>
                <a:lnTo>
                  <a:pt x="4909" y="7855"/>
                </a:lnTo>
                <a:cubicBezTo>
                  <a:pt x="4367" y="7855"/>
                  <a:pt x="3927" y="8295"/>
                  <a:pt x="3927" y="8836"/>
                </a:cubicBezTo>
                <a:lnTo>
                  <a:pt x="3927" y="11782"/>
                </a:lnTo>
                <a:lnTo>
                  <a:pt x="3436" y="11782"/>
                </a:lnTo>
                <a:cubicBezTo>
                  <a:pt x="3166" y="11782"/>
                  <a:pt x="2945" y="12001"/>
                  <a:pt x="2945" y="12273"/>
                </a:cubicBezTo>
                <a:cubicBezTo>
                  <a:pt x="2945" y="12544"/>
                  <a:pt x="3166" y="12764"/>
                  <a:pt x="3436" y="12764"/>
                </a:cubicBezTo>
                <a:lnTo>
                  <a:pt x="491" y="12764"/>
                </a:lnTo>
                <a:cubicBezTo>
                  <a:pt x="220" y="12764"/>
                  <a:pt x="0" y="12983"/>
                  <a:pt x="0" y="13255"/>
                </a:cubicBezTo>
                <a:cubicBezTo>
                  <a:pt x="0" y="13526"/>
                  <a:pt x="220" y="13745"/>
                  <a:pt x="491" y="13745"/>
                </a:cubicBezTo>
                <a:lnTo>
                  <a:pt x="2945" y="13745"/>
                </a:lnTo>
                <a:lnTo>
                  <a:pt x="2945" y="21109"/>
                </a:lnTo>
                <a:cubicBezTo>
                  <a:pt x="2945" y="21380"/>
                  <a:pt x="3166" y="21600"/>
                  <a:pt x="3436" y="21600"/>
                </a:cubicBezTo>
                <a:cubicBezTo>
                  <a:pt x="3707" y="21600"/>
                  <a:pt x="3927" y="21380"/>
                  <a:pt x="3927" y="21109"/>
                </a:cubicBezTo>
                <a:lnTo>
                  <a:pt x="3927" y="13745"/>
                </a:lnTo>
                <a:lnTo>
                  <a:pt x="17673" y="13745"/>
                </a:lnTo>
                <a:lnTo>
                  <a:pt x="17673" y="21109"/>
                </a:lnTo>
                <a:cubicBezTo>
                  <a:pt x="17673" y="21380"/>
                  <a:pt x="17893" y="21600"/>
                  <a:pt x="18164" y="21600"/>
                </a:cubicBezTo>
                <a:cubicBezTo>
                  <a:pt x="18434" y="21600"/>
                  <a:pt x="18655" y="21380"/>
                  <a:pt x="18655" y="21109"/>
                </a:cubicBezTo>
                <a:lnTo>
                  <a:pt x="18655" y="13745"/>
                </a:lnTo>
                <a:lnTo>
                  <a:pt x="21109" y="13745"/>
                </a:lnTo>
                <a:cubicBezTo>
                  <a:pt x="21380" y="13745"/>
                  <a:pt x="21600" y="13526"/>
                  <a:pt x="21600" y="13255"/>
                </a:cubicBezTo>
                <a:cubicBezTo>
                  <a:pt x="21600" y="12983"/>
                  <a:pt x="21380" y="12764"/>
                  <a:pt x="21109"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3" name="Shape 2763"/>
          <p:cNvSpPr/>
          <p:nvPr/>
        </p:nvSpPr>
        <p:spPr>
          <a:xfrm>
            <a:off x="667887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5"/>
                  <a:pt x="3404" y="982"/>
                  <a:pt x="6382" y="982"/>
                </a:cubicBezTo>
                <a:cubicBezTo>
                  <a:pt x="7780" y="982"/>
                  <a:pt x="9107" y="1518"/>
                  <a:pt x="10120" y="2491"/>
                </a:cubicBezTo>
                <a:lnTo>
                  <a:pt x="10585" y="2939"/>
                </a:lnTo>
                <a:lnTo>
                  <a:pt x="8836" y="6873"/>
                </a:lnTo>
                <a:lnTo>
                  <a:pt x="11291" y="9818"/>
                </a:lnTo>
                <a:lnTo>
                  <a:pt x="9327" y="14236"/>
                </a:lnTo>
                <a:lnTo>
                  <a:pt x="10800" y="16691"/>
                </a:lnTo>
                <a:lnTo>
                  <a:pt x="10432" y="14236"/>
                </a:lnTo>
                <a:lnTo>
                  <a:pt x="12365" y="9542"/>
                </a:lnTo>
                <a:lnTo>
                  <a:pt x="10002" y="6781"/>
                </a:lnTo>
                <a:lnTo>
                  <a:pt x="12069" y="2007"/>
                </a:lnTo>
                <a:cubicBezTo>
                  <a:pt x="12984" y="1345"/>
                  <a:pt x="14076" y="982"/>
                  <a:pt x="15218" y="982"/>
                </a:cubicBezTo>
                <a:cubicBezTo>
                  <a:pt x="18196" y="982"/>
                  <a:pt x="20618" y="3405"/>
                  <a:pt x="20618" y="6382"/>
                </a:cubicBezTo>
                <a:cubicBezTo>
                  <a:pt x="20618" y="6725"/>
                  <a:pt x="20579" y="7008"/>
                  <a:pt x="20579" y="7008"/>
                </a:cubicBezTo>
                <a:moveTo>
                  <a:pt x="21600" y="6382"/>
                </a:moveTo>
                <a:cubicBezTo>
                  <a:pt x="21600" y="2857"/>
                  <a:pt x="18743" y="0"/>
                  <a:pt x="15218" y="0"/>
                </a:cubicBezTo>
                <a:cubicBezTo>
                  <a:pt x="13502" y="0"/>
                  <a:pt x="11947" y="681"/>
                  <a:pt x="10800" y="1783"/>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4" name="Shape 2764"/>
          <p:cNvSpPr/>
          <p:nvPr/>
        </p:nvSpPr>
        <p:spPr>
          <a:xfrm>
            <a:off x="7078822" y="3488932"/>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588" y="6611"/>
                </a:moveTo>
                <a:cubicBezTo>
                  <a:pt x="20587" y="6619"/>
                  <a:pt x="20587" y="6627"/>
                  <a:pt x="20586" y="6635"/>
                </a:cubicBezTo>
                <a:cubicBezTo>
                  <a:pt x="20585" y="6640"/>
                  <a:pt x="20582" y="6674"/>
                  <a:pt x="20581" y="6680"/>
                </a:cubicBezTo>
                <a:cubicBezTo>
                  <a:pt x="20107" y="11287"/>
                  <a:pt x="14607" y="17428"/>
                  <a:pt x="12595" y="19086"/>
                </a:cubicBezTo>
                <a:lnTo>
                  <a:pt x="11905" y="15660"/>
                </a:lnTo>
                <a:lnTo>
                  <a:pt x="13960" y="10631"/>
                </a:lnTo>
                <a:lnTo>
                  <a:pt x="11429" y="7425"/>
                </a:lnTo>
                <a:lnTo>
                  <a:pt x="12699" y="2550"/>
                </a:lnTo>
                <a:cubicBezTo>
                  <a:pt x="12708" y="2540"/>
                  <a:pt x="12713" y="2534"/>
                  <a:pt x="12723" y="2524"/>
                </a:cubicBezTo>
                <a:cubicBezTo>
                  <a:pt x="13572" y="1625"/>
                  <a:pt x="14916" y="1080"/>
                  <a:pt x="16088" y="1080"/>
                </a:cubicBezTo>
                <a:cubicBezTo>
                  <a:pt x="18586" y="1080"/>
                  <a:pt x="20618" y="3315"/>
                  <a:pt x="20618" y="6063"/>
                </a:cubicBezTo>
                <a:cubicBezTo>
                  <a:pt x="20618" y="6262"/>
                  <a:pt x="20598" y="6506"/>
                  <a:pt x="20588" y="6611"/>
                </a:cubicBezTo>
                <a:moveTo>
                  <a:pt x="21600" y="6063"/>
                </a:moveTo>
                <a:cubicBezTo>
                  <a:pt x="21600" y="2715"/>
                  <a:pt x="19132" y="0"/>
                  <a:pt x="16088" y="0"/>
                </a:cubicBezTo>
                <a:cubicBezTo>
                  <a:pt x="14607" y="0"/>
                  <a:pt x="12974" y="748"/>
                  <a:pt x="11983" y="1794"/>
                </a:cubicBezTo>
                <a:lnTo>
                  <a:pt x="11985" y="1802"/>
                </a:lnTo>
                <a:cubicBezTo>
                  <a:pt x="11900" y="1871"/>
                  <a:pt x="11839" y="1965"/>
                  <a:pt x="11809" y="2079"/>
                </a:cubicBezTo>
                <a:lnTo>
                  <a:pt x="11797" y="2076"/>
                </a:lnTo>
                <a:lnTo>
                  <a:pt x="10309" y="7560"/>
                </a:lnTo>
                <a:lnTo>
                  <a:pt x="12764" y="10800"/>
                </a:lnTo>
                <a:lnTo>
                  <a:pt x="10800" y="15660"/>
                </a:lnTo>
                <a:lnTo>
                  <a:pt x="11797" y="20098"/>
                </a:lnTo>
                <a:lnTo>
                  <a:pt x="11803" y="20097"/>
                </a:lnTo>
                <a:cubicBezTo>
                  <a:pt x="11853" y="20337"/>
                  <a:pt x="12039" y="20520"/>
                  <a:pt x="12273" y="20520"/>
                </a:cubicBezTo>
                <a:cubicBezTo>
                  <a:pt x="12410" y="20520"/>
                  <a:pt x="12534" y="20457"/>
                  <a:pt x="12623" y="20357"/>
                </a:cubicBezTo>
                <a:cubicBezTo>
                  <a:pt x="14361" y="19225"/>
                  <a:pt x="20995" y="12270"/>
                  <a:pt x="21558" y="6787"/>
                </a:cubicBezTo>
                <a:lnTo>
                  <a:pt x="21558" y="6791"/>
                </a:lnTo>
                <a:cubicBezTo>
                  <a:pt x="21559" y="6791"/>
                  <a:pt x="21600" y="6399"/>
                  <a:pt x="21600" y="6063"/>
                </a:cubicBezTo>
                <a:moveTo>
                  <a:pt x="1019" y="7760"/>
                </a:moveTo>
                <a:cubicBezTo>
                  <a:pt x="1018" y="7754"/>
                  <a:pt x="1015" y="7720"/>
                  <a:pt x="1014" y="7715"/>
                </a:cubicBezTo>
                <a:cubicBezTo>
                  <a:pt x="1013" y="7707"/>
                  <a:pt x="1013" y="7699"/>
                  <a:pt x="1012" y="7691"/>
                </a:cubicBezTo>
                <a:cubicBezTo>
                  <a:pt x="1002" y="7586"/>
                  <a:pt x="982" y="7342"/>
                  <a:pt x="982" y="7143"/>
                </a:cubicBezTo>
                <a:cubicBezTo>
                  <a:pt x="982" y="4395"/>
                  <a:pt x="3014" y="2160"/>
                  <a:pt x="5512" y="2160"/>
                </a:cubicBezTo>
                <a:cubicBezTo>
                  <a:pt x="6634" y="2160"/>
                  <a:pt x="7908" y="2664"/>
                  <a:pt x="8760" y="3495"/>
                </a:cubicBezTo>
                <a:lnTo>
                  <a:pt x="7364" y="8640"/>
                </a:lnTo>
                <a:lnTo>
                  <a:pt x="9818" y="11880"/>
                </a:lnTo>
                <a:lnTo>
                  <a:pt x="7855" y="16740"/>
                </a:lnTo>
                <a:lnTo>
                  <a:pt x="8531" y="19752"/>
                </a:lnTo>
                <a:cubicBezTo>
                  <a:pt x="6242" y="17649"/>
                  <a:pt x="1459" y="12041"/>
                  <a:pt x="1019" y="7760"/>
                </a:cubicBezTo>
                <a:moveTo>
                  <a:pt x="9803" y="20925"/>
                </a:moveTo>
                <a:lnTo>
                  <a:pt x="8959" y="16740"/>
                </a:lnTo>
                <a:lnTo>
                  <a:pt x="11015" y="11711"/>
                </a:lnTo>
                <a:lnTo>
                  <a:pt x="8484" y="8505"/>
                </a:lnTo>
                <a:lnTo>
                  <a:pt x="9799" y="3457"/>
                </a:lnTo>
                <a:lnTo>
                  <a:pt x="9791" y="3454"/>
                </a:lnTo>
                <a:cubicBezTo>
                  <a:pt x="9804" y="3407"/>
                  <a:pt x="9818" y="3360"/>
                  <a:pt x="9818" y="3308"/>
                </a:cubicBezTo>
                <a:cubicBezTo>
                  <a:pt x="9818" y="3130"/>
                  <a:pt x="9736" y="2981"/>
                  <a:pt x="9615" y="2882"/>
                </a:cubicBezTo>
                <a:lnTo>
                  <a:pt x="9617" y="2874"/>
                </a:lnTo>
                <a:cubicBezTo>
                  <a:pt x="8626" y="1827"/>
                  <a:pt x="6993" y="1080"/>
                  <a:pt x="5512" y="1080"/>
                </a:cubicBezTo>
                <a:cubicBezTo>
                  <a:pt x="2468" y="1080"/>
                  <a:pt x="0" y="3795"/>
                  <a:pt x="0" y="7143"/>
                </a:cubicBezTo>
                <a:cubicBezTo>
                  <a:pt x="0" y="7479"/>
                  <a:pt x="41" y="7871"/>
                  <a:pt x="42" y="7871"/>
                </a:cubicBezTo>
                <a:lnTo>
                  <a:pt x="42" y="7867"/>
                </a:lnTo>
                <a:cubicBezTo>
                  <a:pt x="605" y="13350"/>
                  <a:pt x="7239" y="20305"/>
                  <a:pt x="8977" y="21437"/>
                </a:cubicBezTo>
                <a:cubicBezTo>
                  <a:pt x="9066" y="21537"/>
                  <a:pt x="9190" y="21600"/>
                  <a:pt x="9327" y="21600"/>
                </a:cubicBezTo>
                <a:cubicBezTo>
                  <a:pt x="9599" y="21600"/>
                  <a:pt x="9818" y="21358"/>
                  <a:pt x="9818" y="21060"/>
                </a:cubicBezTo>
                <a:cubicBezTo>
                  <a:pt x="9818" y="21013"/>
                  <a:pt x="9804" y="20971"/>
                  <a:pt x="9794" y="20927"/>
                </a:cubicBezTo>
                <a:cubicBezTo>
                  <a:pt x="9794" y="20927"/>
                  <a:pt x="9803" y="20925"/>
                  <a:pt x="9803" y="2092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5" name="Shape 2765"/>
          <p:cNvSpPr/>
          <p:nvPr/>
        </p:nvSpPr>
        <p:spPr>
          <a:xfrm>
            <a:off x="7478768"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2764"/>
                </a:moveTo>
                <a:cubicBezTo>
                  <a:pt x="11510" y="12764"/>
                  <a:pt x="11291" y="12984"/>
                  <a:pt x="11291" y="13255"/>
                </a:cubicBezTo>
                <a:cubicBezTo>
                  <a:pt x="11291" y="13526"/>
                  <a:pt x="11510" y="13745"/>
                  <a:pt x="11782" y="13745"/>
                </a:cubicBezTo>
                <a:cubicBezTo>
                  <a:pt x="12053" y="13745"/>
                  <a:pt x="12273" y="13526"/>
                  <a:pt x="12273" y="13255"/>
                </a:cubicBezTo>
                <a:cubicBezTo>
                  <a:pt x="12273" y="12984"/>
                  <a:pt x="12053" y="12764"/>
                  <a:pt x="11782" y="12764"/>
                </a:cubicBezTo>
                <a:moveTo>
                  <a:pt x="14727" y="10800"/>
                </a:moveTo>
                <a:cubicBezTo>
                  <a:pt x="14999" y="10800"/>
                  <a:pt x="15218" y="10580"/>
                  <a:pt x="15218" y="10309"/>
                </a:cubicBezTo>
                <a:cubicBezTo>
                  <a:pt x="15218" y="10038"/>
                  <a:pt x="14999" y="9818"/>
                  <a:pt x="14727" y="9818"/>
                </a:cubicBezTo>
                <a:cubicBezTo>
                  <a:pt x="14456" y="9818"/>
                  <a:pt x="14236" y="10038"/>
                  <a:pt x="14236" y="10309"/>
                </a:cubicBezTo>
                <a:cubicBezTo>
                  <a:pt x="14236" y="10580"/>
                  <a:pt x="14456" y="10800"/>
                  <a:pt x="14727" y="10800"/>
                </a:cubicBezTo>
                <a:moveTo>
                  <a:pt x="19913" y="7150"/>
                </a:moveTo>
                <a:lnTo>
                  <a:pt x="19959" y="7195"/>
                </a:lnTo>
                <a:lnTo>
                  <a:pt x="19468" y="7686"/>
                </a:lnTo>
                <a:lnTo>
                  <a:pt x="19468" y="7687"/>
                </a:lnTo>
                <a:lnTo>
                  <a:pt x="17606" y="9549"/>
                </a:lnTo>
                <a:lnTo>
                  <a:pt x="12052" y="3994"/>
                </a:lnTo>
                <a:lnTo>
                  <a:pt x="13913" y="2132"/>
                </a:lnTo>
                <a:cubicBezTo>
                  <a:pt x="13914" y="2132"/>
                  <a:pt x="13914" y="2132"/>
                  <a:pt x="13914" y="2132"/>
                </a:cubicBezTo>
                <a:lnTo>
                  <a:pt x="14405" y="1641"/>
                </a:lnTo>
                <a:lnTo>
                  <a:pt x="14450" y="1687"/>
                </a:lnTo>
                <a:cubicBezTo>
                  <a:pt x="15086" y="1244"/>
                  <a:pt x="15857" y="982"/>
                  <a:pt x="16691" y="982"/>
                </a:cubicBezTo>
                <a:cubicBezTo>
                  <a:pt x="18860" y="982"/>
                  <a:pt x="20618" y="2740"/>
                  <a:pt x="20618" y="4909"/>
                </a:cubicBezTo>
                <a:cubicBezTo>
                  <a:pt x="20618" y="5743"/>
                  <a:pt x="20356" y="6514"/>
                  <a:pt x="19913" y="7150"/>
                </a:cubicBezTo>
                <a:moveTo>
                  <a:pt x="10242" y="16912"/>
                </a:moveTo>
                <a:lnTo>
                  <a:pt x="4689" y="11358"/>
                </a:lnTo>
                <a:lnTo>
                  <a:pt x="11358" y="4689"/>
                </a:lnTo>
                <a:lnTo>
                  <a:pt x="16911" y="10243"/>
                </a:lnTo>
                <a:cubicBezTo>
                  <a:pt x="16911" y="10243"/>
                  <a:pt x="10242" y="16912"/>
                  <a:pt x="10242" y="16912"/>
                </a:cubicBezTo>
                <a:close/>
                <a:moveTo>
                  <a:pt x="7686" y="19468"/>
                </a:moveTo>
                <a:cubicBezTo>
                  <a:pt x="6975" y="20179"/>
                  <a:pt x="5994" y="20618"/>
                  <a:pt x="4909" y="20618"/>
                </a:cubicBezTo>
                <a:cubicBezTo>
                  <a:pt x="2740" y="20618"/>
                  <a:pt x="982" y="18860"/>
                  <a:pt x="982" y="16691"/>
                </a:cubicBezTo>
                <a:cubicBezTo>
                  <a:pt x="982" y="15606"/>
                  <a:pt x="1421" y="14625"/>
                  <a:pt x="2132" y="13914"/>
                </a:cubicBezTo>
                <a:lnTo>
                  <a:pt x="3994" y="12052"/>
                </a:lnTo>
                <a:lnTo>
                  <a:pt x="9548" y="17606"/>
                </a:lnTo>
                <a:cubicBezTo>
                  <a:pt x="9548" y="17606"/>
                  <a:pt x="7686" y="19468"/>
                  <a:pt x="7686" y="19468"/>
                </a:cubicBezTo>
                <a:close/>
                <a:moveTo>
                  <a:pt x="21600" y="4909"/>
                </a:moveTo>
                <a:cubicBezTo>
                  <a:pt x="21600" y="2198"/>
                  <a:pt x="19402" y="0"/>
                  <a:pt x="16691" y="0"/>
                </a:cubicBezTo>
                <a:cubicBezTo>
                  <a:pt x="15586" y="0"/>
                  <a:pt x="14570" y="370"/>
                  <a:pt x="13749" y="986"/>
                </a:cubicBezTo>
                <a:lnTo>
                  <a:pt x="13710" y="947"/>
                </a:lnTo>
                <a:lnTo>
                  <a:pt x="13221" y="1437"/>
                </a:lnTo>
                <a:cubicBezTo>
                  <a:pt x="13220" y="1438"/>
                  <a:pt x="13220" y="1438"/>
                  <a:pt x="13219" y="1439"/>
                </a:cubicBezTo>
                <a:lnTo>
                  <a:pt x="1438" y="13220"/>
                </a:lnTo>
                <a:cubicBezTo>
                  <a:pt x="549" y="14108"/>
                  <a:pt x="0" y="15336"/>
                  <a:pt x="0" y="16691"/>
                </a:cubicBezTo>
                <a:cubicBezTo>
                  <a:pt x="0" y="19402"/>
                  <a:pt x="2198" y="21600"/>
                  <a:pt x="4909" y="21600"/>
                </a:cubicBezTo>
                <a:cubicBezTo>
                  <a:pt x="6265" y="21600"/>
                  <a:pt x="7492" y="21051"/>
                  <a:pt x="8380" y="20162"/>
                </a:cubicBezTo>
                <a:lnTo>
                  <a:pt x="20162" y="8381"/>
                </a:lnTo>
                <a:lnTo>
                  <a:pt x="20163" y="8380"/>
                </a:lnTo>
                <a:lnTo>
                  <a:pt x="20653" y="7890"/>
                </a:lnTo>
                <a:lnTo>
                  <a:pt x="20614" y="7851"/>
                </a:lnTo>
                <a:cubicBezTo>
                  <a:pt x="21230" y="7030"/>
                  <a:pt x="21600" y="6015"/>
                  <a:pt x="21600" y="4909"/>
                </a:cubicBezTo>
                <a:moveTo>
                  <a:pt x="10800" y="6873"/>
                </a:moveTo>
                <a:cubicBezTo>
                  <a:pt x="10800" y="7144"/>
                  <a:pt x="11020" y="7364"/>
                  <a:pt x="11291" y="7364"/>
                </a:cubicBezTo>
                <a:cubicBezTo>
                  <a:pt x="11562" y="7364"/>
                  <a:pt x="11782" y="7144"/>
                  <a:pt x="11782" y="6873"/>
                </a:cubicBezTo>
                <a:cubicBezTo>
                  <a:pt x="11782" y="6602"/>
                  <a:pt x="11562" y="6382"/>
                  <a:pt x="11291" y="6382"/>
                </a:cubicBezTo>
                <a:cubicBezTo>
                  <a:pt x="11020" y="6382"/>
                  <a:pt x="10800" y="6602"/>
                  <a:pt x="10800" y="6873"/>
                </a:cubicBezTo>
                <a:moveTo>
                  <a:pt x="13255" y="12273"/>
                </a:moveTo>
                <a:cubicBezTo>
                  <a:pt x="13526" y="12273"/>
                  <a:pt x="13745" y="12053"/>
                  <a:pt x="13745" y="11782"/>
                </a:cubicBezTo>
                <a:cubicBezTo>
                  <a:pt x="13745" y="11511"/>
                  <a:pt x="13526" y="11291"/>
                  <a:pt x="13255" y="11291"/>
                </a:cubicBezTo>
                <a:cubicBezTo>
                  <a:pt x="12983" y="11291"/>
                  <a:pt x="12764" y="11511"/>
                  <a:pt x="12764" y="11782"/>
                </a:cubicBezTo>
                <a:cubicBezTo>
                  <a:pt x="12764" y="12053"/>
                  <a:pt x="12983" y="12273"/>
                  <a:pt x="13255" y="12273"/>
                </a:cubicBezTo>
                <a:moveTo>
                  <a:pt x="12273" y="9818"/>
                </a:moveTo>
                <a:cubicBezTo>
                  <a:pt x="12544" y="9818"/>
                  <a:pt x="12764" y="9599"/>
                  <a:pt x="12764" y="9327"/>
                </a:cubicBezTo>
                <a:cubicBezTo>
                  <a:pt x="12764" y="9056"/>
                  <a:pt x="12544" y="8836"/>
                  <a:pt x="12273" y="8836"/>
                </a:cubicBezTo>
                <a:cubicBezTo>
                  <a:pt x="12001" y="8836"/>
                  <a:pt x="11782" y="9056"/>
                  <a:pt x="11782" y="9327"/>
                </a:cubicBezTo>
                <a:cubicBezTo>
                  <a:pt x="11782" y="9599"/>
                  <a:pt x="12001" y="9818"/>
                  <a:pt x="12273" y="9818"/>
                </a:cubicBezTo>
                <a:moveTo>
                  <a:pt x="10800" y="10309"/>
                </a:moveTo>
                <a:cubicBezTo>
                  <a:pt x="10529" y="10309"/>
                  <a:pt x="10309" y="10529"/>
                  <a:pt x="10309" y="10800"/>
                </a:cubicBezTo>
                <a:cubicBezTo>
                  <a:pt x="10309" y="11071"/>
                  <a:pt x="10529" y="11291"/>
                  <a:pt x="10800" y="11291"/>
                </a:cubicBezTo>
                <a:cubicBezTo>
                  <a:pt x="11071" y="11291"/>
                  <a:pt x="11291" y="11071"/>
                  <a:pt x="11291" y="10800"/>
                </a:cubicBezTo>
                <a:cubicBezTo>
                  <a:pt x="11291" y="10529"/>
                  <a:pt x="11071" y="10309"/>
                  <a:pt x="10800" y="10309"/>
                </a:cubicBezTo>
                <a:moveTo>
                  <a:pt x="10309" y="14236"/>
                </a:moveTo>
                <a:cubicBezTo>
                  <a:pt x="10038" y="14236"/>
                  <a:pt x="9818" y="14456"/>
                  <a:pt x="9818" y="14727"/>
                </a:cubicBezTo>
                <a:cubicBezTo>
                  <a:pt x="9818" y="14999"/>
                  <a:pt x="10038" y="15218"/>
                  <a:pt x="10309" y="15218"/>
                </a:cubicBezTo>
                <a:cubicBezTo>
                  <a:pt x="10580" y="15218"/>
                  <a:pt x="10800" y="14999"/>
                  <a:pt x="10800" y="14727"/>
                </a:cubicBezTo>
                <a:cubicBezTo>
                  <a:pt x="10800" y="14456"/>
                  <a:pt x="10580" y="14236"/>
                  <a:pt x="10309" y="14236"/>
                </a:cubicBezTo>
                <a:moveTo>
                  <a:pt x="9818" y="8836"/>
                </a:moveTo>
                <a:cubicBezTo>
                  <a:pt x="10090" y="8836"/>
                  <a:pt x="10309" y="8617"/>
                  <a:pt x="10309" y="8345"/>
                </a:cubicBezTo>
                <a:cubicBezTo>
                  <a:pt x="10309" y="8075"/>
                  <a:pt x="10090" y="7855"/>
                  <a:pt x="9818" y="7855"/>
                </a:cubicBezTo>
                <a:cubicBezTo>
                  <a:pt x="9547" y="7855"/>
                  <a:pt x="9327" y="8075"/>
                  <a:pt x="9327" y="8345"/>
                </a:cubicBezTo>
                <a:cubicBezTo>
                  <a:pt x="9327" y="8617"/>
                  <a:pt x="9547" y="8836"/>
                  <a:pt x="9818" y="8836"/>
                </a:cubicBezTo>
                <a:moveTo>
                  <a:pt x="6873" y="10800"/>
                </a:moveTo>
                <a:cubicBezTo>
                  <a:pt x="6601" y="10800"/>
                  <a:pt x="6382" y="11020"/>
                  <a:pt x="6382" y="11291"/>
                </a:cubicBezTo>
                <a:cubicBezTo>
                  <a:pt x="6382" y="11562"/>
                  <a:pt x="6601" y="11782"/>
                  <a:pt x="6873" y="11782"/>
                </a:cubicBezTo>
                <a:cubicBezTo>
                  <a:pt x="7144" y="11782"/>
                  <a:pt x="7364" y="11562"/>
                  <a:pt x="7364" y="11291"/>
                </a:cubicBezTo>
                <a:cubicBezTo>
                  <a:pt x="7364" y="11020"/>
                  <a:pt x="7144" y="10800"/>
                  <a:pt x="6873" y="10800"/>
                </a:cubicBezTo>
                <a:moveTo>
                  <a:pt x="8345" y="9327"/>
                </a:moveTo>
                <a:cubicBezTo>
                  <a:pt x="8074" y="9327"/>
                  <a:pt x="7855" y="9547"/>
                  <a:pt x="7855" y="9818"/>
                </a:cubicBezTo>
                <a:cubicBezTo>
                  <a:pt x="7855" y="10090"/>
                  <a:pt x="8074" y="10309"/>
                  <a:pt x="8345" y="10309"/>
                </a:cubicBezTo>
                <a:cubicBezTo>
                  <a:pt x="8617" y="10309"/>
                  <a:pt x="8836" y="10090"/>
                  <a:pt x="8836" y="9818"/>
                </a:cubicBezTo>
                <a:cubicBezTo>
                  <a:pt x="8836" y="9547"/>
                  <a:pt x="8617" y="9327"/>
                  <a:pt x="8345" y="9327"/>
                </a:cubicBezTo>
                <a:moveTo>
                  <a:pt x="9327" y="11782"/>
                </a:moveTo>
                <a:cubicBezTo>
                  <a:pt x="9056" y="11782"/>
                  <a:pt x="8836" y="12001"/>
                  <a:pt x="8836" y="12273"/>
                </a:cubicBezTo>
                <a:cubicBezTo>
                  <a:pt x="8836" y="12544"/>
                  <a:pt x="9056" y="12764"/>
                  <a:pt x="9327" y="12764"/>
                </a:cubicBezTo>
                <a:cubicBezTo>
                  <a:pt x="9599" y="12764"/>
                  <a:pt x="9818" y="12544"/>
                  <a:pt x="9818" y="12273"/>
                </a:cubicBezTo>
                <a:cubicBezTo>
                  <a:pt x="9818" y="12001"/>
                  <a:pt x="9599"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6" name="Shape 2766"/>
          <p:cNvSpPr/>
          <p:nvPr/>
        </p:nvSpPr>
        <p:spPr>
          <a:xfrm>
            <a:off x="787871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7" name="Shape 2767"/>
          <p:cNvSpPr/>
          <p:nvPr/>
        </p:nvSpPr>
        <p:spPr>
          <a:xfrm>
            <a:off x="827866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8" name="Shape 2768"/>
          <p:cNvSpPr/>
          <p:nvPr/>
        </p:nvSpPr>
        <p:spPr>
          <a:xfrm>
            <a:off x="4679147" y="3946012"/>
            <a:ext cx="209495" cy="76181"/>
          </a:xfrm>
          <a:custGeom>
            <a:avLst/>
            <a:gdLst/>
            <a:ahLst/>
            <a:cxnLst>
              <a:cxn ang="0">
                <a:pos x="wd2" y="hd2"/>
              </a:cxn>
              <a:cxn ang="5400000">
                <a:pos x="wd2" y="hd2"/>
              </a:cxn>
              <a:cxn ang="10800000">
                <a:pos x="wd2" y="hd2"/>
              </a:cxn>
              <a:cxn ang="16200000">
                <a:pos x="wd2" y="hd2"/>
              </a:cxn>
            </a:cxnLst>
            <a:rect l="0" t="0" r="r" b="b"/>
            <a:pathLst>
              <a:path w="21600" h="21600" extrusionOk="0">
                <a:moveTo>
                  <a:pt x="17673" y="18900"/>
                </a:moveTo>
                <a:lnTo>
                  <a:pt x="11291" y="18900"/>
                </a:lnTo>
                <a:lnTo>
                  <a:pt x="11291" y="2700"/>
                </a:lnTo>
                <a:lnTo>
                  <a:pt x="17673" y="2700"/>
                </a:lnTo>
                <a:cubicBezTo>
                  <a:pt x="19300" y="2700"/>
                  <a:pt x="20618" y="6328"/>
                  <a:pt x="20618" y="10800"/>
                </a:cubicBezTo>
                <a:cubicBezTo>
                  <a:pt x="20618" y="15273"/>
                  <a:pt x="19300" y="18900"/>
                  <a:pt x="17673" y="18900"/>
                </a:cubicBezTo>
                <a:moveTo>
                  <a:pt x="6382" y="13500"/>
                </a:moveTo>
                <a:cubicBezTo>
                  <a:pt x="6111" y="13500"/>
                  <a:pt x="5891" y="12896"/>
                  <a:pt x="5891" y="12150"/>
                </a:cubicBezTo>
                <a:cubicBezTo>
                  <a:pt x="5891" y="11404"/>
                  <a:pt x="6111" y="10800"/>
                  <a:pt x="6382" y="10800"/>
                </a:cubicBezTo>
                <a:cubicBezTo>
                  <a:pt x="6653" y="10800"/>
                  <a:pt x="6873" y="11404"/>
                  <a:pt x="6873" y="12150"/>
                </a:cubicBezTo>
                <a:cubicBezTo>
                  <a:pt x="6873" y="12896"/>
                  <a:pt x="6653" y="13500"/>
                  <a:pt x="6382" y="13500"/>
                </a:cubicBezTo>
                <a:moveTo>
                  <a:pt x="3927" y="10800"/>
                </a:moveTo>
                <a:cubicBezTo>
                  <a:pt x="3385" y="10800"/>
                  <a:pt x="2945" y="9592"/>
                  <a:pt x="2945" y="8100"/>
                </a:cubicBezTo>
                <a:cubicBezTo>
                  <a:pt x="2945" y="6610"/>
                  <a:pt x="3385" y="5400"/>
                  <a:pt x="3927" y="5400"/>
                </a:cubicBezTo>
                <a:cubicBezTo>
                  <a:pt x="4469" y="5400"/>
                  <a:pt x="4909" y="6610"/>
                  <a:pt x="4909" y="8100"/>
                </a:cubicBezTo>
                <a:cubicBezTo>
                  <a:pt x="4909" y="9592"/>
                  <a:pt x="4469" y="10800"/>
                  <a:pt x="3927" y="10800"/>
                </a:cubicBezTo>
                <a:moveTo>
                  <a:pt x="17673" y="0"/>
                </a:moveTo>
                <a:lnTo>
                  <a:pt x="3927" y="0"/>
                </a:lnTo>
                <a:cubicBezTo>
                  <a:pt x="1758" y="0"/>
                  <a:pt x="0" y="4836"/>
                  <a:pt x="0" y="10800"/>
                </a:cubicBezTo>
                <a:cubicBezTo>
                  <a:pt x="0" y="16764"/>
                  <a:pt x="1758" y="21600"/>
                  <a:pt x="3927" y="21600"/>
                </a:cubicBezTo>
                <a:lnTo>
                  <a:pt x="17673" y="21600"/>
                </a:lnTo>
                <a:cubicBezTo>
                  <a:pt x="19842" y="21600"/>
                  <a:pt x="21600" y="16764"/>
                  <a:pt x="21600" y="10800"/>
                </a:cubicBezTo>
                <a:cubicBezTo>
                  <a:pt x="21600" y="4836"/>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9" name="Shape 2769"/>
          <p:cNvSpPr/>
          <p:nvPr/>
        </p:nvSpPr>
        <p:spPr>
          <a:xfrm>
            <a:off x="5107661"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 y="8836"/>
                </a:moveTo>
                <a:cubicBezTo>
                  <a:pt x="1350" y="7752"/>
                  <a:pt x="2559" y="6873"/>
                  <a:pt x="4050" y="6873"/>
                </a:cubicBezTo>
                <a:lnTo>
                  <a:pt x="17550" y="6873"/>
                </a:lnTo>
                <a:cubicBezTo>
                  <a:pt x="19041" y="6873"/>
                  <a:pt x="20250" y="7752"/>
                  <a:pt x="20250" y="8836"/>
                </a:cubicBezTo>
                <a:cubicBezTo>
                  <a:pt x="20250" y="8836"/>
                  <a:pt x="1350" y="8836"/>
                  <a:pt x="1350" y="8836"/>
                </a:cubicBezTo>
                <a:close/>
                <a:moveTo>
                  <a:pt x="14850" y="12764"/>
                </a:moveTo>
                <a:lnTo>
                  <a:pt x="14850" y="14727"/>
                </a:lnTo>
                <a:lnTo>
                  <a:pt x="12150" y="14727"/>
                </a:lnTo>
                <a:lnTo>
                  <a:pt x="12150" y="16691"/>
                </a:lnTo>
                <a:lnTo>
                  <a:pt x="9450" y="16691"/>
                </a:lnTo>
                <a:lnTo>
                  <a:pt x="9450" y="14727"/>
                </a:lnTo>
                <a:lnTo>
                  <a:pt x="6750" y="14727"/>
                </a:lnTo>
                <a:lnTo>
                  <a:pt x="6750" y="12764"/>
                </a:lnTo>
                <a:lnTo>
                  <a:pt x="9450" y="12764"/>
                </a:lnTo>
                <a:lnTo>
                  <a:pt x="9450" y="10800"/>
                </a:lnTo>
                <a:lnTo>
                  <a:pt x="12150" y="10800"/>
                </a:lnTo>
                <a:lnTo>
                  <a:pt x="12150" y="12764"/>
                </a:lnTo>
                <a:cubicBezTo>
                  <a:pt x="12150" y="12764"/>
                  <a:pt x="14850" y="12764"/>
                  <a:pt x="14850" y="12764"/>
                </a:cubicBezTo>
                <a:close/>
                <a:moveTo>
                  <a:pt x="17550" y="20618"/>
                </a:moveTo>
                <a:lnTo>
                  <a:pt x="4050" y="20618"/>
                </a:lnTo>
                <a:cubicBezTo>
                  <a:pt x="2559" y="20618"/>
                  <a:pt x="1350" y="19739"/>
                  <a:pt x="1350" y="18655"/>
                </a:cubicBezTo>
                <a:lnTo>
                  <a:pt x="20250" y="18655"/>
                </a:lnTo>
                <a:cubicBezTo>
                  <a:pt x="20250" y="19739"/>
                  <a:pt x="19041" y="20618"/>
                  <a:pt x="17550" y="20618"/>
                </a:cubicBezTo>
                <a:moveTo>
                  <a:pt x="6750" y="2945"/>
                </a:moveTo>
                <a:lnTo>
                  <a:pt x="14850" y="2945"/>
                </a:lnTo>
                <a:lnTo>
                  <a:pt x="14850" y="4909"/>
                </a:lnTo>
                <a:lnTo>
                  <a:pt x="6750" y="4909"/>
                </a:lnTo>
                <a:cubicBezTo>
                  <a:pt x="6750" y="4909"/>
                  <a:pt x="6750" y="2945"/>
                  <a:pt x="6750" y="2945"/>
                </a:cubicBezTo>
                <a:close/>
                <a:moveTo>
                  <a:pt x="6750" y="982"/>
                </a:moveTo>
                <a:lnTo>
                  <a:pt x="14850" y="982"/>
                </a:lnTo>
                <a:lnTo>
                  <a:pt x="14850" y="1964"/>
                </a:lnTo>
                <a:lnTo>
                  <a:pt x="6750" y="1964"/>
                </a:lnTo>
                <a:cubicBezTo>
                  <a:pt x="6750" y="1964"/>
                  <a:pt x="6750" y="982"/>
                  <a:pt x="6750" y="982"/>
                </a:cubicBezTo>
                <a:close/>
                <a:moveTo>
                  <a:pt x="17550" y="5891"/>
                </a:moveTo>
                <a:lnTo>
                  <a:pt x="16200" y="5891"/>
                </a:lnTo>
                <a:lnTo>
                  <a:pt x="16200" y="4909"/>
                </a:lnTo>
                <a:lnTo>
                  <a:pt x="16200" y="982"/>
                </a:lnTo>
                <a:cubicBezTo>
                  <a:pt x="16200" y="440"/>
                  <a:pt x="15595" y="0"/>
                  <a:pt x="14850" y="0"/>
                </a:cubicBezTo>
                <a:lnTo>
                  <a:pt x="6750" y="0"/>
                </a:lnTo>
                <a:cubicBezTo>
                  <a:pt x="6005" y="0"/>
                  <a:pt x="5400" y="440"/>
                  <a:pt x="5400" y="982"/>
                </a:cubicBezTo>
                <a:lnTo>
                  <a:pt x="5400" y="4909"/>
                </a:lnTo>
                <a:lnTo>
                  <a:pt x="5400" y="5891"/>
                </a:lnTo>
                <a:lnTo>
                  <a:pt x="4050" y="5891"/>
                </a:lnTo>
                <a:cubicBezTo>
                  <a:pt x="1813" y="5891"/>
                  <a:pt x="0" y="7210"/>
                  <a:pt x="0" y="8836"/>
                </a:cubicBezTo>
                <a:lnTo>
                  <a:pt x="0" y="18655"/>
                </a:lnTo>
                <a:cubicBezTo>
                  <a:pt x="0" y="20282"/>
                  <a:pt x="1813" y="21600"/>
                  <a:pt x="4050" y="21600"/>
                </a:cubicBezTo>
                <a:lnTo>
                  <a:pt x="17550" y="21600"/>
                </a:lnTo>
                <a:cubicBezTo>
                  <a:pt x="19787" y="21600"/>
                  <a:pt x="21600" y="20282"/>
                  <a:pt x="21600" y="18655"/>
                </a:cubicBezTo>
                <a:lnTo>
                  <a:pt x="21600" y="8836"/>
                </a:lnTo>
                <a:cubicBezTo>
                  <a:pt x="21600" y="7210"/>
                  <a:pt x="19787" y="5891"/>
                  <a:pt x="1755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0" name="Shape 2770"/>
          <p:cNvSpPr/>
          <p:nvPr/>
        </p:nvSpPr>
        <p:spPr>
          <a:xfrm>
            <a:off x="5479040"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1" name="Shape 2771"/>
          <p:cNvSpPr/>
          <p:nvPr/>
        </p:nvSpPr>
        <p:spPr>
          <a:xfrm>
            <a:off x="5878985"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8836"/>
                </a:moveTo>
                <a:cubicBezTo>
                  <a:pt x="15812" y="8836"/>
                  <a:pt x="16691" y="9716"/>
                  <a:pt x="16691" y="10800"/>
                </a:cubicBezTo>
                <a:cubicBezTo>
                  <a:pt x="16691" y="11884"/>
                  <a:pt x="15812" y="12764"/>
                  <a:pt x="14727" y="12764"/>
                </a:cubicBezTo>
                <a:cubicBezTo>
                  <a:pt x="13643" y="12764"/>
                  <a:pt x="12764" y="11884"/>
                  <a:pt x="12764" y="10800"/>
                </a:cubicBezTo>
                <a:cubicBezTo>
                  <a:pt x="12764" y="9716"/>
                  <a:pt x="13643" y="8836"/>
                  <a:pt x="14727" y="8836"/>
                </a:cubicBezTo>
                <a:moveTo>
                  <a:pt x="14727" y="13745"/>
                </a:moveTo>
                <a:cubicBezTo>
                  <a:pt x="16354" y="13745"/>
                  <a:pt x="17673" y="12427"/>
                  <a:pt x="17673" y="10800"/>
                </a:cubicBezTo>
                <a:cubicBezTo>
                  <a:pt x="17673" y="9174"/>
                  <a:pt x="16354" y="7855"/>
                  <a:pt x="14727" y="7855"/>
                </a:cubicBezTo>
                <a:cubicBezTo>
                  <a:pt x="13100" y="7855"/>
                  <a:pt x="11782" y="9174"/>
                  <a:pt x="11782" y="10800"/>
                </a:cubicBezTo>
                <a:cubicBezTo>
                  <a:pt x="11782" y="12427"/>
                  <a:pt x="13100" y="13745"/>
                  <a:pt x="14727" y="13745"/>
                </a:cubicBezTo>
                <a:moveTo>
                  <a:pt x="6873" y="7308"/>
                </a:moveTo>
                <a:lnTo>
                  <a:pt x="8442" y="9818"/>
                </a:lnTo>
                <a:lnTo>
                  <a:pt x="5304" y="9818"/>
                </a:lnTo>
                <a:cubicBezTo>
                  <a:pt x="5304" y="9818"/>
                  <a:pt x="6873" y="7308"/>
                  <a:pt x="6873" y="7308"/>
                </a:cubicBezTo>
                <a:close/>
                <a:moveTo>
                  <a:pt x="4418" y="10800"/>
                </a:moveTo>
                <a:lnTo>
                  <a:pt x="9327" y="10800"/>
                </a:lnTo>
                <a:cubicBezTo>
                  <a:pt x="9598" y="10800"/>
                  <a:pt x="9818" y="10580"/>
                  <a:pt x="9818" y="10309"/>
                </a:cubicBezTo>
                <a:cubicBezTo>
                  <a:pt x="9818" y="10208"/>
                  <a:pt x="9780" y="10120"/>
                  <a:pt x="9728" y="10042"/>
                </a:cubicBezTo>
                <a:lnTo>
                  <a:pt x="9736" y="10037"/>
                </a:lnTo>
                <a:lnTo>
                  <a:pt x="7281" y="6110"/>
                </a:lnTo>
                <a:lnTo>
                  <a:pt x="7274" y="6114"/>
                </a:lnTo>
                <a:cubicBezTo>
                  <a:pt x="7186" y="5983"/>
                  <a:pt x="7043" y="5891"/>
                  <a:pt x="6873" y="5891"/>
                </a:cubicBezTo>
                <a:cubicBezTo>
                  <a:pt x="6702" y="5891"/>
                  <a:pt x="6560" y="5983"/>
                  <a:pt x="6472" y="6114"/>
                </a:cubicBezTo>
                <a:lnTo>
                  <a:pt x="6464" y="6110"/>
                </a:lnTo>
                <a:lnTo>
                  <a:pt x="4010" y="10037"/>
                </a:lnTo>
                <a:lnTo>
                  <a:pt x="4018" y="10042"/>
                </a:lnTo>
                <a:cubicBezTo>
                  <a:pt x="3965" y="10120"/>
                  <a:pt x="3927" y="10208"/>
                  <a:pt x="3927" y="10309"/>
                </a:cubicBezTo>
                <a:cubicBezTo>
                  <a:pt x="3927" y="10580"/>
                  <a:pt x="4147" y="10800"/>
                  <a:pt x="4418" y="10800"/>
                </a:cubicBezTo>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2" name="Shape 2772"/>
          <p:cNvSpPr/>
          <p:nvPr/>
        </p:nvSpPr>
        <p:spPr>
          <a:xfrm>
            <a:off x="6278931"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3" name="Shape 2773"/>
          <p:cNvSpPr/>
          <p:nvPr/>
        </p:nvSpPr>
        <p:spPr>
          <a:xfrm>
            <a:off x="6678877"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8"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4909" y="12764"/>
                </a:moveTo>
                <a:cubicBezTo>
                  <a:pt x="5180" y="12764"/>
                  <a:pt x="5400" y="12544"/>
                  <a:pt x="5400" y="12273"/>
                </a:cubicBezTo>
                <a:cubicBezTo>
                  <a:pt x="5400" y="9290"/>
                  <a:pt x="7818" y="6873"/>
                  <a:pt x="10800" y="6873"/>
                </a:cubicBezTo>
                <a:cubicBezTo>
                  <a:pt x="13782" y="6873"/>
                  <a:pt x="16200" y="9290"/>
                  <a:pt x="16200" y="12273"/>
                </a:cubicBezTo>
                <a:cubicBezTo>
                  <a:pt x="16200" y="12544"/>
                  <a:pt x="16420" y="12764"/>
                  <a:pt x="16691" y="12764"/>
                </a:cubicBezTo>
                <a:cubicBezTo>
                  <a:pt x="16962" y="12764"/>
                  <a:pt x="17182" y="12544"/>
                  <a:pt x="17182" y="12273"/>
                </a:cubicBezTo>
                <a:cubicBezTo>
                  <a:pt x="17182" y="8748"/>
                  <a:pt x="14325" y="5891"/>
                  <a:pt x="10800" y="5891"/>
                </a:cubicBezTo>
                <a:cubicBezTo>
                  <a:pt x="7275" y="5891"/>
                  <a:pt x="4418" y="8748"/>
                  <a:pt x="4418" y="12273"/>
                </a:cubicBezTo>
                <a:cubicBezTo>
                  <a:pt x="4418" y="12544"/>
                  <a:pt x="4638" y="12764"/>
                  <a:pt x="4909" y="12764"/>
                </a:cubicBezTo>
                <a:moveTo>
                  <a:pt x="10800" y="11782"/>
                </a:moveTo>
                <a:cubicBezTo>
                  <a:pt x="10529" y="11782"/>
                  <a:pt x="10309" y="12002"/>
                  <a:pt x="10309" y="12273"/>
                </a:cubicBezTo>
                <a:cubicBezTo>
                  <a:pt x="10309" y="12544"/>
                  <a:pt x="10529" y="12764"/>
                  <a:pt x="10800" y="12764"/>
                </a:cubicBezTo>
                <a:cubicBezTo>
                  <a:pt x="11071" y="12764"/>
                  <a:pt x="11291" y="12544"/>
                  <a:pt x="11291" y="12273"/>
                </a:cubicBezTo>
                <a:cubicBezTo>
                  <a:pt x="11291" y="12002"/>
                  <a:pt x="11071" y="11782"/>
                  <a:pt x="10800" y="11782"/>
                </a:cubicBezTo>
                <a:moveTo>
                  <a:pt x="10800" y="8836"/>
                </a:moveTo>
                <a:cubicBezTo>
                  <a:pt x="8903" y="8836"/>
                  <a:pt x="7364" y="10375"/>
                  <a:pt x="7364" y="12273"/>
                </a:cubicBezTo>
                <a:cubicBezTo>
                  <a:pt x="7364" y="12544"/>
                  <a:pt x="7583" y="12764"/>
                  <a:pt x="7855" y="12764"/>
                </a:cubicBezTo>
                <a:cubicBezTo>
                  <a:pt x="8126" y="12764"/>
                  <a:pt x="8345" y="12544"/>
                  <a:pt x="8345" y="12273"/>
                </a:cubicBezTo>
                <a:cubicBezTo>
                  <a:pt x="8345" y="10917"/>
                  <a:pt x="9444" y="9818"/>
                  <a:pt x="10800" y="9818"/>
                </a:cubicBezTo>
                <a:cubicBezTo>
                  <a:pt x="12156" y="9818"/>
                  <a:pt x="13255" y="10917"/>
                  <a:pt x="13255" y="12273"/>
                </a:cubicBezTo>
                <a:cubicBezTo>
                  <a:pt x="13255" y="12544"/>
                  <a:pt x="13474" y="12764"/>
                  <a:pt x="13745" y="12764"/>
                </a:cubicBezTo>
                <a:cubicBezTo>
                  <a:pt x="14017" y="12764"/>
                  <a:pt x="14236" y="12544"/>
                  <a:pt x="14236" y="12273"/>
                </a:cubicBezTo>
                <a:cubicBezTo>
                  <a:pt x="14236" y="10375"/>
                  <a:pt x="12698" y="8836"/>
                  <a:pt x="108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4" name="Shape 2774"/>
          <p:cNvSpPr/>
          <p:nvPr/>
        </p:nvSpPr>
        <p:spPr>
          <a:xfrm>
            <a:off x="7078822"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5" name="Shape 2775"/>
          <p:cNvSpPr/>
          <p:nvPr/>
        </p:nvSpPr>
        <p:spPr>
          <a:xfrm>
            <a:off x="7478768" y="3912684"/>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6" name="Shape 2776"/>
          <p:cNvSpPr/>
          <p:nvPr/>
        </p:nvSpPr>
        <p:spPr>
          <a:xfrm>
            <a:off x="7926326" y="3879355"/>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7" name="Shape 2777"/>
          <p:cNvSpPr/>
          <p:nvPr/>
        </p:nvSpPr>
        <p:spPr>
          <a:xfrm>
            <a:off x="8307228"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8" name="Shape 2778"/>
          <p:cNvSpPr/>
          <p:nvPr/>
        </p:nvSpPr>
        <p:spPr>
          <a:xfrm>
            <a:off x="4679147"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9" name="Shape 2779"/>
          <p:cNvSpPr/>
          <p:nvPr/>
        </p:nvSpPr>
        <p:spPr>
          <a:xfrm>
            <a:off x="5107661" y="4279300"/>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0" name="Shape 2780"/>
          <p:cNvSpPr/>
          <p:nvPr/>
        </p:nvSpPr>
        <p:spPr>
          <a:xfrm>
            <a:off x="5536175" y="4279300"/>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4727"/>
                </a:moveTo>
                <a:lnTo>
                  <a:pt x="2160" y="14727"/>
                </a:lnTo>
                <a:lnTo>
                  <a:pt x="2160" y="4909"/>
                </a:lnTo>
                <a:cubicBezTo>
                  <a:pt x="2160" y="2740"/>
                  <a:pt x="6028" y="982"/>
                  <a:pt x="10800" y="982"/>
                </a:cubicBezTo>
                <a:cubicBezTo>
                  <a:pt x="15571" y="982"/>
                  <a:pt x="19440" y="2740"/>
                  <a:pt x="19440" y="4909"/>
                </a:cubicBezTo>
                <a:cubicBezTo>
                  <a:pt x="19440" y="4909"/>
                  <a:pt x="19440" y="14727"/>
                  <a:pt x="19440" y="14727"/>
                </a:cubicBezTo>
                <a:close/>
                <a:moveTo>
                  <a:pt x="10800" y="0"/>
                </a:moveTo>
                <a:cubicBezTo>
                  <a:pt x="4835" y="0"/>
                  <a:pt x="0" y="2198"/>
                  <a:pt x="0" y="4909"/>
                </a:cubicBezTo>
                <a:lnTo>
                  <a:pt x="0" y="14727"/>
                </a:lnTo>
                <a:cubicBezTo>
                  <a:pt x="0" y="15269"/>
                  <a:pt x="968" y="15709"/>
                  <a:pt x="2160" y="15709"/>
                </a:cubicBezTo>
                <a:lnTo>
                  <a:pt x="9720" y="15709"/>
                </a:lnTo>
                <a:lnTo>
                  <a:pt x="9720" y="21109"/>
                </a:lnTo>
                <a:cubicBezTo>
                  <a:pt x="9720" y="21380"/>
                  <a:pt x="10204" y="21600"/>
                  <a:pt x="10800" y="21600"/>
                </a:cubicBezTo>
                <a:cubicBezTo>
                  <a:pt x="11396" y="21600"/>
                  <a:pt x="11880" y="21380"/>
                  <a:pt x="11880" y="21109"/>
                </a:cubicBezTo>
                <a:lnTo>
                  <a:pt x="11880" y="15709"/>
                </a:lnTo>
                <a:lnTo>
                  <a:pt x="19440" y="15709"/>
                </a:lnTo>
                <a:cubicBezTo>
                  <a:pt x="20632" y="15709"/>
                  <a:pt x="21600" y="15269"/>
                  <a:pt x="21600" y="14727"/>
                </a:cubicBezTo>
                <a:lnTo>
                  <a:pt x="21600" y="4909"/>
                </a:lnTo>
                <a:cubicBezTo>
                  <a:pt x="21600" y="2198"/>
                  <a:pt x="16765" y="0"/>
                  <a:pt x="10800" y="0"/>
                </a:cubicBezTo>
                <a:moveTo>
                  <a:pt x="7560" y="4909"/>
                </a:moveTo>
                <a:cubicBezTo>
                  <a:pt x="6964" y="4909"/>
                  <a:pt x="6480" y="5129"/>
                  <a:pt x="6480" y="5400"/>
                </a:cubicBezTo>
                <a:lnTo>
                  <a:pt x="6480" y="12273"/>
                </a:lnTo>
                <a:cubicBezTo>
                  <a:pt x="6480" y="12544"/>
                  <a:pt x="6964" y="12764"/>
                  <a:pt x="7560" y="12764"/>
                </a:cubicBezTo>
                <a:cubicBezTo>
                  <a:pt x="8156" y="12764"/>
                  <a:pt x="8640" y="12544"/>
                  <a:pt x="8640" y="12273"/>
                </a:cubicBezTo>
                <a:lnTo>
                  <a:pt x="8640" y="5400"/>
                </a:lnTo>
                <a:cubicBezTo>
                  <a:pt x="8640" y="5129"/>
                  <a:pt x="8156" y="4909"/>
                  <a:pt x="7560" y="4909"/>
                </a:cubicBezTo>
                <a:moveTo>
                  <a:pt x="14040" y="4909"/>
                </a:moveTo>
                <a:cubicBezTo>
                  <a:pt x="13444" y="4909"/>
                  <a:pt x="12960" y="5129"/>
                  <a:pt x="12960" y="5400"/>
                </a:cubicBezTo>
                <a:lnTo>
                  <a:pt x="12960" y="12273"/>
                </a:lnTo>
                <a:cubicBezTo>
                  <a:pt x="12960" y="12544"/>
                  <a:pt x="13444" y="12764"/>
                  <a:pt x="14040" y="12764"/>
                </a:cubicBezTo>
                <a:cubicBezTo>
                  <a:pt x="14636" y="12764"/>
                  <a:pt x="15120" y="12544"/>
                  <a:pt x="15120" y="12273"/>
                </a:cubicBezTo>
                <a:lnTo>
                  <a:pt x="15120" y="5400"/>
                </a:lnTo>
                <a:cubicBezTo>
                  <a:pt x="15120" y="5129"/>
                  <a:pt x="14636" y="4909"/>
                  <a:pt x="1404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1" name="Shape 2781"/>
          <p:cNvSpPr/>
          <p:nvPr/>
        </p:nvSpPr>
        <p:spPr>
          <a:xfrm>
            <a:off x="5878985"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6873"/>
                </a:moveTo>
                <a:cubicBezTo>
                  <a:pt x="6162" y="6873"/>
                  <a:pt x="6382" y="6653"/>
                  <a:pt x="6382" y="6382"/>
                </a:cubicBezTo>
                <a:lnTo>
                  <a:pt x="6382" y="1473"/>
                </a:lnTo>
                <a:cubicBezTo>
                  <a:pt x="6382" y="1201"/>
                  <a:pt x="6162" y="982"/>
                  <a:pt x="5891" y="982"/>
                </a:cubicBezTo>
                <a:cubicBezTo>
                  <a:pt x="5620" y="982"/>
                  <a:pt x="5400" y="1201"/>
                  <a:pt x="5400" y="1473"/>
                </a:cubicBezTo>
                <a:lnTo>
                  <a:pt x="5400" y="6382"/>
                </a:lnTo>
                <a:cubicBezTo>
                  <a:pt x="5400" y="6653"/>
                  <a:pt x="5620" y="6873"/>
                  <a:pt x="5891" y="6873"/>
                </a:cubicBezTo>
                <a:moveTo>
                  <a:pt x="2945" y="5891"/>
                </a:moveTo>
                <a:cubicBezTo>
                  <a:pt x="3216" y="5891"/>
                  <a:pt x="3436" y="5671"/>
                  <a:pt x="3436" y="5400"/>
                </a:cubicBezTo>
                <a:lnTo>
                  <a:pt x="3436" y="2455"/>
                </a:lnTo>
                <a:cubicBezTo>
                  <a:pt x="3436" y="2183"/>
                  <a:pt x="3216" y="1964"/>
                  <a:pt x="2945" y="1964"/>
                </a:cubicBezTo>
                <a:cubicBezTo>
                  <a:pt x="2675" y="1964"/>
                  <a:pt x="2455" y="2183"/>
                  <a:pt x="2455" y="2455"/>
                </a:cubicBezTo>
                <a:lnTo>
                  <a:pt x="2455" y="5400"/>
                </a:lnTo>
                <a:cubicBezTo>
                  <a:pt x="2455" y="5671"/>
                  <a:pt x="2675" y="5891"/>
                  <a:pt x="2945" y="5891"/>
                </a:cubicBezTo>
                <a:moveTo>
                  <a:pt x="18655" y="15218"/>
                </a:moveTo>
                <a:lnTo>
                  <a:pt x="17648" y="15218"/>
                </a:lnTo>
                <a:cubicBezTo>
                  <a:pt x="17660" y="15056"/>
                  <a:pt x="17673" y="14893"/>
                  <a:pt x="17673" y="14727"/>
                </a:cubicBezTo>
                <a:lnTo>
                  <a:pt x="17673" y="11291"/>
                </a:lnTo>
                <a:lnTo>
                  <a:pt x="18655" y="11291"/>
                </a:lnTo>
                <a:cubicBezTo>
                  <a:pt x="19739" y="11291"/>
                  <a:pt x="20618" y="12170"/>
                  <a:pt x="20618" y="13255"/>
                </a:cubicBezTo>
                <a:cubicBezTo>
                  <a:pt x="20618" y="14339"/>
                  <a:pt x="19739" y="15218"/>
                  <a:pt x="18655" y="15218"/>
                </a:cubicBezTo>
                <a:moveTo>
                  <a:pt x="16691" y="14727"/>
                </a:moveTo>
                <a:cubicBezTo>
                  <a:pt x="16691" y="15802"/>
                  <a:pt x="16399" y="16805"/>
                  <a:pt x="15896" y="17673"/>
                </a:cubicBezTo>
                <a:lnTo>
                  <a:pt x="1777" y="17673"/>
                </a:lnTo>
                <a:cubicBezTo>
                  <a:pt x="1274" y="16805"/>
                  <a:pt x="982" y="15802"/>
                  <a:pt x="982" y="14727"/>
                </a:cubicBezTo>
                <a:lnTo>
                  <a:pt x="982" y="8836"/>
                </a:lnTo>
                <a:lnTo>
                  <a:pt x="16691" y="8836"/>
                </a:lnTo>
                <a:cubicBezTo>
                  <a:pt x="16691" y="8836"/>
                  <a:pt x="16691" y="14727"/>
                  <a:pt x="16691" y="14727"/>
                </a:cubicBezTo>
                <a:close/>
                <a:moveTo>
                  <a:pt x="10800" y="20618"/>
                </a:moveTo>
                <a:lnTo>
                  <a:pt x="6873" y="20618"/>
                </a:lnTo>
                <a:cubicBezTo>
                  <a:pt x="5131" y="20618"/>
                  <a:pt x="3569" y="19857"/>
                  <a:pt x="2491" y="18655"/>
                </a:cubicBezTo>
                <a:lnTo>
                  <a:pt x="15182" y="18655"/>
                </a:lnTo>
                <a:cubicBezTo>
                  <a:pt x="14103" y="19857"/>
                  <a:pt x="12542" y="20618"/>
                  <a:pt x="10800" y="20618"/>
                </a:cubicBezTo>
                <a:moveTo>
                  <a:pt x="18655" y="10309"/>
                </a:moveTo>
                <a:lnTo>
                  <a:pt x="17673" y="10309"/>
                </a:lnTo>
                <a:lnTo>
                  <a:pt x="17673" y="8836"/>
                </a:lnTo>
                <a:cubicBezTo>
                  <a:pt x="17673" y="8295"/>
                  <a:pt x="17233" y="7855"/>
                  <a:pt x="16691" y="7855"/>
                </a:cubicBezTo>
                <a:lnTo>
                  <a:pt x="982" y="7855"/>
                </a:lnTo>
                <a:cubicBezTo>
                  <a:pt x="440" y="7855"/>
                  <a:pt x="0" y="8295"/>
                  <a:pt x="0" y="8836"/>
                </a:cubicBezTo>
                <a:lnTo>
                  <a:pt x="0" y="14727"/>
                </a:lnTo>
                <a:cubicBezTo>
                  <a:pt x="0" y="17232"/>
                  <a:pt x="1344" y="19417"/>
                  <a:pt x="3346" y="20618"/>
                </a:cubicBezTo>
                <a:lnTo>
                  <a:pt x="491" y="20618"/>
                </a:lnTo>
                <a:cubicBezTo>
                  <a:pt x="220" y="20618"/>
                  <a:pt x="0" y="20838"/>
                  <a:pt x="0" y="21109"/>
                </a:cubicBezTo>
                <a:cubicBezTo>
                  <a:pt x="0" y="21380"/>
                  <a:pt x="220" y="21600"/>
                  <a:pt x="491" y="21600"/>
                </a:cubicBezTo>
                <a:lnTo>
                  <a:pt x="17182" y="21600"/>
                </a:lnTo>
                <a:cubicBezTo>
                  <a:pt x="17453" y="21600"/>
                  <a:pt x="17673" y="21380"/>
                  <a:pt x="17673" y="21109"/>
                </a:cubicBezTo>
                <a:cubicBezTo>
                  <a:pt x="17673" y="20838"/>
                  <a:pt x="17453" y="20618"/>
                  <a:pt x="17182" y="20618"/>
                </a:cubicBezTo>
                <a:lnTo>
                  <a:pt x="14330" y="20618"/>
                </a:lnTo>
                <a:cubicBezTo>
                  <a:pt x="15925" y="19659"/>
                  <a:pt x="17101" y="18074"/>
                  <a:pt x="17511" y="16200"/>
                </a:cubicBezTo>
                <a:lnTo>
                  <a:pt x="18655" y="16200"/>
                </a:lnTo>
                <a:cubicBezTo>
                  <a:pt x="20281" y="16200"/>
                  <a:pt x="21600" y="14882"/>
                  <a:pt x="21600" y="13255"/>
                </a:cubicBezTo>
                <a:cubicBezTo>
                  <a:pt x="21600" y="11628"/>
                  <a:pt x="20281" y="10309"/>
                  <a:pt x="18655" y="10309"/>
                </a:cubicBezTo>
                <a:moveTo>
                  <a:pt x="11782" y="5891"/>
                </a:moveTo>
                <a:cubicBezTo>
                  <a:pt x="12053" y="5891"/>
                  <a:pt x="12273" y="5671"/>
                  <a:pt x="12273" y="5400"/>
                </a:cubicBezTo>
                <a:lnTo>
                  <a:pt x="12273" y="2455"/>
                </a:lnTo>
                <a:cubicBezTo>
                  <a:pt x="12273" y="2183"/>
                  <a:pt x="12053" y="1964"/>
                  <a:pt x="11782" y="1964"/>
                </a:cubicBezTo>
                <a:cubicBezTo>
                  <a:pt x="11511" y="1964"/>
                  <a:pt x="11291" y="2183"/>
                  <a:pt x="11291" y="2455"/>
                </a:cubicBezTo>
                <a:lnTo>
                  <a:pt x="11291" y="5400"/>
                </a:lnTo>
                <a:cubicBezTo>
                  <a:pt x="11291" y="5671"/>
                  <a:pt x="11511" y="5891"/>
                  <a:pt x="11782" y="5891"/>
                </a:cubicBezTo>
                <a:moveTo>
                  <a:pt x="14727" y="6873"/>
                </a:moveTo>
                <a:cubicBezTo>
                  <a:pt x="14998" y="6873"/>
                  <a:pt x="15218" y="6653"/>
                  <a:pt x="15218" y="6382"/>
                </a:cubicBezTo>
                <a:lnTo>
                  <a:pt x="15218" y="1473"/>
                </a:lnTo>
                <a:cubicBezTo>
                  <a:pt x="15218" y="1201"/>
                  <a:pt x="14998" y="982"/>
                  <a:pt x="14727" y="982"/>
                </a:cubicBezTo>
                <a:cubicBezTo>
                  <a:pt x="14456" y="982"/>
                  <a:pt x="14236" y="1201"/>
                  <a:pt x="14236" y="1473"/>
                </a:cubicBezTo>
                <a:lnTo>
                  <a:pt x="14236" y="6382"/>
                </a:lnTo>
                <a:cubicBezTo>
                  <a:pt x="14236" y="6653"/>
                  <a:pt x="14456" y="6873"/>
                  <a:pt x="14727" y="6873"/>
                </a:cubicBezTo>
                <a:moveTo>
                  <a:pt x="8836" y="5891"/>
                </a:moveTo>
                <a:cubicBezTo>
                  <a:pt x="9107" y="5891"/>
                  <a:pt x="9327" y="5671"/>
                  <a:pt x="9327" y="5400"/>
                </a:cubicBezTo>
                <a:lnTo>
                  <a:pt x="9327" y="491"/>
                </a:lnTo>
                <a:cubicBezTo>
                  <a:pt x="9327" y="220"/>
                  <a:pt x="9107" y="0"/>
                  <a:pt x="8836" y="0"/>
                </a:cubicBezTo>
                <a:cubicBezTo>
                  <a:pt x="8566" y="0"/>
                  <a:pt x="8345" y="220"/>
                  <a:pt x="8345" y="491"/>
                </a:cubicBezTo>
                <a:lnTo>
                  <a:pt x="8345" y="5400"/>
                </a:lnTo>
                <a:cubicBezTo>
                  <a:pt x="8345" y="5671"/>
                  <a:pt x="8566" y="5891"/>
                  <a:pt x="8836"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2" name="Shape 2782"/>
          <p:cNvSpPr/>
          <p:nvPr/>
        </p:nvSpPr>
        <p:spPr>
          <a:xfrm>
            <a:off x="6278931" y="4293584"/>
            <a:ext cx="209697" cy="180970"/>
          </a:xfrm>
          <a:custGeom>
            <a:avLst/>
            <a:gdLst/>
            <a:ahLst/>
            <a:cxnLst>
              <a:cxn ang="0">
                <a:pos x="wd2" y="hd2"/>
              </a:cxn>
              <a:cxn ang="5400000">
                <a:pos x="wd2" y="hd2"/>
              </a:cxn>
              <a:cxn ang="10800000">
                <a:pos x="wd2" y="hd2"/>
              </a:cxn>
              <a:cxn ang="16200000">
                <a:pos x="wd2" y="hd2"/>
              </a:cxn>
            </a:cxnLst>
            <a:rect l="0" t="0" r="r" b="b"/>
            <a:pathLst>
              <a:path w="20683" h="20545" extrusionOk="0">
                <a:moveTo>
                  <a:pt x="9621" y="9676"/>
                </a:moveTo>
                <a:cubicBezTo>
                  <a:pt x="9621" y="9676"/>
                  <a:pt x="9621" y="9675"/>
                  <a:pt x="9621" y="9675"/>
                </a:cubicBezTo>
                <a:lnTo>
                  <a:pt x="9620" y="9674"/>
                </a:lnTo>
                <a:cubicBezTo>
                  <a:pt x="9620" y="9674"/>
                  <a:pt x="9621" y="9676"/>
                  <a:pt x="9621" y="9676"/>
                </a:cubicBezTo>
                <a:close/>
                <a:moveTo>
                  <a:pt x="19582" y="1266"/>
                </a:moveTo>
                <a:cubicBezTo>
                  <a:pt x="18115" y="-422"/>
                  <a:pt x="15737" y="-422"/>
                  <a:pt x="14270" y="1266"/>
                </a:cubicBezTo>
                <a:lnTo>
                  <a:pt x="14934" y="2030"/>
                </a:lnTo>
                <a:cubicBezTo>
                  <a:pt x="16034" y="765"/>
                  <a:pt x="17818" y="765"/>
                  <a:pt x="18918" y="2030"/>
                </a:cubicBezTo>
                <a:cubicBezTo>
                  <a:pt x="20019" y="3297"/>
                  <a:pt x="20019" y="5351"/>
                  <a:pt x="18918" y="6618"/>
                </a:cubicBezTo>
                <a:lnTo>
                  <a:pt x="8956" y="17881"/>
                </a:lnTo>
                <a:lnTo>
                  <a:pt x="9621" y="18645"/>
                </a:lnTo>
                <a:lnTo>
                  <a:pt x="19582" y="7382"/>
                </a:lnTo>
                <a:cubicBezTo>
                  <a:pt x="21050" y="5693"/>
                  <a:pt x="21050" y="2955"/>
                  <a:pt x="19582" y="1266"/>
                </a:cubicBezTo>
                <a:moveTo>
                  <a:pt x="2315" y="17881"/>
                </a:moveTo>
                <a:cubicBezTo>
                  <a:pt x="481" y="15770"/>
                  <a:pt x="481" y="12551"/>
                  <a:pt x="2315" y="10439"/>
                </a:cubicBezTo>
                <a:cubicBezTo>
                  <a:pt x="2317" y="10437"/>
                  <a:pt x="2320" y="10434"/>
                  <a:pt x="2323" y="10431"/>
                </a:cubicBezTo>
                <a:lnTo>
                  <a:pt x="2323" y="10431"/>
                </a:lnTo>
                <a:lnTo>
                  <a:pt x="9289" y="2413"/>
                </a:lnTo>
                <a:cubicBezTo>
                  <a:pt x="9472" y="2201"/>
                  <a:pt x="9472" y="1859"/>
                  <a:pt x="9289" y="1648"/>
                </a:cubicBezTo>
                <a:cubicBezTo>
                  <a:pt x="9105" y="1437"/>
                  <a:pt x="8808" y="1437"/>
                  <a:pt x="8624" y="1648"/>
                </a:cubicBezTo>
                <a:lnTo>
                  <a:pt x="1651" y="9675"/>
                </a:lnTo>
                <a:cubicBezTo>
                  <a:pt x="-550" y="12208"/>
                  <a:pt x="-550" y="16112"/>
                  <a:pt x="1651" y="18645"/>
                </a:cubicBezTo>
                <a:cubicBezTo>
                  <a:pt x="3852" y="21178"/>
                  <a:pt x="7420" y="21178"/>
                  <a:pt x="9621" y="18645"/>
                </a:cubicBezTo>
                <a:lnTo>
                  <a:pt x="8948" y="17889"/>
                </a:lnTo>
                <a:cubicBezTo>
                  <a:pt x="7114" y="19991"/>
                  <a:pt x="4147" y="19989"/>
                  <a:pt x="2315" y="17881"/>
                </a:cubicBezTo>
                <a:moveTo>
                  <a:pt x="6300" y="13497"/>
                </a:moveTo>
                <a:cubicBezTo>
                  <a:pt x="7033" y="14341"/>
                  <a:pt x="8223" y="14341"/>
                  <a:pt x="8956" y="13497"/>
                </a:cubicBezTo>
                <a:lnTo>
                  <a:pt x="13937" y="7764"/>
                </a:lnTo>
                <a:cubicBezTo>
                  <a:pt x="14121" y="7553"/>
                  <a:pt x="14121" y="7211"/>
                  <a:pt x="13937" y="7000"/>
                </a:cubicBezTo>
                <a:cubicBezTo>
                  <a:pt x="13754" y="6789"/>
                  <a:pt x="13457" y="6789"/>
                  <a:pt x="13273" y="7000"/>
                </a:cubicBezTo>
                <a:lnTo>
                  <a:pt x="8292" y="12732"/>
                </a:lnTo>
                <a:cubicBezTo>
                  <a:pt x="7926" y="13155"/>
                  <a:pt x="7331" y="13155"/>
                  <a:pt x="6964" y="12732"/>
                </a:cubicBezTo>
                <a:cubicBezTo>
                  <a:pt x="6597" y="12310"/>
                  <a:pt x="6597" y="11626"/>
                  <a:pt x="6964" y="11204"/>
                </a:cubicBezTo>
                <a:lnTo>
                  <a:pt x="8292" y="9675"/>
                </a:lnTo>
                <a:lnTo>
                  <a:pt x="14934" y="2030"/>
                </a:lnTo>
                <a:lnTo>
                  <a:pt x="14270" y="1266"/>
                </a:lnTo>
                <a:lnTo>
                  <a:pt x="6300" y="10439"/>
                </a:lnTo>
                <a:cubicBezTo>
                  <a:pt x="5566" y="11284"/>
                  <a:pt x="5566" y="12653"/>
                  <a:pt x="6300" y="1349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3" name="Shape 2783"/>
          <p:cNvSpPr/>
          <p:nvPr/>
        </p:nvSpPr>
        <p:spPr>
          <a:xfrm>
            <a:off x="6678877" y="4293584"/>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0800" y="15855"/>
                </a:moveTo>
                <a:lnTo>
                  <a:pt x="1633" y="10800"/>
                </a:lnTo>
                <a:lnTo>
                  <a:pt x="4615" y="9156"/>
                </a:lnTo>
                <a:lnTo>
                  <a:pt x="10589" y="12450"/>
                </a:lnTo>
                <a:lnTo>
                  <a:pt x="10591" y="12446"/>
                </a:lnTo>
                <a:cubicBezTo>
                  <a:pt x="10654" y="12482"/>
                  <a:pt x="10724" y="12505"/>
                  <a:pt x="10800" y="12505"/>
                </a:cubicBezTo>
                <a:cubicBezTo>
                  <a:pt x="10876" y="12505"/>
                  <a:pt x="10946" y="12482"/>
                  <a:pt x="11009" y="12446"/>
                </a:cubicBezTo>
                <a:lnTo>
                  <a:pt x="11011" y="12450"/>
                </a:lnTo>
                <a:lnTo>
                  <a:pt x="16985" y="9156"/>
                </a:lnTo>
                <a:lnTo>
                  <a:pt x="19967" y="10800"/>
                </a:lnTo>
                <a:cubicBezTo>
                  <a:pt x="19967" y="10800"/>
                  <a:pt x="10800" y="15855"/>
                  <a:pt x="10800" y="15855"/>
                </a:cubicBezTo>
                <a:close/>
                <a:moveTo>
                  <a:pt x="19967" y="15347"/>
                </a:moveTo>
                <a:lnTo>
                  <a:pt x="10800" y="20402"/>
                </a:lnTo>
                <a:lnTo>
                  <a:pt x="1633" y="15347"/>
                </a:lnTo>
                <a:lnTo>
                  <a:pt x="4615" y="13703"/>
                </a:lnTo>
                <a:lnTo>
                  <a:pt x="10589" y="16997"/>
                </a:lnTo>
                <a:lnTo>
                  <a:pt x="10591" y="16994"/>
                </a:lnTo>
                <a:cubicBezTo>
                  <a:pt x="10654" y="17029"/>
                  <a:pt x="10724" y="17053"/>
                  <a:pt x="10800" y="17053"/>
                </a:cubicBezTo>
                <a:cubicBezTo>
                  <a:pt x="10876" y="17053"/>
                  <a:pt x="10946" y="17029"/>
                  <a:pt x="11009" y="16994"/>
                </a:cubicBezTo>
                <a:lnTo>
                  <a:pt x="11011" y="16997"/>
                </a:lnTo>
                <a:lnTo>
                  <a:pt x="16985" y="13703"/>
                </a:lnTo>
                <a:cubicBezTo>
                  <a:pt x="16985" y="13703"/>
                  <a:pt x="19967" y="15347"/>
                  <a:pt x="19967" y="15347"/>
                </a:cubicBezTo>
                <a:close/>
                <a:moveTo>
                  <a:pt x="1633" y="6253"/>
                </a:moveTo>
                <a:lnTo>
                  <a:pt x="10800" y="1198"/>
                </a:lnTo>
                <a:lnTo>
                  <a:pt x="19967" y="6253"/>
                </a:lnTo>
                <a:lnTo>
                  <a:pt x="10800" y="11307"/>
                </a:lnTo>
                <a:cubicBezTo>
                  <a:pt x="10800" y="11307"/>
                  <a:pt x="1633" y="6253"/>
                  <a:pt x="1633" y="6253"/>
                </a:cubicBezTo>
                <a:close/>
                <a:moveTo>
                  <a:pt x="21600" y="10800"/>
                </a:moveTo>
                <a:cubicBezTo>
                  <a:pt x="21600" y="10574"/>
                  <a:pt x="21484" y="10383"/>
                  <a:pt x="21319" y="10290"/>
                </a:cubicBezTo>
                <a:lnTo>
                  <a:pt x="21320" y="10287"/>
                </a:lnTo>
                <a:lnTo>
                  <a:pt x="18127" y="8526"/>
                </a:lnTo>
                <a:lnTo>
                  <a:pt x="21320" y="6766"/>
                </a:lnTo>
                <a:lnTo>
                  <a:pt x="21319" y="6762"/>
                </a:lnTo>
                <a:cubicBezTo>
                  <a:pt x="21484" y="6671"/>
                  <a:pt x="21600" y="6479"/>
                  <a:pt x="21600" y="6253"/>
                </a:cubicBezTo>
                <a:cubicBezTo>
                  <a:pt x="21600" y="6027"/>
                  <a:pt x="21484" y="5835"/>
                  <a:pt x="21319" y="5743"/>
                </a:cubicBezTo>
                <a:lnTo>
                  <a:pt x="21320" y="5740"/>
                </a:lnTo>
                <a:lnTo>
                  <a:pt x="11011" y="56"/>
                </a:lnTo>
                <a:lnTo>
                  <a:pt x="11009" y="59"/>
                </a:lnTo>
                <a:cubicBezTo>
                  <a:pt x="10946" y="23"/>
                  <a:pt x="10876" y="0"/>
                  <a:pt x="10800" y="0"/>
                </a:cubicBezTo>
                <a:cubicBezTo>
                  <a:pt x="10724" y="0"/>
                  <a:pt x="10654" y="23"/>
                  <a:pt x="10591" y="59"/>
                </a:cubicBezTo>
                <a:lnTo>
                  <a:pt x="10589" y="56"/>
                </a:lnTo>
                <a:lnTo>
                  <a:pt x="280" y="5740"/>
                </a:lnTo>
                <a:lnTo>
                  <a:pt x="281" y="5743"/>
                </a:lnTo>
                <a:cubicBezTo>
                  <a:pt x="116" y="5835"/>
                  <a:pt x="0" y="6027"/>
                  <a:pt x="0" y="6253"/>
                </a:cubicBezTo>
                <a:cubicBezTo>
                  <a:pt x="0" y="6479"/>
                  <a:pt x="116" y="6671"/>
                  <a:pt x="281" y="6762"/>
                </a:cubicBezTo>
                <a:lnTo>
                  <a:pt x="280" y="6766"/>
                </a:lnTo>
                <a:lnTo>
                  <a:pt x="3473" y="8526"/>
                </a:lnTo>
                <a:lnTo>
                  <a:pt x="280" y="10287"/>
                </a:lnTo>
                <a:lnTo>
                  <a:pt x="281" y="10290"/>
                </a:lnTo>
                <a:cubicBezTo>
                  <a:pt x="116" y="10383"/>
                  <a:pt x="0" y="10574"/>
                  <a:pt x="0" y="10800"/>
                </a:cubicBezTo>
                <a:cubicBezTo>
                  <a:pt x="0" y="11026"/>
                  <a:pt x="116" y="11218"/>
                  <a:pt x="281" y="11310"/>
                </a:cubicBezTo>
                <a:lnTo>
                  <a:pt x="280" y="11313"/>
                </a:lnTo>
                <a:lnTo>
                  <a:pt x="3473" y="13074"/>
                </a:lnTo>
                <a:lnTo>
                  <a:pt x="280" y="14834"/>
                </a:lnTo>
                <a:lnTo>
                  <a:pt x="281" y="14838"/>
                </a:lnTo>
                <a:cubicBezTo>
                  <a:pt x="116" y="14930"/>
                  <a:pt x="0" y="15121"/>
                  <a:pt x="0" y="15347"/>
                </a:cubicBezTo>
                <a:cubicBezTo>
                  <a:pt x="0" y="15574"/>
                  <a:pt x="116" y="15765"/>
                  <a:pt x="281" y="15857"/>
                </a:cubicBezTo>
                <a:lnTo>
                  <a:pt x="280" y="15860"/>
                </a:lnTo>
                <a:lnTo>
                  <a:pt x="10589" y="21544"/>
                </a:lnTo>
                <a:lnTo>
                  <a:pt x="10591" y="21541"/>
                </a:lnTo>
                <a:cubicBezTo>
                  <a:pt x="10654" y="21577"/>
                  <a:pt x="10724" y="21600"/>
                  <a:pt x="10800" y="21600"/>
                </a:cubicBezTo>
                <a:cubicBezTo>
                  <a:pt x="10876" y="21600"/>
                  <a:pt x="10946" y="21577"/>
                  <a:pt x="11009" y="21541"/>
                </a:cubicBezTo>
                <a:lnTo>
                  <a:pt x="11011" y="21544"/>
                </a:lnTo>
                <a:lnTo>
                  <a:pt x="21320" y="15860"/>
                </a:lnTo>
                <a:lnTo>
                  <a:pt x="21319" y="15857"/>
                </a:lnTo>
                <a:cubicBezTo>
                  <a:pt x="21484" y="15765"/>
                  <a:pt x="21600" y="15574"/>
                  <a:pt x="21600" y="15347"/>
                </a:cubicBezTo>
                <a:cubicBezTo>
                  <a:pt x="21600" y="15121"/>
                  <a:pt x="21484" y="14930"/>
                  <a:pt x="21319" y="14838"/>
                </a:cubicBezTo>
                <a:lnTo>
                  <a:pt x="21320" y="14834"/>
                </a:lnTo>
                <a:lnTo>
                  <a:pt x="18127" y="13074"/>
                </a:lnTo>
                <a:lnTo>
                  <a:pt x="21320" y="11313"/>
                </a:lnTo>
                <a:lnTo>
                  <a:pt x="21319" y="11310"/>
                </a:lnTo>
                <a:cubicBezTo>
                  <a:pt x="21484" y="11218"/>
                  <a:pt x="21600" y="1102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4" name="Shape 2784"/>
          <p:cNvSpPr/>
          <p:nvPr/>
        </p:nvSpPr>
        <p:spPr>
          <a:xfrm>
            <a:off x="7078822"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5" name="Shape 2785"/>
          <p:cNvSpPr/>
          <p:nvPr/>
        </p:nvSpPr>
        <p:spPr>
          <a:xfrm>
            <a:off x="7478768" y="429834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6" name="Shape 2786"/>
          <p:cNvSpPr/>
          <p:nvPr/>
        </p:nvSpPr>
        <p:spPr>
          <a:xfrm>
            <a:off x="7878714" y="4288823"/>
            <a:ext cx="209345" cy="190462"/>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7" name="Shape 2787"/>
          <p:cNvSpPr/>
          <p:nvPr/>
        </p:nvSpPr>
        <p:spPr>
          <a:xfrm>
            <a:off x="8278660" y="4279301"/>
            <a:ext cx="209366" cy="209505"/>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55" name="Shape 2707"/>
          <p:cNvSpPr/>
          <p:nvPr/>
        </p:nvSpPr>
        <p:spPr>
          <a:xfrm>
            <a:off x="4101767" y="656412"/>
            <a:ext cx="961795"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Electronics</a:t>
            </a:r>
          </a:p>
        </p:txBody>
      </p:sp>
      <p:sp>
        <p:nvSpPr>
          <p:cNvPr id="157" name="Shape 2707"/>
          <p:cNvSpPr/>
          <p:nvPr/>
        </p:nvSpPr>
        <p:spPr>
          <a:xfrm>
            <a:off x="3976732" y="2671929"/>
            <a:ext cx="1211863"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Miscellaneous</a:t>
            </a:r>
          </a:p>
        </p:txBody>
      </p:sp>
    </p:spTree>
    <p:extLst>
      <p:ext uri="{BB962C8B-B14F-4D97-AF65-F5344CB8AC3E}">
        <p14:creationId xmlns:p14="http://schemas.microsoft.com/office/powerpoint/2010/main" val="20328949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0" name="Shape 2790"/>
          <p:cNvSpPr/>
          <p:nvPr/>
        </p:nvSpPr>
        <p:spPr>
          <a:xfrm>
            <a:off x="660644"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17550"/>
                </a:moveTo>
                <a:lnTo>
                  <a:pt x="10309" y="17550"/>
                </a:lnTo>
                <a:cubicBezTo>
                  <a:pt x="10580" y="17550"/>
                  <a:pt x="10800" y="17248"/>
                  <a:pt x="10800" y="16875"/>
                </a:cubicBezTo>
                <a:cubicBezTo>
                  <a:pt x="10800" y="16503"/>
                  <a:pt x="10580" y="16200"/>
                  <a:pt x="10309" y="16200"/>
                </a:cubicBezTo>
                <a:lnTo>
                  <a:pt x="3436" y="16200"/>
                </a:lnTo>
                <a:cubicBezTo>
                  <a:pt x="3166" y="16200"/>
                  <a:pt x="2945" y="16503"/>
                  <a:pt x="2945" y="16875"/>
                </a:cubicBezTo>
                <a:cubicBezTo>
                  <a:pt x="2945" y="17248"/>
                  <a:pt x="3166" y="17550"/>
                  <a:pt x="3436" y="17550"/>
                </a:cubicBezTo>
                <a:moveTo>
                  <a:pt x="3436" y="14850"/>
                </a:moveTo>
                <a:lnTo>
                  <a:pt x="12273" y="14850"/>
                </a:lnTo>
                <a:cubicBezTo>
                  <a:pt x="12544" y="14850"/>
                  <a:pt x="12764" y="14548"/>
                  <a:pt x="12764" y="14175"/>
                </a:cubicBezTo>
                <a:cubicBezTo>
                  <a:pt x="12764" y="13803"/>
                  <a:pt x="12544" y="13500"/>
                  <a:pt x="12273" y="13500"/>
                </a:cubicBezTo>
                <a:lnTo>
                  <a:pt x="3436" y="13500"/>
                </a:lnTo>
                <a:cubicBezTo>
                  <a:pt x="3166" y="13500"/>
                  <a:pt x="2945" y="13803"/>
                  <a:pt x="2945" y="14175"/>
                </a:cubicBezTo>
                <a:cubicBezTo>
                  <a:pt x="2945" y="14548"/>
                  <a:pt x="3166" y="14850"/>
                  <a:pt x="3436" y="14850"/>
                </a:cubicBezTo>
                <a:moveTo>
                  <a:pt x="20618" y="4050"/>
                </a:moveTo>
                <a:lnTo>
                  <a:pt x="982" y="4050"/>
                </a:lnTo>
                <a:lnTo>
                  <a:pt x="982" y="1350"/>
                </a:lnTo>
                <a:lnTo>
                  <a:pt x="20618" y="1350"/>
                </a:lnTo>
                <a:cubicBezTo>
                  <a:pt x="20618" y="1350"/>
                  <a:pt x="20618" y="4050"/>
                  <a:pt x="20618" y="4050"/>
                </a:cubicBezTo>
                <a:close/>
                <a:moveTo>
                  <a:pt x="20618" y="20250"/>
                </a:moveTo>
                <a:lnTo>
                  <a:pt x="982" y="20250"/>
                </a:lnTo>
                <a:lnTo>
                  <a:pt x="982" y="9450"/>
                </a:lnTo>
                <a:lnTo>
                  <a:pt x="20618" y="9450"/>
                </a:lnTo>
                <a:cubicBezTo>
                  <a:pt x="20618" y="94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16200" y="17550"/>
                </a:moveTo>
                <a:lnTo>
                  <a:pt x="18164" y="17550"/>
                </a:lnTo>
                <a:cubicBezTo>
                  <a:pt x="18434" y="17550"/>
                  <a:pt x="18655" y="17248"/>
                  <a:pt x="18655" y="16875"/>
                </a:cubicBezTo>
                <a:lnTo>
                  <a:pt x="18655" y="14175"/>
                </a:lnTo>
                <a:cubicBezTo>
                  <a:pt x="18655" y="13803"/>
                  <a:pt x="18434" y="13500"/>
                  <a:pt x="18164" y="13500"/>
                </a:cubicBezTo>
                <a:lnTo>
                  <a:pt x="16200" y="13500"/>
                </a:lnTo>
                <a:cubicBezTo>
                  <a:pt x="15929" y="13500"/>
                  <a:pt x="15709" y="13803"/>
                  <a:pt x="15709" y="14175"/>
                </a:cubicBezTo>
                <a:lnTo>
                  <a:pt x="15709" y="16875"/>
                </a:lnTo>
                <a:cubicBezTo>
                  <a:pt x="15709" y="17248"/>
                  <a:pt x="15929" y="17550"/>
                  <a:pt x="16200" y="175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1" name="Shape 2791"/>
          <p:cNvSpPr/>
          <p:nvPr/>
        </p:nvSpPr>
        <p:spPr>
          <a:xfrm>
            <a:off x="106059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0"/>
                </a:moveTo>
                <a:lnTo>
                  <a:pt x="4909" y="0"/>
                </a:lnTo>
                <a:cubicBezTo>
                  <a:pt x="4367" y="0"/>
                  <a:pt x="3927" y="538"/>
                  <a:pt x="3927" y="1200"/>
                </a:cubicBezTo>
                <a:lnTo>
                  <a:pt x="3927" y="3000"/>
                </a:lnTo>
                <a:cubicBezTo>
                  <a:pt x="3927" y="3332"/>
                  <a:pt x="4147" y="3600"/>
                  <a:pt x="4418" y="3600"/>
                </a:cubicBezTo>
                <a:cubicBezTo>
                  <a:pt x="4689" y="3600"/>
                  <a:pt x="4909" y="3332"/>
                  <a:pt x="4909" y="3000"/>
                </a:cubicBezTo>
                <a:lnTo>
                  <a:pt x="4909" y="1200"/>
                </a:lnTo>
                <a:lnTo>
                  <a:pt x="20618" y="1200"/>
                </a:lnTo>
                <a:lnTo>
                  <a:pt x="20618" y="15600"/>
                </a:lnTo>
                <a:lnTo>
                  <a:pt x="19145" y="15600"/>
                </a:lnTo>
                <a:cubicBezTo>
                  <a:pt x="18875" y="15600"/>
                  <a:pt x="18655" y="15869"/>
                  <a:pt x="18655" y="16200"/>
                </a:cubicBezTo>
                <a:cubicBezTo>
                  <a:pt x="18655" y="16532"/>
                  <a:pt x="18875" y="16800"/>
                  <a:pt x="19145" y="16800"/>
                </a:cubicBezTo>
                <a:lnTo>
                  <a:pt x="20618" y="16800"/>
                </a:lnTo>
                <a:cubicBezTo>
                  <a:pt x="21160" y="16800"/>
                  <a:pt x="21600" y="16262"/>
                  <a:pt x="21600" y="15600"/>
                </a:cubicBezTo>
                <a:lnTo>
                  <a:pt x="21600" y="1200"/>
                </a:lnTo>
                <a:cubicBezTo>
                  <a:pt x="21600" y="538"/>
                  <a:pt x="21160" y="0"/>
                  <a:pt x="20618" y="0"/>
                </a:cubicBezTo>
                <a:moveTo>
                  <a:pt x="16691" y="8400"/>
                </a:moveTo>
                <a:lnTo>
                  <a:pt x="982" y="8400"/>
                </a:lnTo>
                <a:lnTo>
                  <a:pt x="982" y="6000"/>
                </a:lnTo>
                <a:lnTo>
                  <a:pt x="16691" y="6000"/>
                </a:lnTo>
                <a:cubicBezTo>
                  <a:pt x="16691" y="6000"/>
                  <a:pt x="16691" y="8400"/>
                  <a:pt x="16691" y="8400"/>
                </a:cubicBezTo>
                <a:close/>
                <a:moveTo>
                  <a:pt x="16691" y="20400"/>
                </a:moveTo>
                <a:lnTo>
                  <a:pt x="982" y="20400"/>
                </a:lnTo>
                <a:lnTo>
                  <a:pt x="982" y="12000"/>
                </a:lnTo>
                <a:lnTo>
                  <a:pt x="16691" y="12000"/>
                </a:lnTo>
                <a:cubicBezTo>
                  <a:pt x="16691" y="12000"/>
                  <a:pt x="16691" y="20400"/>
                  <a:pt x="16691" y="20400"/>
                </a:cubicBezTo>
                <a:close/>
                <a:moveTo>
                  <a:pt x="16691" y="4800"/>
                </a:moveTo>
                <a:lnTo>
                  <a:pt x="982" y="4800"/>
                </a:lnTo>
                <a:cubicBezTo>
                  <a:pt x="440" y="4800"/>
                  <a:pt x="0" y="5338"/>
                  <a:pt x="0" y="6000"/>
                </a:cubicBezTo>
                <a:lnTo>
                  <a:pt x="0" y="20400"/>
                </a:lnTo>
                <a:cubicBezTo>
                  <a:pt x="0" y="21062"/>
                  <a:pt x="440" y="21600"/>
                  <a:pt x="982" y="21600"/>
                </a:cubicBezTo>
                <a:lnTo>
                  <a:pt x="16691" y="21600"/>
                </a:lnTo>
                <a:cubicBezTo>
                  <a:pt x="17233" y="21600"/>
                  <a:pt x="17673" y="21062"/>
                  <a:pt x="17673" y="20400"/>
                </a:cubicBezTo>
                <a:lnTo>
                  <a:pt x="17673" y="6000"/>
                </a:lnTo>
                <a:cubicBezTo>
                  <a:pt x="17673" y="5338"/>
                  <a:pt x="17233" y="4800"/>
                  <a:pt x="16691" y="4800"/>
                </a:cubicBezTo>
                <a:moveTo>
                  <a:pt x="3436" y="18000"/>
                </a:moveTo>
                <a:lnTo>
                  <a:pt x="7364" y="18000"/>
                </a:lnTo>
                <a:cubicBezTo>
                  <a:pt x="7634" y="18000"/>
                  <a:pt x="7855" y="17732"/>
                  <a:pt x="7855" y="17400"/>
                </a:cubicBezTo>
                <a:cubicBezTo>
                  <a:pt x="7855" y="17069"/>
                  <a:pt x="7634" y="16800"/>
                  <a:pt x="7364" y="16800"/>
                </a:cubicBezTo>
                <a:lnTo>
                  <a:pt x="3436" y="16800"/>
                </a:lnTo>
                <a:cubicBezTo>
                  <a:pt x="3166" y="16800"/>
                  <a:pt x="2945" y="17069"/>
                  <a:pt x="2945" y="17400"/>
                </a:cubicBezTo>
                <a:cubicBezTo>
                  <a:pt x="2945" y="17732"/>
                  <a:pt x="3166" y="18000"/>
                  <a:pt x="3436" y="18000"/>
                </a:cubicBezTo>
                <a:moveTo>
                  <a:pt x="3436" y="15600"/>
                </a:moveTo>
                <a:lnTo>
                  <a:pt x="9327" y="15600"/>
                </a:lnTo>
                <a:cubicBezTo>
                  <a:pt x="9598" y="15600"/>
                  <a:pt x="9818" y="15332"/>
                  <a:pt x="9818" y="15000"/>
                </a:cubicBezTo>
                <a:cubicBezTo>
                  <a:pt x="9818" y="14668"/>
                  <a:pt x="9598" y="14400"/>
                  <a:pt x="9327" y="14400"/>
                </a:cubicBezTo>
                <a:lnTo>
                  <a:pt x="3436" y="14400"/>
                </a:lnTo>
                <a:cubicBezTo>
                  <a:pt x="3166" y="14400"/>
                  <a:pt x="2945" y="14668"/>
                  <a:pt x="2945" y="15000"/>
                </a:cubicBezTo>
                <a:cubicBezTo>
                  <a:pt x="2945" y="15332"/>
                  <a:pt x="3166" y="15600"/>
                  <a:pt x="3436" y="15600"/>
                </a:cubicBezTo>
                <a:moveTo>
                  <a:pt x="12273" y="18000"/>
                </a:moveTo>
                <a:lnTo>
                  <a:pt x="14236" y="18000"/>
                </a:lnTo>
                <a:cubicBezTo>
                  <a:pt x="14507" y="18000"/>
                  <a:pt x="14727" y="17732"/>
                  <a:pt x="14727" y="17400"/>
                </a:cubicBezTo>
                <a:lnTo>
                  <a:pt x="14727" y="15000"/>
                </a:lnTo>
                <a:cubicBezTo>
                  <a:pt x="14727" y="14668"/>
                  <a:pt x="14507" y="14400"/>
                  <a:pt x="14236" y="14400"/>
                </a:cubicBezTo>
                <a:lnTo>
                  <a:pt x="12273" y="14400"/>
                </a:lnTo>
                <a:cubicBezTo>
                  <a:pt x="12002" y="14400"/>
                  <a:pt x="11782" y="14668"/>
                  <a:pt x="11782" y="15000"/>
                </a:cubicBezTo>
                <a:lnTo>
                  <a:pt x="11782" y="17400"/>
                </a:lnTo>
                <a:cubicBezTo>
                  <a:pt x="11782" y="17732"/>
                  <a:pt x="12002" y="18000"/>
                  <a:pt x="12273" y="18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2" name="Shape 2792"/>
          <p:cNvSpPr/>
          <p:nvPr/>
        </p:nvSpPr>
        <p:spPr>
          <a:xfrm>
            <a:off x="1460536"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3" name="Shape 2793"/>
          <p:cNvSpPr/>
          <p:nvPr/>
        </p:nvSpPr>
        <p:spPr>
          <a:xfrm>
            <a:off x="1860482"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686" y="14720"/>
                </a:moveTo>
                <a:cubicBezTo>
                  <a:pt x="9513" y="14863"/>
                  <a:pt x="9355" y="14945"/>
                  <a:pt x="9084" y="14965"/>
                </a:cubicBezTo>
                <a:lnTo>
                  <a:pt x="9084" y="13151"/>
                </a:lnTo>
                <a:cubicBezTo>
                  <a:pt x="9199" y="13182"/>
                  <a:pt x="9248" y="13219"/>
                  <a:pt x="9358" y="13260"/>
                </a:cubicBezTo>
                <a:cubicBezTo>
                  <a:pt x="9469" y="13302"/>
                  <a:pt x="9568" y="13357"/>
                  <a:pt x="9656" y="13424"/>
                </a:cubicBezTo>
                <a:cubicBezTo>
                  <a:pt x="9744" y="13491"/>
                  <a:pt x="9814" y="13575"/>
                  <a:pt x="9867" y="13673"/>
                </a:cubicBezTo>
                <a:cubicBezTo>
                  <a:pt x="9920" y="13772"/>
                  <a:pt x="9946" y="13894"/>
                  <a:pt x="9946" y="14039"/>
                </a:cubicBezTo>
                <a:cubicBezTo>
                  <a:pt x="9946" y="14350"/>
                  <a:pt x="9859" y="14577"/>
                  <a:pt x="9686" y="14720"/>
                </a:cubicBezTo>
                <a:moveTo>
                  <a:pt x="8631" y="12100"/>
                </a:moveTo>
                <a:cubicBezTo>
                  <a:pt x="8526" y="12074"/>
                  <a:pt x="8486" y="12041"/>
                  <a:pt x="8383" y="12003"/>
                </a:cubicBezTo>
                <a:cubicBezTo>
                  <a:pt x="8280" y="11964"/>
                  <a:pt x="8189" y="11913"/>
                  <a:pt x="8112" y="11851"/>
                </a:cubicBezTo>
                <a:cubicBezTo>
                  <a:pt x="8034" y="11789"/>
                  <a:pt x="7969" y="11714"/>
                  <a:pt x="7919" y="11625"/>
                </a:cubicBezTo>
                <a:cubicBezTo>
                  <a:pt x="7869" y="11537"/>
                  <a:pt x="7844" y="11431"/>
                  <a:pt x="7844" y="11306"/>
                </a:cubicBezTo>
                <a:cubicBezTo>
                  <a:pt x="7844" y="11031"/>
                  <a:pt x="7918" y="10835"/>
                  <a:pt x="8067" y="10718"/>
                </a:cubicBezTo>
                <a:cubicBezTo>
                  <a:pt x="8214" y="10601"/>
                  <a:pt x="8360" y="10543"/>
                  <a:pt x="8631" y="10543"/>
                </a:cubicBezTo>
                <a:cubicBezTo>
                  <a:pt x="8631" y="10543"/>
                  <a:pt x="8631" y="12100"/>
                  <a:pt x="8631" y="12100"/>
                </a:cubicBezTo>
                <a:close/>
                <a:moveTo>
                  <a:pt x="10255" y="12723"/>
                </a:moveTo>
                <a:cubicBezTo>
                  <a:pt x="10089" y="12593"/>
                  <a:pt x="9898" y="12487"/>
                  <a:pt x="9683" y="12404"/>
                </a:cubicBezTo>
                <a:cubicBezTo>
                  <a:pt x="9466" y="12321"/>
                  <a:pt x="9310" y="12248"/>
                  <a:pt x="9084" y="12186"/>
                </a:cubicBezTo>
                <a:lnTo>
                  <a:pt x="9084" y="10543"/>
                </a:lnTo>
                <a:cubicBezTo>
                  <a:pt x="9355" y="10543"/>
                  <a:pt x="9488" y="10613"/>
                  <a:pt x="9611" y="10753"/>
                </a:cubicBezTo>
                <a:cubicBezTo>
                  <a:pt x="9734" y="10893"/>
                  <a:pt x="9800" y="11096"/>
                  <a:pt x="9810" y="11361"/>
                </a:cubicBezTo>
                <a:lnTo>
                  <a:pt x="10669" y="11361"/>
                </a:lnTo>
                <a:cubicBezTo>
                  <a:pt x="10669" y="11106"/>
                  <a:pt x="10625" y="10883"/>
                  <a:pt x="10537" y="10690"/>
                </a:cubicBezTo>
                <a:cubicBezTo>
                  <a:pt x="10450" y="10499"/>
                  <a:pt x="10331" y="10340"/>
                  <a:pt x="10183" y="10216"/>
                </a:cubicBezTo>
                <a:cubicBezTo>
                  <a:pt x="10035" y="10091"/>
                  <a:pt x="9860" y="9998"/>
                  <a:pt x="9659" y="9935"/>
                </a:cubicBezTo>
                <a:cubicBezTo>
                  <a:pt x="9459" y="9873"/>
                  <a:pt x="9310" y="9842"/>
                  <a:pt x="9084" y="9842"/>
                </a:cubicBezTo>
                <a:lnTo>
                  <a:pt x="9084" y="9331"/>
                </a:lnTo>
                <a:lnTo>
                  <a:pt x="8631" y="9331"/>
                </a:lnTo>
                <a:lnTo>
                  <a:pt x="8631" y="9842"/>
                </a:lnTo>
                <a:cubicBezTo>
                  <a:pt x="8405" y="9842"/>
                  <a:pt x="8253" y="9876"/>
                  <a:pt x="8048" y="9943"/>
                </a:cubicBezTo>
                <a:cubicBezTo>
                  <a:pt x="7842" y="10011"/>
                  <a:pt x="7660" y="10108"/>
                  <a:pt x="7501" y="10235"/>
                </a:cubicBezTo>
                <a:cubicBezTo>
                  <a:pt x="7343" y="10363"/>
                  <a:pt x="7218" y="10521"/>
                  <a:pt x="7125" y="10710"/>
                </a:cubicBezTo>
                <a:cubicBezTo>
                  <a:pt x="7032" y="10899"/>
                  <a:pt x="6985" y="11119"/>
                  <a:pt x="6985" y="11368"/>
                </a:cubicBezTo>
                <a:cubicBezTo>
                  <a:pt x="6985" y="11654"/>
                  <a:pt x="7035" y="11892"/>
                  <a:pt x="7136" y="12085"/>
                </a:cubicBezTo>
                <a:cubicBezTo>
                  <a:pt x="7237" y="12277"/>
                  <a:pt x="7368" y="12436"/>
                  <a:pt x="7531" y="12563"/>
                </a:cubicBezTo>
                <a:cubicBezTo>
                  <a:pt x="7694" y="12691"/>
                  <a:pt x="7878" y="12794"/>
                  <a:pt x="8081" y="12875"/>
                </a:cubicBezTo>
                <a:cubicBezTo>
                  <a:pt x="8285" y="12956"/>
                  <a:pt x="8426" y="13024"/>
                  <a:pt x="8631" y="13081"/>
                </a:cubicBezTo>
                <a:lnTo>
                  <a:pt x="8631" y="14965"/>
                </a:lnTo>
                <a:cubicBezTo>
                  <a:pt x="8285" y="14955"/>
                  <a:pt x="8100" y="14852"/>
                  <a:pt x="7950" y="14654"/>
                </a:cubicBezTo>
                <a:cubicBezTo>
                  <a:pt x="7799" y="14457"/>
                  <a:pt x="7726" y="14187"/>
                  <a:pt x="7731" y="13844"/>
                </a:cubicBezTo>
                <a:lnTo>
                  <a:pt x="6872" y="13844"/>
                </a:lnTo>
                <a:cubicBezTo>
                  <a:pt x="6867" y="14135"/>
                  <a:pt x="6908" y="14392"/>
                  <a:pt x="6996" y="14615"/>
                </a:cubicBezTo>
                <a:cubicBezTo>
                  <a:pt x="7085" y="14839"/>
                  <a:pt x="7209" y="15027"/>
                  <a:pt x="7369" y="15180"/>
                </a:cubicBezTo>
                <a:cubicBezTo>
                  <a:pt x="7530" y="15333"/>
                  <a:pt x="7723" y="15451"/>
                  <a:pt x="7950" y="15534"/>
                </a:cubicBezTo>
                <a:cubicBezTo>
                  <a:pt x="8176" y="15617"/>
                  <a:pt x="8360" y="15661"/>
                  <a:pt x="8631" y="15667"/>
                </a:cubicBezTo>
                <a:lnTo>
                  <a:pt x="8631" y="16199"/>
                </a:lnTo>
                <a:lnTo>
                  <a:pt x="9084" y="16199"/>
                </a:lnTo>
                <a:lnTo>
                  <a:pt x="9084" y="15667"/>
                </a:lnTo>
                <a:cubicBezTo>
                  <a:pt x="9335" y="15656"/>
                  <a:pt x="9504" y="15613"/>
                  <a:pt x="9720" y="15538"/>
                </a:cubicBezTo>
                <a:cubicBezTo>
                  <a:pt x="9936" y="15463"/>
                  <a:pt x="10124" y="15354"/>
                  <a:pt x="10285" y="15211"/>
                </a:cubicBezTo>
                <a:cubicBezTo>
                  <a:pt x="10445" y="15068"/>
                  <a:pt x="10573" y="14889"/>
                  <a:pt x="10666" y="14673"/>
                </a:cubicBezTo>
                <a:cubicBezTo>
                  <a:pt x="10758" y="14459"/>
                  <a:pt x="10805" y="14205"/>
                  <a:pt x="10805" y="13914"/>
                </a:cubicBezTo>
                <a:cubicBezTo>
                  <a:pt x="10805" y="13634"/>
                  <a:pt x="10755" y="13398"/>
                  <a:pt x="10654" y="13206"/>
                </a:cubicBezTo>
                <a:cubicBezTo>
                  <a:pt x="10554" y="13014"/>
                  <a:pt x="10421" y="12853"/>
                  <a:pt x="10255" y="12723"/>
                </a:cubicBezTo>
                <a:moveTo>
                  <a:pt x="12764" y="0"/>
                </a:moveTo>
                <a:cubicBezTo>
                  <a:pt x="9919" y="0"/>
                  <a:pt x="7396" y="1350"/>
                  <a:pt x="5779" y="3437"/>
                </a:cubicBezTo>
                <a:cubicBezTo>
                  <a:pt x="6324" y="3259"/>
                  <a:pt x="6890" y="3132"/>
                  <a:pt x="7472" y="3051"/>
                </a:cubicBezTo>
                <a:cubicBezTo>
                  <a:pt x="8868" y="1774"/>
                  <a:pt x="10722" y="987"/>
                  <a:pt x="12764" y="987"/>
                </a:cubicBezTo>
                <a:cubicBezTo>
                  <a:pt x="17099" y="987"/>
                  <a:pt x="20613" y="4502"/>
                  <a:pt x="20613" y="8836"/>
                </a:cubicBezTo>
                <a:cubicBezTo>
                  <a:pt x="20613"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8836" y="20613"/>
                </a:moveTo>
                <a:cubicBezTo>
                  <a:pt x="4501" y="20613"/>
                  <a:pt x="987" y="17098"/>
                  <a:pt x="987" y="12764"/>
                </a:cubicBezTo>
                <a:cubicBezTo>
                  <a:pt x="987" y="8429"/>
                  <a:pt x="4501" y="4915"/>
                  <a:pt x="8836" y="4915"/>
                </a:cubicBezTo>
                <a:cubicBezTo>
                  <a:pt x="13172" y="4915"/>
                  <a:pt x="16685" y="8429"/>
                  <a:pt x="16685" y="12764"/>
                </a:cubicBezTo>
                <a:cubicBezTo>
                  <a:pt x="16685" y="17098"/>
                  <a:pt x="13172" y="20613"/>
                  <a:pt x="8836" y="20613"/>
                </a:cubicBezTo>
                <a:moveTo>
                  <a:pt x="8836" y="3927"/>
                </a:moveTo>
                <a:cubicBezTo>
                  <a:pt x="3956" y="3927"/>
                  <a:pt x="0" y="7884"/>
                  <a:pt x="0" y="12764"/>
                </a:cubicBezTo>
                <a:cubicBezTo>
                  <a:pt x="0" y="17644"/>
                  <a:pt x="3956" y="21600"/>
                  <a:pt x="8836" y="21600"/>
                </a:cubicBezTo>
                <a:cubicBezTo>
                  <a:pt x="13716" y="21600"/>
                  <a:pt x="17673" y="17644"/>
                  <a:pt x="17673" y="12764"/>
                </a:cubicBezTo>
                <a:cubicBezTo>
                  <a:pt x="17673" y="7884"/>
                  <a:pt x="13716"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4" name="Shape 2794"/>
          <p:cNvSpPr/>
          <p:nvPr/>
        </p:nvSpPr>
        <p:spPr>
          <a:xfrm>
            <a:off x="226042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535" y="7724"/>
                </a:moveTo>
                <a:cubicBezTo>
                  <a:pt x="12082" y="7724"/>
                  <a:pt x="12586" y="7961"/>
                  <a:pt x="13047" y="8436"/>
                </a:cubicBezTo>
                <a:lnTo>
                  <a:pt x="13544" y="7424"/>
                </a:lnTo>
                <a:cubicBezTo>
                  <a:pt x="12888" y="6964"/>
                  <a:pt x="12248" y="6734"/>
                  <a:pt x="11621" y="6734"/>
                </a:cubicBezTo>
                <a:cubicBezTo>
                  <a:pt x="10757" y="6734"/>
                  <a:pt x="10048" y="7019"/>
                  <a:pt x="9494" y="7590"/>
                </a:cubicBezTo>
                <a:cubicBezTo>
                  <a:pt x="9019" y="8087"/>
                  <a:pt x="8691" y="8762"/>
                  <a:pt x="8510" y="9615"/>
                </a:cubicBezTo>
                <a:lnTo>
                  <a:pt x="7938" y="9615"/>
                </a:lnTo>
                <a:lnTo>
                  <a:pt x="7658" y="10327"/>
                </a:lnTo>
                <a:lnTo>
                  <a:pt x="8435" y="10327"/>
                </a:lnTo>
                <a:cubicBezTo>
                  <a:pt x="8428" y="10409"/>
                  <a:pt x="8423" y="10483"/>
                  <a:pt x="8419" y="10549"/>
                </a:cubicBezTo>
                <a:cubicBezTo>
                  <a:pt x="8415" y="10616"/>
                  <a:pt x="8414" y="10675"/>
                  <a:pt x="8414" y="10727"/>
                </a:cubicBezTo>
                <a:cubicBezTo>
                  <a:pt x="8414" y="10794"/>
                  <a:pt x="8415" y="10857"/>
                  <a:pt x="8419" y="10916"/>
                </a:cubicBezTo>
                <a:cubicBezTo>
                  <a:pt x="8423" y="10976"/>
                  <a:pt x="8428" y="11032"/>
                  <a:pt x="8435" y="11083"/>
                </a:cubicBezTo>
                <a:lnTo>
                  <a:pt x="7949" y="11083"/>
                </a:lnTo>
                <a:lnTo>
                  <a:pt x="7658" y="11784"/>
                </a:lnTo>
                <a:lnTo>
                  <a:pt x="8489" y="11784"/>
                </a:lnTo>
                <a:cubicBezTo>
                  <a:pt x="8604" y="12674"/>
                  <a:pt x="8896" y="13382"/>
                  <a:pt x="9364" y="13908"/>
                </a:cubicBezTo>
                <a:cubicBezTo>
                  <a:pt x="9904" y="14517"/>
                  <a:pt x="10656" y="14821"/>
                  <a:pt x="11621" y="14821"/>
                </a:cubicBezTo>
                <a:cubicBezTo>
                  <a:pt x="12219" y="14821"/>
                  <a:pt x="12762" y="14658"/>
                  <a:pt x="13252" y="14331"/>
                </a:cubicBezTo>
                <a:lnTo>
                  <a:pt x="13252" y="13097"/>
                </a:lnTo>
                <a:cubicBezTo>
                  <a:pt x="12978" y="13356"/>
                  <a:pt x="12733" y="13542"/>
                  <a:pt x="12517" y="13653"/>
                </a:cubicBezTo>
                <a:cubicBezTo>
                  <a:pt x="12280" y="13772"/>
                  <a:pt x="11981" y="13831"/>
                  <a:pt x="11621" y="13831"/>
                </a:cubicBezTo>
                <a:cubicBezTo>
                  <a:pt x="11067" y="13831"/>
                  <a:pt x="10627" y="13620"/>
                  <a:pt x="10304" y="13197"/>
                </a:cubicBezTo>
                <a:cubicBezTo>
                  <a:pt x="10023" y="12855"/>
                  <a:pt x="9839" y="12385"/>
                  <a:pt x="9753" y="11784"/>
                </a:cubicBezTo>
                <a:lnTo>
                  <a:pt x="11924" y="11784"/>
                </a:lnTo>
                <a:lnTo>
                  <a:pt x="12193" y="11083"/>
                </a:lnTo>
                <a:lnTo>
                  <a:pt x="9699" y="11083"/>
                </a:lnTo>
                <a:cubicBezTo>
                  <a:pt x="9692" y="11046"/>
                  <a:pt x="9688" y="10932"/>
                  <a:pt x="9688" y="10739"/>
                </a:cubicBezTo>
                <a:lnTo>
                  <a:pt x="9688" y="10483"/>
                </a:lnTo>
                <a:cubicBezTo>
                  <a:pt x="9688" y="10416"/>
                  <a:pt x="9692" y="10364"/>
                  <a:pt x="9699" y="10327"/>
                </a:cubicBezTo>
                <a:lnTo>
                  <a:pt x="12344" y="10327"/>
                </a:lnTo>
                <a:lnTo>
                  <a:pt x="12626" y="9615"/>
                </a:lnTo>
                <a:lnTo>
                  <a:pt x="9775" y="9615"/>
                </a:lnTo>
                <a:cubicBezTo>
                  <a:pt x="9868" y="9096"/>
                  <a:pt x="10051" y="8662"/>
                  <a:pt x="10325" y="8314"/>
                </a:cubicBezTo>
                <a:cubicBezTo>
                  <a:pt x="10649" y="7920"/>
                  <a:pt x="11052" y="7724"/>
                  <a:pt x="11535" y="772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5" name="Shape 2795"/>
          <p:cNvSpPr/>
          <p:nvPr/>
        </p:nvSpPr>
        <p:spPr>
          <a:xfrm>
            <a:off x="266037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5" y="1349"/>
                  <a:pt x="5780" y="3437"/>
                </a:cubicBezTo>
                <a:cubicBezTo>
                  <a:pt x="6324" y="3259"/>
                  <a:pt x="6890" y="3132"/>
                  <a:pt x="7472" y="3051"/>
                </a:cubicBezTo>
                <a:cubicBezTo>
                  <a:pt x="8868" y="1774"/>
                  <a:pt x="10722" y="987"/>
                  <a:pt x="12764" y="987"/>
                </a:cubicBezTo>
                <a:cubicBezTo>
                  <a:pt x="17098" y="987"/>
                  <a:pt x="20612" y="4502"/>
                  <a:pt x="20612" y="8836"/>
                </a:cubicBezTo>
                <a:cubicBezTo>
                  <a:pt x="20612"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9292" y="10539"/>
                </a:moveTo>
                <a:cubicBezTo>
                  <a:pt x="9702" y="10539"/>
                  <a:pt x="10080" y="10712"/>
                  <a:pt x="10426" y="11057"/>
                </a:cubicBezTo>
                <a:lnTo>
                  <a:pt x="10798" y="10320"/>
                </a:lnTo>
                <a:cubicBezTo>
                  <a:pt x="10307" y="9985"/>
                  <a:pt x="9826" y="9817"/>
                  <a:pt x="9356" y="9817"/>
                </a:cubicBezTo>
                <a:cubicBezTo>
                  <a:pt x="8708" y="9817"/>
                  <a:pt x="8176" y="10026"/>
                  <a:pt x="7761" y="10441"/>
                </a:cubicBezTo>
                <a:cubicBezTo>
                  <a:pt x="7404" y="10804"/>
                  <a:pt x="7158" y="11296"/>
                  <a:pt x="7023" y="11917"/>
                </a:cubicBezTo>
                <a:lnTo>
                  <a:pt x="6594" y="11917"/>
                </a:lnTo>
                <a:lnTo>
                  <a:pt x="6384" y="12435"/>
                </a:lnTo>
                <a:lnTo>
                  <a:pt x="6967" y="12435"/>
                </a:lnTo>
                <a:cubicBezTo>
                  <a:pt x="6961" y="12495"/>
                  <a:pt x="6957" y="12549"/>
                  <a:pt x="6955" y="12598"/>
                </a:cubicBezTo>
                <a:cubicBezTo>
                  <a:pt x="6952" y="12646"/>
                  <a:pt x="6950" y="12690"/>
                  <a:pt x="6950" y="12727"/>
                </a:cubicBezTo>
                <a:cubicBezTo>
                  <a:pt x="6950" y="12776"/>
                  <a:pt x="6952" y="12822"/>
                  <a:pt x="6955" y="12865"/>
                </a:cubicBezTo>
                <a:cubicBezTo>
                  <a:pt x="6957" y="12908"/>
                  <a:pt x="6961" y="12949"/>
                  <a:pt x="6967" y="12987"/>
                </a:cubicBezTo>
                <a:lnTo>
                  <a:pt x="6602" y="12987"/>
                </a:lnTo>
                <a:lnTo>
                  <a:pt x="6384" y="13497"/>
                </a:lnTo>
                <a:lnTo>
                  <a:pt x="7007" y="13497"/>
                </a:lnTo>
                <a:cubicBezTo>
                  <a:pt x="7093" y="14146"/>
                  <a:pt x="7313" y="14662"/>
                  <a:pt x="7663" y="15045"/>
                </a:cubicBezTo>
                <a:cubicBezTo>
                  <a:pt x="8068" y="15489"/>
                  <a:pt x="8633" y="15710"/>
                  <a:pt x="9356" y="15710"/>
                </a:cubicBezTo>
                <a:cubicBezTo>
                  <a:pt x="9805" y="15710"/>
                  <a:pt x="10212" y="15591"/>
                  <a:pt x="10579" y="15354"/>
                </a:cubicBezTo>
                <a:lnTo>
                  <a:pt x="10579" y="14454"/>
                </a:lnTo>
                <a:cubicBezTo>
                  <a:pt x="10374" y="14643"/>
                  <a:pt x="10191" y="14778"/>
                  <a:pt x="10029" y="14859"/>
                </a:cubicBezTo>
                <a:cubicBezTo>
                  <a:pt x="9850" y="14945"/>
                  <a:pt x="9626" y="14989"/>
                  <a:pt x="9356" y="14989"/>
                </a:cubicBezTo>
                <a:cubicBezTo>
                  <a:pt x="8940" y="14989"/>
                  <a:pt x="8611" y="14834"/>
                  <a:pt x="8368" y="14527"/>
                </a:cubicBezTo>
                <a:cubicBezTo>
                  <a:pt x="8158" y="14279"/>
                  <a:pt x="8020" y="13935"/>
                  <a:pt x="7955" y="13497"/>
                </a:cubicBezTo>
                <a:lnTo>
                  <a:pt x="9583" y="13497"/>
                </a:lnTo>
                <a:lnTo>
                  <a:pt x="9786" y="12987"/>
                </a:lnTo>
                <a:lnTo>
                  <a:pt x="7914" y="12987"/>
                </a:lnTo>
                <a:cubicBezTo>
                  <a:pt x="7909" y="12960"/>
                  <a:pt x="7906" y="12876"/>
                  <a:pt x="7906" y="12735"/>
                </a:cubicBezTo>
                <a:lnTo>
                  <a:pt x="7906" y="12549"/>
                </a:lnTo>
                <a:cubicBezTo>
                  <a:pt x="7906" y="12500"/>
                  <a:pt x="7909" y="12462"/>
                  <a:pt x="7914" y="12435"/>
                </a:cubicBezTo>
                <a:lnTo>
                  <a:pt x="9899" y="12435"/>
                </a:lnTo>
                <a:lnTo>
                  <a:pt x="10110" y="11917"/>
                </a:lnTo>
                <a:lnTo>
                  <a:pt x="7972" y="11917"/>
                </a:lnTo>
                <a:cubicBezTo>
                  <a:pt x="8042" y="11539"/>
                  <a:pt x="8179" y="11222"/>
                  <a:pt x="8384" y="10968"/>
                </a:cubicBezTo>
                <a:cubicBezTo>
                  <a:pt x="8627" y="10682"/>
                  <a:pt x="8929" y="10539"/>
                  <a:pt x="9292" y="105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6" name="Shape 2796"/>
          <p:cNvSpPr/>
          <p:nvPr/>
        </p:nvSpPr>
        <p:spPr>
          <a:xfrm>
            <a:off x="306032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660" y="9921"/>
                </a:moveTo>
                <a:cubicBezTo>
                  <a:pt x="12438" y="10786"/>
                  <a:pt x="11065" y="10346"/>
                  <a:pt x="10620" y="10238"/>
                </a:cubicBezTo>
                <a:lnTo>
                  <a:pt x="11011" y="8710"/>
                </a:lnTo>
                <a:cubicBezTo>
                  <a:pt x="11457" y="8818"/>
                  <a:pt x="12891" y="9019"/>
                  <a:pt x="12660" y="9921"/>
                </a:cubicBezTo>
                <a:moveTo>
                  <a:pt x="12416" y="12387"/>
                </a:moveTo>
                <a:cubicBezTo>
                  <a:pt x="12172" y="13338"/>
                  <a:pt x="10523" y="12824"/>
                  <a:pt x="9988" y="12695"/>
                </a:cubicBezTo>
                <a:lnTo>
                  <a:pt x="10421" y="11009"/>
                </a:lnTo>
                <a:cubicBezTo>
                  <a:pt x="10956" y="11139"/>
                  <a:pt x="12671" y="11395"/>
                  <a:pt x="12416" y="12387"/>
                </a:cubicBezTo>
                <a:moveTo>
                  <a:pt x="12637" y="8174"/>
                </a:moveTo>
                <a:lnTo>
                  <a:pt x="12960" y="6916"/>
                </a:lnTo>
                <a:lnTo>
                  <a:pt x="12171" y="6726"/>
                </a:lnTo>
                <a:lnTo>
                  <a:pt x="11857" y="7950"/>
                </a:lnTo>
                <a:cubicBezTo>
                  <a:pt x="11649" y="7900"/>
                  <a:pt x="11436" y="7853"/>
                  <a:pt x="11224" y="7806"/>
                </a:cubicBezTo>
                <a:lnTo>
                  <a:pt x="11541" y="6573"/>
                </a:lnTo>
                <a:lnTo>
                  <a:pt x="10753" y="6382"/>
                </a:lnTo>
                <a:lnTo>
                  <a:pt x="10429" y="7640"/>
                </a:lnTo>
                <a:cubicBezTo>
                  <a:pt x="10258" y="7602"/>
                  <a:pt x="10090" y="7565"/>
                  <a:pt x="9926" y="7525"/>
                </a:cubicBezTo>
                <a:lnTo>
                  <a:pt x="9927" y="7521"/>
                </a:lnTo>
                <a:lnTo>
                  <a:pt x="8839" y="7257"/>
                </a:lnTo>
                <a:lnTo>
                  <a:pt x="8629" y="8075"/>
                </a:lnTo>
                <a:cubicBezTo>
                  <a:pt x="8629" y="8075"/>
                  <a:pt x="9214" y="8205"/>
                  <a:pt x="9202" y="8214"/>
                </a:cubicBezTo>
                <a:cubicBezTo>
                  <a:pt x="9521" y="8291"/>
                  <a:pt x="9579" y="8496"/>
                  <a:pt x="9569" y="8658"/>
                </a:cubicBezTo>
                <a:lnTo>
                  <a:pt x="9202" y="10091"/>
                </a:lnTo>
                <a:cubicBezTo>
                  <a:pt x="9224" y="10097"/>
                  <a:pt x="9252" y="10104"/>
                  <a:pt x="9283" y="10116"/>
                </a:cubicBezTo>
                <a:cubicBezTo>
                  <a:pt x="9257" y="10110"/>
                  <a:pt x="9229" y="10103"/>
                  <a:pt x="9200" y="10097"/>
                </a:cubicBezTo>
                <a:lnTo>
                  <a:pt x="8684" y="12103"/>
                </a:lnTo>
                <a:cubicBezTo>
                  <a:pt x="8646" y="12198"/>
                  <a:pt x="8546" y="12339"/>
                  <a:pt x="8323" y="12285"/>
                </a:cubicBezTo>
                <a:cubicBezTo>
                  <a:pt x="8331" y="12297"/>
                  <a:pt x="7749" y="12147"/>
                  <a:pt x="7749" y="12147"/>
                </a:cubicBezTo>
                <a:lnTo>
                  <a:pt x="7358" y="13023"/>
                </a:lnTo>
                <a:lnTo>
                  <a:pt x="8384" y="13271"/>
                </a:lnTo>
                <a:cubicBezTo>
                  <a:pt x="8575" y="13317"/>
                  <a:pt x="8762" y="13366"/>
                  <a:pt x="8946" y="13412"/>
                </a:cubicBezTo>
                <a:lnTo>
                  <a:pt x="8621" y="14684"/>
                </a:lnTo>
                <a:lnTo>
                  <a:pt x="9408" y="14875"/>
                </a:lnTo>
                <a:lnTo>
                  <a:pt x="9731" y="13616"/>
                </a:lnTo>
                <a:cubicBezTo>
                  <a:pt x="9947" y="13673"/>
                  <a:pt x="10156" y="13725"/>
                  <a:pt x="10360" y="13775"/>
                </a:cubicBezTo>
                <a:lnTo>
                  <a:pt x="10038" y="15027"/>
                </a:lnTo>
                <a:lnTo>
                  <a:pt x="10827" y="15218"/>
                </a:lnTo>
                <a:lnTo>
                  <a:pt x="11153" y="13948"/>
                </a:lnTo>
                <a:cubicBezTo>
                  <a:pt x="12499" y="14195"/>
                  <a:pt x="13510" y="14095"/>
                  <a:pt x="13935" y="12915"/>
                </a:cubicBezTo>
                <a:cubicBezTo>
                  <a:pt x="14279" y="11964"/>
                  <a:pt x="13918" y="11416"/>
                  <a:pt x="13210" y="11058"/>
                </a:cubicBezTo>
                <a:cubicBezTo>
                  <a:pt x="13726" y="10943"/>
                  <a:pt x="14115" y="10614"/>
                  <a:pt x="14218" y="9934"/>
                </a:cubicBezTo>
                <a:cubicBezTo>
                  <a:pt x="14361" y="9006"/>
                  <a:pt x="13633" y="8507"/>
                  <a:pt x="12637" y="8174"/>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7" name="Shape 2797"/>
          <p:cNvSpPr/>
          <p:nvPr/>
        </p:nvSpPr>
        <p:spPr>
          <a:xfrm>
            <a:off x="346026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052" y="12079"/>
                </a:moveTo>
                <a:cubicBezTo>
                  <a:pt x="9878" y="12752"/>
                  <a:pt x="8799" y="12411"/>
                  <a:pt x="8449" y="12327"/>
                </a:cubicBezTo>
                <a:lnTo>
                  <a:pt x="8758" y="11138"/>
                </a:lnTo>
                <a:cubicBezTo>
                  <a:pt x="9107" y="11222"/>
                  <a:pt x="10234" y="11378"/>
                  <a:pt x="10052" y="12079"/>
                </a:cubicBezTo>
                <a:moveTo>
                  <a:pt x="9860" y="13998"/>
                </a:moveTo>
                <a:cubicBezTo>
                  <a:pt x="9669" y="14737"/>
                  <a:pt x="8373" y="14338"/>
                  <a:pt x="7953" y="14238"/>
                </a:cubicBezTo>
                <a:lnTo>
                  <a:pt x="8293" y="12927"/>
                </a:lnTo>
                <a:cubicBezTo>
                  <a:pt x="8714" y="13027"/>
                  <a:pt x="10060" y="13227"/>
                  <a:pt x="9860" y="13998"/>
                </a:cubicBezTo>
                <a:moveTo>
                  <a:pt x="10034" y="10721"/>
                </a:moveTo>
                <a:lnTo>
                  <a:pt x="10288" y="9743"/>
                </a:lnTo>
                <a:lnTo>
                  <a:pt x="9668" y="9595"/>
                </a:lnTo>
                <a:lnTo>
                  <a:pt x="9421" y="10547"/>
                </a:lnTo>
                <a:cubicBezTo>
                  <a:pt x="9258" y="10508"/>
                  <a:pt x="9090" y="10471"/>
                  <a:pt x="8925" y="10434"/>
                </a:cubicBezTo>
                <a:lnTo>
                  <a:pt x="9173" y="9476"/>
                </a:lnTo>
                <a:lnTo>
                  <a:pt x="8554" y="9328"/>
                </a:lnTo>
                <a:lnTo>
                  <a:pt x="8300" y="10306"/>
                </a:lnTo>
                <a:cubicBezTo>
                  <a:pt x="8165" y="10276"/>
                  <a:pt x="8033" y="10247"/>
                  <a:pt x="7904" y="10216"/>
                </a:cubicBezTo>
                <a:lnTo>
                  <a:pt x="7904" y="10213"/>
                </a:lnTo>
                <a:lnTo>
                  <a:pt x="7050" y="10008"/>
                </a:lnTo>
                <a:lnTo>
                  <a:pt x="6885" y="10644"/>
                </a:lnTo>
                <a:cubicBezTo>
                  <a:pt x="6885" y="10644"/>
                  <a:pt x="7345" y="10745"/>
                  <a:pt x="7335" y="10751"/>
                </a:cubicBezTo>
                <a:cubicBezTo>
                  <a:pt x="7586" y="10812"/>
                  <a:pt x="7632" y="10971"/>
                  <a:pt x="7624" y="11098"/>
                </a:cubicBezTo>
                <a:lnTo>
                  <a:pt x="7335" y="12213"/>
                </a:lnTo>
                <a:cubicBezTo>
                  <a:pt x="7352" y="12216"/>
                  <a:pt x="7375" y="12222"/>
                  <a:pt x="7399" y="12232"/>
                </a:cubicBezTo>
                <a:cubicBezTo>
                  <a:pt x="7379" y="12227"/>
                  <a:pt x="7357" y="12222"/>
                  <a:pt x="7334" y="12216"/>
                </a:cubicBezTo>
                <a:lnTo>
                  <a:pt x="6928" y="13777"/>
                </a:lnTo>
                <a:cubicBezTo>
                  <a:pt x="6898" y="13851"/>
                  <a:pt x="6820" y="13960"/>
                  <a:pt x="6645" y="13919"/>
                </a:cubicBezTo>
                <a:cubicBezTo>
                  <a:pt x="6651" y="13928"/>
                  <a:pt x="6194" y="13811"/>
                  <a:pt x="6194" y="13811"/>
                </a:cubicBezTo>
                <a:lnTo>
                  <a:pt x="5886" y="14492"/>
                </a:lnTo>
                <a:lnTo>
                  <a:pt x="6692" y="14686"/>
                </a:lnTo>
                <a:cubicBezTo>
                  <a:pt x="6843" y="14721"/>
                  <a:pt x="6990" y="14759"/>
                  <a:pt x="7134" y="14795"/>
                </a:cubicBezTo>
                <a:lnTo>
                  <a:pt x="6878" y="15784"/>
                </a:lnTo>
                <a:lnTo>
                  <a:pt x="7497" y="15933"/>
                </a:lnTo>
                <a:lnTo>
                  <a:pt x="7751" y="14954"/>
                </a:lnTo>
                <a:cubicBezTo>
                  <a:pt x="7921" y="14998"/>
                  <a:pt x="8085" y="15039"/>
                  <a:pt x="8245" y="15077"/>
                </a:cubicBezTo>
                <a:lnTo>
                  <a:pt x="7992" y="16051"/>
                </a:lnTo>
                <a:lnTo>
                  <a:pt x="8612" y="16200"/>
                </a:lnTo>
                <a:lnTo>
                  <a:pt x="8868" y="15212"/>
                </a:lnTo>
                <a:cubicBezTo>
                  <a:pt x="9926" y="15404"/>
                  <a:pt x="10720" y="15327"/>
                  <a:pt x="11055" y="14408"/>
                </a:cubicBezTo>
                <a:cubicBezTo>
                  <a:pt x="11324" y="13669"/>
                  <a:pt x="11041" y="13242"/>
                  <a:pt x="10485" y="12965"/>
                </a:cubicBezTo>
                <a:cubicBezTo>
                  <a:pt x="10890" y="12875"/>
                  <a:pt x="11195" y="12619"/>
                  <a:pt x="11277" y="12090"/>
                </a:cubicBezTo>
                <a:cubicBezTo>
                  <a:pt x="11389" y="11368"/>
                  <a:pt x="10816" y="10980"/>
                  <a:pt x="10034" y="10721"/>
                </a:cubicBezTo>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6" y="1350"/>
                  <a:pt x="5780" y="3438"/>
                </a:cubicBezTo>
                <a:cubicBezTo>
                  <a:pt x="6324" y="3259"/>
                  <a:pt x="6890" y="3132"/>
                  <a:pt x="7472" y="3051"/>
                </a:cubicBezTo>
                <a:cubicBezTo>
                  <a:pt x="8868" y="1774"/>
                  <a:pt x="10722" y="987"/>
                  <a:pt x="12764" y="987"/>
                </a:cubicBezTo>
                <a:cubicBezTo>
                  <a:pt x="17098" y="987"/>
                  <a:pt x="20612" y="4501"/>
                  <a:pt x="20612" y="8836"/>
                </a:cubicBezTo>
                <a:cubicBezTo>
                  <a:pt x="20612" y="10878"/>
                  <a:pt x="19827" y="12732"/>
                  <a:pt x="18549" y="14128"/>
                </a:cubicBezTo>
                <a:cubicBezTo>
                  <a:pt x="18468" y="14709"/>
                  <a:pt x="18341" y="15276"/>
                  <a:pt x="18163" y="15821"/>
                </a:cubicBezTo>
                <a:cubicBezTo>
                  <a:pt x="20250" y="14204"/>
                  <a:pt x="21600" y="11681"/>
                  <a:pt x="21600" y="8836"/>
                </a:cubicBezTo>
                <a:cubicBezTo>
                  <a:pt x="21600" y="3956"/>
                  <a:pt x="17644"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8" name="Shape 2798"/>
          <p:cNvSpPr/>
          <p:nvPr/>
        </p:nvSpPr>
        <p:spPr>
          <a:xfrm>
            <a:off x="3860211" y="1117519"/>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1502" y="11838"/>
                </a:moveTo>
                <a:cubicBezTo>
                  <a:pt x="11425" y="11731"/>
                  <a:pt x="11338" y="11646"/>
                  <a:pt x="11242" y="11581"/>
                </a:cubicBezTo>
                <a:cubicBezTo>
                  <a:pt x="11144" y="11515"/>
                  <a:pt x="11102" y="11458"/>
                  <a:pt x="11001" y="11410"/>
                </a:cubicBezTo>
                <a:lnTo>
                  <a:pt x="11001" y="14261"/>
                </a:lnTo>
                <a:cubicBezTo>
                  <a:pt x="11238" y="14227"/>
                  <a:pt x="11377" y="14100"/>
                  <a:pt x="11528" y="13875"/>
                </a:cubicBezTo>
                <a:cubicBezTo>
                  <a:pt x="11680" y="13651"/>
                  <a:pt x="11756" y="13293"/>
                  <a:pt x="11756" y="12804"/>
                </a:cubicBezTo>
                <a:cubicBezTo>
                  <a:pt x="11756" y="12576"/>
                  <a:pt x="11733" y="12384"/>
                  <a:pt x="11686" y="12229"/>
                </a:cubicBezTo>
                <a:cubicBezTo>
                  <a:pt x="11640" y="12074"/>
                  <a:pt x="11579" y="11944"/>
                  <a:pt x="11502" y="11838"/>
                </a:cubicBezTo>
                <a:moveTo>
                  <a:pt x="17182" y="16200"/>
                </a:moveTo>
                <a:lnTo>
                  <a:pt x="16200" y="16200"/>
                </a:lnTo>
                <a:cubicBezTo>
                  <a:pt x="15929" y="16200"/>
                  <a:pt x="15709" y="16602"/>
                  <a:pt x="15709" y="17100"/>
                </a:cubicBezTo>
                <a:cubicBezTo>
                  <a:pt x="15709" y="17597"/>
                  <a:pt x="15929" y="18000"/>
                  <a:pt x="16200" y="18000"/>
                </a:cubicBezTo>
                <a:lnTo>
                  <a:pt x="17182" y="18000"/>
                </a:lnTo>
                <a:cubicBezTo>
                  <a:pt x="17453" y="18000"/>
                  <a:pt x="17673" y="17597"/>
                  <a:pt x="17673" y="17100"/>
                </a:cubicBezTo>
                <a:cubicBezTo>
                  <a:pt x="17673" y="16602"/>
                  <a:pt x="17453" y="16200"/>
                  <a:pt x="17182" y="16200"/>
                </a:cubicBezTo>
                <a:moveTo>
                  <a:pt x="9917" y="8509"/>
                </a:moveTo>
                <a:cubicBezTo>
                  <a:pt x="9917" y="8706"/>
                  <a:pt x="9938" y="8872"/>
                  <a:pt x="9982" y="9011"/>
                </a:cubicBezTo>
                <a:cubicBezTo>
                  <a:pt x="10026" y="9150"/>
                  <a:pt x="10082" y="9268"/>
                  <a:pt x="10150" y="9366"/>
                </a:cubicBezTo>
                <a:cubicBezTo>
                  <a:pt x="10219" y="9464"/>
                  <a:pt x="10298" y="9544"/>
                  <a:pt x="10388" y="9605"/>
                </a:cubicBezTo>
                <a:cubicBezTo>
                  <a:pt x="10478" y="9665"/>
                  <a:pt x="10513" y="9717"/>
                  <a:pt x="10605" y="9757"/>
                </a:cubicBezTo>
                <a:lnTo>
                  <a:pt x="10605" y="7311"/>
                </a:lnTo>
                <a:cubicBezTo>
                  <a:pt x="10368" y="7311"/>
                  <a:pt x="10241" y="7402"/>
                  <a:pt x="10111" y="7585"/>
                </a:cubicBezTo>
                <a:cubicBezTo>
                  <a:pt x="9981" y="7769"/>
                  <a:pt x="9917" y="8077"/>
                  <a:pt x="9917" y="8509"/>
                </a:cubicBezTo>
                <a:moveTo>
                  <a:pt x="20127" y="3600"/>
                </a:moveTo>
                <a:cubicBezTo>
                  <a:pt x="19856" y="3600"/>
                  <a:pt x="19636" y="3197"/>
                  <a:pt x="19636" y="2700"/>
                </a:cubicBezTo>
                <a:cubicBezTo>
                  <a:pt x="19636" y="2203"/>
                  <a:pt x="19856" y="1800"/>
                  <a:pt x="20127" y="1800"/>
                </a:cubicBezTo>
                <a:cubicBezTo>
                  <a:pt x="20399" y="1800"/>
                  <a:pt x="20618" y="2203"/>
                  <a:pt x="20618" y="2700"/>
                </a:cubicBezTo>
                <a:cubicBezTo>
                  <a:pt x="20618" y="3197"/>
                  <a:pt x="20399" y="3600"/>
                  <a:pt x="20127" y="3600"/>
                </a:cubicBezTo>
                <a:moveTo>
                  <a:pt x="20618" y="16365"/>
                </a:moveTo>
                <a:cubicBezTo>
                  <a:pt x="20464" y="16265"/>
                  <a:pt x="20300" y="16200"/>
                  <a:pt x="20127" y="16200"/>
                </a:cubicBezTo>
                <a:cubicBezTo>
                  <a:pt x="19314" y="16200"/>
                  <a:pt x="18655" y="17408"/>
                  <a:pt x="18655" y="18900"/>
                </a:cubicBezTo>
                <a:cubicBezTo>
                  <a:pt x="18655" y="19217"/>
                  <a:pt x="18690" y="19517"/>
                  <a:pt x="18745" y="19800"/>
                </a:cubicBezTo>
                <a:lnTo>
                  <a:pt x="2855" y="19800"/>
                </a:lnTo>
                <a:cubicBezTo>
                  <a:pt x="2910" y="19517"/>
                  <a:pt x="2945" y="19217"/>
                  <a:pt x="2945" y="18900"/>
                </a:cubicBezTo>
                <a:cubicBezTo>
                  <a:pt x="2945" y="17408"/>
                  <a:pt x="2286" y="16200"/>
                  <a:pt x="1473" y="16200"/>
                </a:cubicBezTo>
                <a:cubicBezTo>
                  <a:pt x="1300" y="16200"/>
                  <a:pt x="1136" y="16265"/>
                  <a:pt x="982" y="16365"/>
                </a:cubicBezTo>
                <a:lnTo>
                  <a:pt x="982" y="5234"/>
                </a:lnTo>
                <a:cubicBezTo>
                  <a:pt x="1136" y="5335"/>
                  <a:pt x="1300" y="5400"/>
                  <a:pt x="1473" y="5400"/>
                </a:cubicBezTo>
                <a:cubicBezTo>
                  <a:pt x="2286" y="5400"/>
                  <a:pt x="2945" y="4191"/>
                  <a:pt x="2945" y="2700"/>
                </a:cubicBezTo>
                <a:cubicBezTo>
                  <a:pt x="2945" y="2382"/>
                  <a:pt x="2910" y="2083"/>
                  <a:pt x="2855" y="1800"/>
                </a:cubicBezTo>
                <a:lnTo>
                  <a:pt x="18745" y="1800"/>
                </a:lnTo>
                <a:cubicBezTo>
                  <a:pt x="18690" y="2083"/>
                  <a:pt x="18655" y="2382"/>
                  <a:pt x="18655" y="2700"/>
                </a:cubicBezTo>
                <a:cubicBezTo>
                  <a:pt x="18655" y="4191"/>
                  <a:pt x="19314" y="5400"/>
                  <a:pt x="20127" y="5400"/>
                </a:cubicBezTo>
                <a:cubicBezTo>
                  <a:pt x="20300" y="5400"/>
                  <a:pt x="20464" y="5335"/>
                  <a:pt x="20618" y="5234"/>
                </a:cubicBezTo>
                <a:cubicBezTo>
                  <a:pt x="20618" y="5234"/>
                  <a:pt x="20618" y="16365"/>
                  <a:pt x="20618" y="16365"/>
                </a:cubicBezTo>
                <a:close/>
                <a:moveTo>
                  <a:pt x="20127" y="19800"/>
                </a:moveTo>
                <a:cubicBezTo>
                  <a:pt x="19856" y="19800"/>
                  <a:pt x="19636" y="19397"/>
                  <a:pt x="19636" y="18900"/>
                </a:cubicBezTo>
                <a:cubicBezTo>
                  <a:pt x="19636" y="18403"/>
                  <a:pt x="19856" y="18000"/>
                  <a:pt x="20127" y="18000"/>
                </a:cubicBezTo>
                <a:cubicBezTo>
                  <a:pt x="20399" y="18000"/>
                  <a:pt x="20618" y="18403"/>
                  <a:pt x="20618" y="18900"/>
                </a:cubicBezTo>
                <a:cubicBezTo>
                  <a:pt x="20618" y="19397"/>
                  <a:pt x="20399" y="19800"/>
                  <a:pt x="20127" y="19800"/>
                </a:cubicBezTo>
                <a:moveTo>
                  <a:pt x="1473" y="19800"/>
                </a:moveTo>
                <a:cubicBezTo>
                  <a:pt x="1201" y="19800"/>
                  <a:pt x="982" y="19397"/>
                  <a:pt x="982" y="18900"/>
                </a:cubicBezTo>
                <a:cubicBezTo>
                  <a:pt x="982" y="18403"/>
                  <a:pt x="1201" y="18000"/>
                  <a:pt x="1473" y="18000"/>
                </a:cubicBezTo>
                <a:cubicBezTo>
                  <a:pt x="1744" y="18000"/>
                  <a:pt x="1964" y="18403"/>
                  <a:pt x="1964" y="18900"/>
                </a:cubicBezTo>
                <a:cubicBezTo>
                  <a:pt x="1964" y="19397"/>
                  <a:pt x="1744" y="19800"/>
                  <a:pt x="1473" y="19800"/>
                </a:cubicBezTo>
                <a:moveTo>
                  <a:pt x="1473" y="1800"/>
                </a:moveTo>
                <a:cubicBezTo>
                  <a:pt x="1744" y="1800"/>
                  <a:pt x="1964" y="2203"/>
                  <a:pt x="1964" y="2700"/>
                </a:cubicBezTo>
                <a:cubicBezTo>
                  <a:pt x="1964" y="3197"/>
                  <a:pt x="1744" y="3600"/>
                  <a:pt x="1473" y="3600"/>
                </a:cubicBezTo>
                <a:cubicBezTo>
                  <a:pt x="1201" y="3600"/>
                  <a:pt x="982" y="3197"/>
                  <a:pt x="982" y="2700"/>
                </a:cubicBezTo>
                <a:cubicBezTo>
                  <a:pt x="982" y="2203"/>
                  <a:pt x="1201" y="1800"/>
                  <a:pt x="1473" y="1800"/>
                </a:cubicBezTo>
                <a:moveTo>
                  <a:pt x="20618" y="0"/>
                </a:moveTo>
                <a:lnTo>
                  <a:pt x="982" y="0"/>
                </a:lnTo>
                <a:cubicBezTo>
                  <a:pt x="440" y="0"/>
                  <a:pt x="0" y="806"/>
                  <a:pt x="0" y="1800"/>
                </a:cubicBezTo>
                <a:lnTo>
                  <a:pt x="0" y="19800"/>
                </a:lnTo>
                <a:cubicBezTo>
                  <a:pt x="0" y="20794"/>
                  <a:pt x="440" y="21600"/>
                  <a:pt x="982" y="21600"/>
                </a:cubicBezTo>
                <a:lnTo>
                  <a:pt x="20618" y="21600"/>
                </a:lnTo>
                <a:cubicBezTo>
                  <a:pt x="21160" y="21600"/>
                  <a:pt x="21600" y="20794"/>
                  <a:pt x="21600" y="19800"/>
                </a:cubicBezTo>
                <a:lnTo>
                  <a:pt x="21600" y="1800"/>
                </a:lnTo>
                <a:cubicBezTo>
                  <a:pt x="21600" y="806"/>
                  <a:pt x="21160" y="0"/>
                  <a:pt x="20618" y="0"/>
                </a:cubicBezTo>
                <a:moveTo>
                  <a:pt x="12385" y="13801"/>
                </a:moveTo>
                <a:cubicBezTo>
                  <a:pt x="12304" y="14141"/>
                  <a:pt x="12193" y="14422"/>
                  <a:pt x="12052" y="14646"/>
                </a:cubicBezTo>
                <a:cubicBezTo>
                  <a:pt x="11912" y="14871"/>
                  <a:pt x="11747" y="15042"/>
                  <a:pt x="11558" y="15160"/>
                </a:cubicBezTo>
                <a:cubicBezTo>
                  <a:pt x="11369" y="15278"/>
                  <a:pt x="11221" y="15345"/>
                  <a:pt x="11001" y="15362"/>
                </a:cubicBezTo>
                <a:lnTo>
                  <a:pt x="11001" y="16198"/>
                </a:lnTo>
                <a:lnTo>
                  <a:pt x="10605" y="16198"/>
                </a:lnTo>
                <a:lnTo>
                  <a:pt x="10605" y="15362"/>
                </a:lnTo>
                <a:cubicBezTo>
                  <a:pt x="10368" y="15353"/>
                  <a:pt x="10206" y="15284"/>
                  <a:pt x="10009" y="15154"/>
                </a:cubicBezTo>
                <a:cubicBezTo>
                  <a:pt x="9811" y="15023"/>
                  <a:pt x="9642" y="14837"/>
                  <a:pt x="9501" y="14596"/>
                </a:cubicBezTo>
                <a:cubicBezTo>
                  <a:pt x="9361" y="14356"/>
                  <a:pt x="9252" y="14061"/>
                  <a:pt x="9175" y="13710"/>
                </a:cubicBezTo>
                <a:cubicBezTo>
                  <a:pt x="9098" y="13359"/>
                  <a:pt x="9062" y="12956"/>
                  <a:pt x="9066" y="12498"/>
                </a:cubicBezTo>
                <a:lnTo>
                  <a:pt x="9818" y="12498"/>
                </a:lnTo>
                <a:cubicBezTo>
                  <a:pt x="9813" y="13036"/>
                  <a:pt x="9877" y="13461"/>
                  <a:pt x="10009" y="13770"/>
                </a:cubicBezTo>
                <a:cubicBezTo>
                  <a:pt x="10140" y="14081"/>
                  <a:pt x="10302" y="14244"/>
                  <a:pt x="10605" y="14261"/>
                </a:cubicBezTo>
                <a:lnTo>
                  <a:pt x="10605" y="11299"/>
                </a:lnTo>
                <a:cubicBezTo>
                  <a:pt x="10425" y="11209"/>
                  <a:pt x="10302" y="11101"/>
                  <a:pt x="10124" y="10974"/>
                </a:cubicBezTo>
                <a:cubicBezTo>
                  <a:pt x="9946" y="10849"/>
                  <a:pt x="9786" y="10686"/>
                  <a:pt x="9643" y="10485"/>
                </a:cubicBezTo>
                <a:cubicBezTo>
                  <a:pt x="9500" y="10285"/>
                  <a:pt x="9385" y="10035"/>
                  <a:pt x="9297" y="9733"/>
                </a:cubicBezTo>
                <a:cubicBezTo>
                  <a:pt x="9209" y="9431"/>
                  <a:pt x="9165" y="9056"/>
                  <a:pt x="9165" y="8607"/>
                </a:cubicBezTo>
                <a:cubicBezTo>
                  <a:pt x="9165" y="8216"/>
                  <a:pt x="9206" y="7871"/>
                  <a:pt x="9287" y="7574"/>
                </a:cubicBezTo>
                <a:cubicBezTo>
                  <a:pt x="9369" y="7276"/>
                  <a:pt x="9478" y="7026"/>
                  <a:pt x="9617" y="6827"/>
                </a:cubicBezTo>
                <a:cubicBezTo>
                  <a:pt x="9755" y="6627"/>
                  <a:pt x="9914" y="6474"/>
                  <a:pt x="10094" y="6368"/>
                </a:cubicBezTo>
                <a:cubicBezTo>
                  <a:pt x="10275" y="6262"/>
                  <a:pt x="10408" y="6209"/>
                  <a:pt x="10605" y="6209"/>
                </a:cubicBezTo>
                <a:lnTo>
                  <a:pt x="10605" y="5406"/>
                </a:lnTo>
                <a:lnTo>
                  <a:pt x="11001" y="5406"/>
                </a:lnTo>
                <a:lnTo>
                  <a:pt x="11001" y="6209"/>
                </a:lnTo>
                <a:cubicBezTo>
                  <a:pt x="11199" y="6209"/>
                  <a:pt x="11329" y="6257"/>
                  <a:pt x="11505" y="6356"/>
                </a:cubicBezTo>
                <a:cubicBezTo>
                  <a:pt x="11681" y="6454"/>
                  <a:pt x="11834" y="6601"/>
                  <a:pt x="11963" y="6796"/>
                </a:cubicBezTo>
                <a:cubicBezTo>
                  <a:pt x="12093" y="6992"/>
                  <a:pt x="12196" y="7241"/>
                  <a:pt x="12273" y="7543"/>
                </a:cubicBezTo>
                <a:cubicBezTo>
                  <a:pt x="12350" y="7845"/>
                  <a:pt x="12389" y="8195"/>
                  <a:pt x="12389" y="8594"/>
                </a:cubicBezTo>
                <a:lnTo>
                  <a:pt x="11637" y="8594"/>
                </a:lnTo>
                <a:cubicBezTo>
                  <a:pt x="11628" y="8179"/>
                  <a:pt x="11570" y="7860"/>
                  <a:pt x="11463" y="7641"/>
                </a:cubicBezTo>
                <a:cubicBezTo>
                  <a:pt x="11355" y="7420"/>
                  <a:pt x="11238" y="7311"/>
                  <a:pt x="11001" y="7311"/>
                </a:cubicBezTo>
                <a:lnTo>
                  <a:pt x="11001" y="9892"/>
                </a:lnTo>
                <a:cubicBezTo>
                  <a:pt x="11199" y="9990"/>
                  <a:pt x="11336" y="10104"/>
                  <a:pt x="11525" y="10235"/>
                </a:cubicBezTo>
                <a:cubicBezTo>
                  <a:pt x="11714" y="10365"/>
                  <a:pt x="11881" y="10532"/>
                  <a:pt x="12026" y="10736"/>
                </a:cubicBezTo>
                <a:cubicBezTo>
                  <a:pt x="12171" y="10940"/>
                  <a:pt x="12287" y="11193"/>
                  <a:pt x="12375" y="11495"/>
                </a:cubicBezTo>
                <a:cubicBezTo>
                  <a:pt x="12463" y="11797"/>
                  <a:pt x="12507" y="12168"/>
                  <a:pt x="12507" y="12608"/>
                </a:cubicBezTo>
                <a:cubicBezTo>
                  <a:pt x="12507" y="13065"/>
                  <a:pt x="12466" y="13463"/>
                  <a:pt x="12385" y="13801"/>
                </a:cubicBezTo>
                <a:moveTo>
                  <a:pt x="10800" y="3600"/>
                </a:moveTo>
                <a:cubicBezTo>
                  <a:pt x="8631" y="3600"/>
                  <a:pt x="6873" y="6824"/>
                  <a:pt x="6873" y="10800"/>
                </a:cubicBezTo>
                <a:cubicBezTo>
                  <a:pt x="6873" y="14776"/>
                  <a:pt x="8631" y="18000"/>
                  <a:pt x="10800" y="18000"/>
                </a:cubicBezTo>
                <a:cubicBezTo>
                  <a:pt x="12969" y="18000"/>
                  <a:pt x="14727" y="14776"/>
                  <a:pt x="14727" y="10800"/>
                </a:cubicBezTo>
                <a:cubicBezTo>
                  <a:pt x="14727" y="6824"/>
                  <a:pt x="12969" y="3600"/>
                  <a:pt x="10800" y="3600"/>
                </a:cubicBezTo>
                <a:moveTo>
                  <a:pt x="5400" y="3600"/>
                </a:moveTo>
                <a:lnTo>
                  <a:pt x="4418" y="3600"/>
                </a:lnTo>
                <a:cubicBezTo>
                  <a:pt x="4147" y="3600"/>
                  <a:pt x="3927" y="4002"/>
                  <a:pt x="3927" y="4500"/>
                </a:cubicBezTo>
                <a:cubicBezTo>
                  <a:pt x="3927" y="4997"/>
                  <a:pt x="4147" y="5400"/>
                  <a:pt x="4418" y="5400"/>
                </a:cubicBezTo>
                <a:lnTo>
                  <a:pt x="5400" y="5400"/>
                </a:lnTo>
                <a:cubicBezTo>
                  <a:pt x="5671" y="5400"/>
                  <a:pt x="5891" y="4997"/>
                  <a:pt x="5891" y="4500"/>
                </a:cubicBezTo>
                <a:cubicBezTo>
                  <a:pt x="5891" y="4002"/>
                  <a:pt x="5671" y="3600"/>
                  <a:pt x="5400"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9" name="Shape 2799"/>
          <p:cNvSpPr/>
          <p:nvPr/>
        </p:nvSpPr>
        <p:spPr>
          <a:xfrm>
            <a:off x="4260157"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0" name="Shape 2800"/>
          <p:cNvSpPr/>
          <p:nvPr/>
        </p:nvSpPr>
        <p:spPr>
          <a:xfrm>
            <a:off x="660644"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208" y="15258"/>
                </a:moveTo>
                <a:cubicBezTo>
                  <a:pt x="10138" y="15500"/>
                  <a:pt x="10044" y="15701"/>
                  <a:pt x="9923" y="15861"/>
                </a:cubicBezTo>
                <a:cubicBezTo>
                  <a:pt x="9802" y="16022"/>
                  <a:pt x="9660" y="16144"/>
                  <a:pt x="9499" y="16228"/>
                </a:cubicBezTo>
                <a:cubicBezTo>
                  <a:pt x="9362" y="16300"/>
                  <a:pt x="9243" y="16340"/>
                  <a:pt x="9097" y="16360"/>
                </a:cubicBezTo>
                <a:lnTo>
                  <a:pt x="9097" y="16971"/>
                </a:lnTo>
                <a:lnTo>
                  <a:pt x="8606" y="16971"/>
                </a:lnTo>
                <a:lnTo>
                  <a:pt x="8606" y="16361"/>
                </a:lnTo>
                <a:cubicBezTo>
                  <a:pt x="8446" y="16345"/>
                  <a:pt x="8316" y="16304"/>
                  <a:pt x="8171" y="16224"/>
                </a:cubicBezTo>
                <a:cubicBezTo>
                  <a:pt x="8001" y="16130"/>
                  <a:pt x="7856" y="15998"/>
                  <a:pt x="7736" y="15826"/>
                </a:cubicBezTo>
                <a:cubicBezTo>
                  <a:pt x="7615" y="15655"/>
                  <a:pt x="7522" y="15443"/>
                  <a:pt x="7456" y="15193"/>
                </a:cubicBezTo>
                <a:cubicBezTo>
                  <a:pt x="7390" y="14942"/>
                  <a:pt x="7359" y="14654"/>
                  <a:pt x="7363" y="14327"/>
                </a:cubicBezTo>
                <a:lnTo>
                  <a:pt x="8007" y="14327"/>
                </a:lnTo>
                <a:cubicBezTo>
                  <a:pt x="8003" y="14712"/>
                  <a:pt x="8058" y="15015"/>
                  <a:pt x="8171" y="15236"/>
                </a:cubicBezTo>
                <a:cubicBezTo>
                  <a:pt x="8270" y="15431"/>
                  <a:pt x="8403" y="15530"/>
                  <a:pt x="8606" y="15563"/>
                </a:cubicBezTo>
                <a:lnTo>
                  <a:pt x="8606" y="13432"/>
                </a:lnTo>
                <a:cubicBezTo>
                  <a:pt x="8492" y="13376"/>
                  <a:pt x="8395" y="13313"/>
                  <a:pt x="8270" y="13239"/>
                </a:cubicBezTo>
                <a:cubicBezTo>
                  <a:pt x="8118" y="13149"/>
                  <a:pt x="7980" y="13033"/>
                  <a:pt x="7857" y="12890"/>
                </a:cubicBezTo>
                <a:cubicBezTo>
                  <a:pt x="7735" y="12746"/>
                  <a:pt x="7636" y="12568"/>
                  <a:pt x="7561" y="12352"/>
                </a:cubicBezTo>
                <a:cubicBezTo>
                  <a:pt x="7485" y="12136"/>
                  <a:pt x="7448" y="11868"/>
                  <a:pt x="7448" y="11548"/>
                </a:cubicBezTo>
                <a:cubicBezTo>
                  <a:pt x="7448" y="11268"/>
                  <a:pt x="7483" y="11023"/>
                  <a:pt x="7553" y="10809"/>
                </a:cubicBezTo>
                <a:cubicBezTo>
                  <a:pt x="7622" y="10596"/>
                  <a:pt x="7716" y="10419"/>
                  <a:pt x="7835" y="10276"/>
                </a:cubicBezTo>
                <a:cubicBezTo>
                  <a:pt x="7954" y="10134"/>
                  <a:pt x="8090" y="10024"/>
                  <a:pt x="8244" y="9948"/>
                </a:cubicBezTo>
                <a:cubicBezTo>
                  <a:pt x="8373" y="9885"/>
                  <a:pt x="8479" y="9855"/>
                  <a:pt x="8606" y="9844"/>
                </a:cubicBezTo>
                <a:lnTo>
                  <a:pt x="8606" y="9257"/>
                </a:lnTo>
                <a:lnTo>
                  <a:pt x="9097" y="9257"/>
                </a:lnTo>
                <a:lnTo>
                  <a:pt x="9097" y="9844"/>
                </a:lnTo>
                <a:cubicBezTo>
                  <a:pt x="9224" y="9853"/>
                  <a:pt x="9328" y="9881"/>
                  <a:pt x="9453" y="9939"/>
                </a:cubicBezTo>
                <a:cubicBezTo>
                  <a:pt x="9605" y="10009"/>
                  <a:pt x="9735" y="10114"/>
                  <a:pt x="9847" y="10255"/>
                </a:cubicBezTo>
                <a:cubicBezTo>
                  <a:pt x="9957" y="10394"/>
                  <a:pt x="10046" y="10572"/>
                  <a:pt x="10112" y="10788"/>
                </a:cubicBezTo>
                <a:cubicBezTo>
                  <a:pt x="10178" y="11003"/>
                  <a:pt x="10211" y="11254"/>
                  <a:pt x="10211" y="11540"/>
                </a:cubicBezTo>
                <a:lnTo>
                  <a:pt x="9567" y="11540"/>
                </a:lnTo>
                <a:cubicBezTo>
                  <a:pt x="9559" y="11242"/>
                  <a:pt x="9509" y="11015"/>
                  <a:pt x="9417" y="10857"/>
                </a:cubicBezTo>
                <a:cubicBezTo>
                  <a:pt x="9339" y="10725"/>
                  <a:pt x="9243" y="10661"/>
                  <a:pt x="9097" y="10640"/>
                </a:cubicBezTo>
                <a:lnTo>
                  <a:pt x="9097" y="12504"/>
                </a:lnTo>
                <a:cubicBezTo>
                  <a:pt x="9226" y="12565"/>
                  <a:pt x="9336" y="12633"/>
                  <a:pt x="9471" y="12710"/>
                </a:cubicBezTo>
                <a:cubicBezTo>
                  <a:pt x="9633" y="12804"/>
                  <a:pt x="9776" y="12923"/>
                  <a:pt x="9900" y="13069"/>
                </a:cubicBezTo>
                <a:cubicBezTo>
                  <a:pt x="10024" y="13215"/>
                  <a:pt x="10124" y="13395"/>
                  <a:pt x="10200" y="13610"/>
                </a:cubicBezTo>
                <a:cubicBezTo>
                  <a:pt x="10275" y="13827"/>
                  <a:pt x="10312" y="14091"/>
                  <a:pt x="10312" y="14407"/>
                </a:cubicBezTo>
                <a:cubicBezTo>
                  <a:pt x="10312" y="14732"/>
                  <a:pt x="10278" y="15016"/>
                  <a:pt x="10208" y="15258"/>
                </a:cubicBezTo>
                <a:moveTo>
                  <a:pt x="8836" y="7714"/>
                </a:moveTo>
                <a:cubicBezTo>
                  <a:pt x="6938" y="7714"/>
                  <a:pt x="5400" y="10132"/>
                  <a:pt x="5400" y="13114"/>
                </a:cubicBezTo>
                <a:cubicBezTo>
                  <a:pt x="5400" y="16096"/>
                  <a:pt x="6938" y="18514"/>
                  <a:pt x="8836" y="18514"/>
                </a:cubicBezTo>
                <a:cubicBezTo>
                  <a:pt x="10734" y="18514"/>
                  <a:pt x="12273" y="16096"/>
                  <a:pt x="12273" y="13114"/>
                </a:cubicBezTo>
                <a:cubicBezTo>
                  <a:pt x="12273" y="10132"/>
                  <a:pt x="10734" y="7714"/>
                  <a:pt x="8836" y="7714"/>
                </a:cubicBezTo>
                <a:moveTo>
                  <a:pt x="20618" y="0"/>
                </a:moveTo>
                <a:lnTo>
                  <a:pt x="4909" y="0"/>
                </a:lnTo>
                <a:cubicBezTo>
                  <a:pt x="4367" y="0"/>
                  <a:pt x="3927" y="690"/>
                  <a:pt x="3927" y="1543"/>
                </a:cubicBezTo>
                <a:lnTo>
                  <a:pt x="3927" y="2314"/>
                </a:lnTo>
                <a:cubicBezTo>
                  <a:pt x="3927" y="2740"/>
                  <a:pt x="4147" y="3086"/>
                  <a:pt x="4418" y="3086"/>
                </a:cubicBezTo>
                <a:cubicBezTo>
                  <a:pt x="4689" y="3086"/>
                  <a:pt x="4909" y="2740"/>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0"/>
                  <a:pt x="21600" y="15429"/>
                </a:cubicBezTo>
                <a:lnTo>
                  <a:pt x="21600" y="1543"/>
                </a:lnTo>
                <a:cubicBezTo>
                  <a:pt x="21600" y="690"/>
                  <a:pt x="21160" y="0"/>
                  <a:pt x="20618" y="0"/>
                </a:cubicBezTo>
                <a:moveTo>
                  <a:pt x="9451" y="13856"/>
                </a:moveTo>
                <a:cubicBezTo>
                  <a:pt x="9385" y="13780"/>
                  <a:pt x="9310" y="13718"/>
                  <a:pt x="9228" y="13671"/>
                </a:cubicBezTo>
                <a:cubicBezTo>
                  <a:pt x="9175" y="13642"/>
                  <a:pt x="9137" y="13616"/>
                  <a:pt x="9097" y="13590"/>
                </a:cubicBezTo>
                <a:lnTo>
                  <a:pt x="9097" y="15560"/>
                </a:lnTo>
                <a:cubicBezTo>
                  <a:pt x="9250" y="15523"/>
                  <a:pt x="9363" y="15447"/>
                  <a:pt x="9473" y="15311"/>
                </a:cubicBezTo>
                <a:cubicBezTo>
                  <a:pt x="9604" y="15151"/>
                  <a:pt x="9668" y="14896"/>
                  <a:pt x="9668" y="14545"/>
                </a:cubicBezTo>
                <a:cubicBezTo>
                  <a:pt x="9668" y="14383"/>
                  <a:pt x="9649" y="14246"/>
                  <a:pt x="9609" y="14135"/>
                </a:cubicBezTo>
                <a:cubicBezTo>
                  <a:pt x="9570" y="14024"/>
                  <a:pt x="9517" y="13931"/>
                  <a:pt x="9451" y="13856"/>
                </a:cubicBezTo>
                <a:moveTo>
                  <a:pt x="13255" y="16971"/>
                </a:moveTo>
                <a:cubicBezTo>
                  <a:pt x="12983" y="16971"/>
                  <a:pt x="12764" y="17316"/>
                  <a:pt x="12764" y="17743"/>
                </a:cubicBezTo>
                <a:cubicBezTo>
                  <a:pt x="12764" y="18169"/>
                  <a:pt x="12983" y="18514"/>
                  <a:pt x="13255" y="18514"/>
                </a:cubicBezTo>
                <a:cubicBezTo>
                  <a:pt x="13525" y="18514"/>
                  <a:pt x="13745" y="18169"/>
                  <a:pt x="13745" y="17743"/>
                </a:cubicBezTo>
                <a:cubicBezTo>
                  <a:pt x="13745" y="17316"/>
                  <a:pt x="13525" y="16971"/>
                  <a:pt x="13255" y="16971"/>
                </a:cubicBezTo>
                <a:moveTo>
                  <a:pt x="16200" y="7714"/>
                </a:moveTo>
                <a:cubicBezTo>
                  <a:pt x="15928" y="7714"/>
                  <a:pt x="15709" y="7369"/>
                  <a:pt x="15709" y="6943"/>
                </a:cubicBezTo>
                <a:cubicBezTo>
                  <a:pt x="15709" y="6516"/>
                  <a:pt x="15928" y="6171"/>
                  <a:pt x="16200" y="6171"/>
                </a:cubicBezTo>
                <a:cubicBezTo>
                  <a:pt x="16471" y="6171"/>
                  <a:pt x="16691" y="6516"/>
                  <a:pt x="16691" y="6943"/>
                </a:cubicBezTo>
                <a:cubicBezTo>
                  <a:pt x="16691" y="7369"/>
                  <a:pt x="16471" y="7714"/>
                  <a:pt x="16200" y="7714"/>
                </a:cubicBezTo>
                <a:moveTo>
                  <a:pt x="16691" y="17113"/>
                </a:moveTo>
                <a:cubicBezTo>
                  <a:pt x="16537" y="17027"/>
                  <a:pt x="16373" y="16971"/>
                  <a:pt x="16200" y="16971"/>
                </a:cubicBezTo>
                <a:cubicBezTo>
                  <a:pt x="15386" y="16971"/>
                  <a:pt x="14727" y="18008"/>
                  <a:pt x="14727" y="19286"/>
                </a:cubicBezTo>
                <a:cubicBezTo>
                  <a:pt x="14727" y="19557"/>
                  <a:pt x="14762" y="19814"/>
                  <a:pt x="14817" y="20057"/>
                </a:cubicBezTo>
                <a:lnTo>
                  <a:pt x="2855" y="20057"/>
                </a:lnTo>
                <a:cubicBezTo>
                  <a:pt x="2910" y="19814"/>
                  <a:pt x="2945" y="19557"/>
                  <a:pt x="2945" y="19286"/>
                </a:cubicBezTo>
                <a:cubicBezTo>
                  <a:pt x="2945" y="18008"/>
                  <a:pt x="2286" y="16971"/>
                  <a:pt x="1473" y="16971"/>
                </a:cubicBezTo>
                <a:cubicBezTo>
                  <a:pt x="1299" y="16971"/>
                  <a:pt x="1136" y="17027"/>
                  <a:pt x="982" y="17113"/>
                </a:cubicBezTo>
                <a:lnTo>
                  <a:pt x="982" y="9115"/>
                </a:lnTo>
                <a:cubicBezTo>
                  <a:pt x="1136" y="9202"/>
                  <a:pt x="1299" y="9257"/>
                  <a:pt x="1473" y="9257"/>
                </a:cubicBezTo>
                <a:cubicBezTo>
                  <a:pt x="2286" y="9257"/>
                  <a:pt x="2945" y="8221"/>
                  <a:pt x="2945" y="6943"/>
                </a:cubicBezTo>
                <a:cubicBezTo>
                  <a:pt x="2945" y="6671"/>
                  <a:pt x="2910" y="6414"/>
                  <a:pt x="2855" y="6171"/>
                </a:cubicBezTo>
                <a:lnTo>
                  <a:pt x="14817" y="6171"/>
                </a:lnTo>
                <a:cubicBezTo>
                  <a:pt x="14762" y="6414"/>
                  <a:pt x="14727" y="6671"/>
                  <a:pt x="14727" y="6943"/>
                </a:cubicBezTo>
                <a:cubicBezTo>
                  <a:pt x="14727" y="8221"/>
                  <a:pt x="15386" y="9257"/>
                  <a:pt x="16200" y="9257"/>
                </a:cubicBezTo>
                <a:cubicBezTo>
                  <a:pt x="16373" y="9257"/>
                  <a:pt x="16537" y="9202"/>
                  <a:pt x="16691" y="9115"/>
                </a:cubicBezTo>
                <a:cubicBezTo>
                  <a:pt x="16691" y="9115"/>
                  <a:pt x="16691" y="17113"/>
                  <a:pt x="16691" y="17113"/>
                </a:cubicBezTo>
                <a:close/>
                <a:moveTo>
                  <a:pt x="16200" y="20057"/>
                </a:moveTo>
                <a:cubicBezTo>
                  <a:pt x="15928" y="20057"/>
                  <a:pt x="15709" y="19712"/>
                  <a:pt x="15709" y="19286"/>
                </a:cubicBezTo>
                <a:cubicBezTo>
                  <a:pt x="15709" y="18859"/>
                  <a:pt x="15928" y="18514"/>
                  <a:pt x="16200" y="18514"/>
                </a:cubicBezTo>
                <a:cubicBezTo>
                  <a:pt x="16471" y="18514"/>
                  <a:pt x="16691" y="18859"/>
                  <a:pt x="16691" y="19286"/>
                </a:cubicBezTo>
                <a:cubicBezTo>
                  <a:pt x="16691" y="19712"/>
                  <a:pt x="16471" y="20057"/>
                  <a:pt x="16200" y="20057"/>
                </a:cubicBezTo>
                <a:moveTo>
                  <a:pt x="1473" y="20057"/>
                </a:moveTo>
                <a:cubicBezTo>
                  <a:pt x="1201" y="20057"/>
                  <a:pt x="982" y="19712"/>
                  <a:pt x="982" y="19286"/>
                </a:cubicBezTo>
                <a:cubicBezTo>
                  <a:pt x="982" y="18859"/>
                  <a:pt x="1201" y="18514"/>
                  <a:pt x="1473" y="18514"/>
                </a:cubicBezTo>
                <a:cubicBezTo>
                  <a:pt x="1744" y="18514"/>
                  <a:pt x="1964" y="18859"/>
                  <a:pt x="1964" y="19286"/>
                </a:cubicBezTo>
                <a:cubicBezTo>
                  <a:pt x="1964" y="19712"/>
                  <a:pt x="1744" y="20057"/>
                  <a:pt x="1473" y="20057"/>
                </a:cubicBezTo>
                <a:moveTo>
                  <a:pt x="1473" y="6171"/>
                </a:moveTo>
                <a:cubicBezTo>
                  <a:pt x="1744" y="6171"/>
                  <a:pt x="1964" y="6516"/>
                  <a:pt x="1964" y="6943"/>
                </a:cubicBezTo>
                <a:cubicBezTo>
                  <a:pt x="1964" y="7369"/>
                  <a:pt x="1744" y="7714"/>
                  <a:pt x="1473" y="7714"/>
                </a:cubicBezTo>
                <a:cubicBezTo>
                  <a:pt x="1201" y="7714"/>
                  <a:pt x="982" y="7369"/>
                  <a:pt x="982" y="6943"/>
                </a:cubicBezTo>
                <a:cubicBezTo>
                  <a:pt x="982" y="6516"/>
                  <a:pt x="1201" y="6171"/>
                  <a:pt x="1473" y="6171"/>
                </a:cubicBezTo>
                <a:moveTo>
                  <a:pt x="16691" y="4629"/>
                </a:moveTo>
                <a:lnTo>
                  <a:pt x="982" y="4629"/>
                </a:lnTo>
                <a:cubicBezTo>
                  <a:pt x="439" y="4629"/>
                  <a:pt x="0" y="5319"/>
                  <a:pt x="0" y="6171"/>
                </a:cubicBezTo>
                <a:lnTo>
                  <a:pt x="0" y="20057"/>
                </a:lnTo>
                <a:cubicBezTo>
                  <a:pt x="0" y="20909"/>
                  <a:pt x="439" y="21600"/>
                  <a:pt x="982" y="21600"/>
                </a:cubicBezTo>
                <a:lnTo>
                  <a:pt x="16691" y="21600"/>
                </a:lnTo>
                <a:cubicBezTo>
                  <a:pt x="17233" y="21600"/>
                  <a:pt x="17673" y="20909"/>
                  <a:pt x="17673" y="20057"/>
                </a:cubicBezTo>
                <a:lnTo>
                  <a:pt x="17673" y="6171"/>
                </a:lnTo>
                <a:cubicBezTo>
                  <a:pt x="17673" y="5319"/>
                  <a:pt x="17233" y="4629"/>
                  <a:pt x="16691" y="4629"/>
                </a:cubicBezTo>
                <a:moveTo>
                  <a:pt x="8092" y="11478"/>
                </a:moveTo>
                <a:cubicBezTo>
                  <a:pt x="8092" y="11618"/>
                  <a:pt x="8111" y="11738"/>
                  <a:pt x="8149" y="11836"/>
                </a:cubicBezTo>
                <a:cubicBezTo>
                  <a:pt x="8186" y="11936"/>
                  <a:pt x="8234" y="12020"/>
                  <a:pt x="8293" y="12090"/>
                </a:cubicBezTo>
                <a:cubicBezTo>
                  <a:pt x="8351" y="12160"/>
                  <a:pt x="8419" y="12217"/>
                  <a:pt x="8496" y="12260"/>
                </a:cubicBezTo>
                <a:cubicBezTo>
                  <a:pt x="8542" y="12286"/>
                  <a:pt x="8573" y="12310"/>
                  <a:pt x="8606" y="12330"/>
                </a:cubicBezTo>
                <a:lnTo>
                  <a:pt x="8606" y="10637"/>
                </a:lnTo>
                <a:cubicBezTo>
                  <a:pt x="8457" y="10653"/>
                  <a:pt x="8353" y="10708"/>
                  <a:pt x="8258" y="10818"/>
                </a:cubicBezTo>
                <a:cubicBezTo>
                  <a:pt x="8147" y="10949"/>
                  <a:pt x="8092" y="11170"/>
                  <a:pt x="8092" y="11478"/>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1" name="Shape 2801"/>
          <p:cNvSpPr/>
          <p:nvPr/>
        </p:nvSpPr>
        <p:spPr>
          <a:xfrm>
            <a:off x="1060590" y="1517465"/>
            <a:ext cx="209495" cy="114278"/>
          </a:xfrm>
          <a:custGeom>
            <a:avLst/>
            <a:gdLst/>
            <a:ahLst/>
            <a:cxnLst>
              <a:cxn ang="0">
                <a:pos x="wd2" y="hd2"/>
              </a:cxn>
              <a:cxn ang="5400000">
                <a:pos x="wd2" y="hd2"/>
              </a:cxn>
              <a:cxn ang="10800000">
                <a:pos x="wd2" y="hd2"/>
              </a:cxn>
              <a:cxn ang="16200000">
                <a:pos x="wd2" y="hd2"/>
              </a:cxn>
            </a:cxnLst>
            <a:rect l="0" t="0" r="r" b="b"/>
            <a:pathLst>
              <a:path w="21600" h="21600" extrusionOk="0">
                <a:moveTo>
                  <a:pt x="11858" y="9506"/>
                </a:moveTo>
                <a:lnTo>
                  <a:pt x="11671" y="10299"/>
                </a:lnTo>
                <a:lnTo>
                  <a:pt x="9907" y="10299"/>
                </a:lnTo>
                <a:cubicBezTo>
                  <a:pt x="9902" y="10340"/>
                  <a:pt x="9900" y="10398"/>
                  <a:pt x="9900" y="10472"/>
                </a:cubicBezTo>
                <a:lnTo>
                  <a:pt x="9900" y="10757"/>
                </a:lnTo>
                <a:cubicBezTo>
                  <a:pt x="9900" y="10972"/>
                  <a:pt x="9902" y="11100"/>
                  <a:pt x="9907" y="11141"/>
                </a:cubicBezTo>
                <a:lnTo>
                  <a:pt x="11570" y="11141"/>
                </a:lnTo>
                <a:lnTo>
                  <a:pt x="11390" y="11921"/>
                </a:lnTo>
                <a:lnTo>
                  <a:pt x="9943" y="11921"/>
                </a:lnTo>
                <a:cubicBezTo>
                  <a:pt x="10001" y="12589"/>
                  <a:pt x="10123" y="13114"/>
                  <a:pt x="10311" y="13494"/>
                </a:cubicBezTo>
                <a:cubicBezTo>
                  <a:pt x="10527" y="13964"/>
                  <a:pt x="10819" y="14199"/>
                  <a:pt x="11189" y="14199"/>
                </a:cubicBezTo>
                <a:cubicBezTo>
                  <a:pt x="11429" y="14199"/>
                  <a:pt x="11628" y="14134"/>
                  <a:pt x="11786" y="14001"/>
                </a:cubicBezTo>
                <a:cubicBezTo>
                  <a:pt x="11930" y="13878"/>
                  <a:pt x="12093" y="13671"/>
                  <a:pt x="12276" y="13382"/>
                </a:cubicBezTo>
                <a:lnTo>
                  <a:pt x="12276" y="14756"/>
                </a:lnTo>
                <a:cubicBezTo>
                  <a:pt x="11949" y="15119"/>
                  <a:pt x="11587" y="15301"/>
                  <a:pt x="11189" y="15301"/>
                </a:cubicBezTo>
                <a:cubicBezTo>
                  <a:pt x="10546" y="15301"/>
                  <a:pt x="10044" y="14963"/>
                  <a:pt x="9683" y="14287"/>
                </a:cubicBezTo>
                <a:cubicBezTo>
                  <a:pt x="9372" y="13700"/>
                  <a:pt x="9177" y="12912"/>
                  <a:pt x="9100" y="11921"/>
                </a:cubicBezTo>
                <a:lnTo>
                  <a:pt x="8546" y="11921"/>
                </a:lnTo>
                <a:lnTo>
                  <a:pt x="8740" y="11141"/>
                </a:lnTo>
                <a:lnTo>
                  <a:pt x="9065" y="11141"/>
                </a:lnTo>
                <a:cubicBezTo>
                  <a:pt x="9060" y="11083"/>
                  <a:pt x="9056" y="11022"/>
                  <a:pt x="9054" y="10955"/>
                </a:cubicBezTo>
                <a:cubicBezTo>
                  <a:pt x="9051" y="10889"/>
                  <a:pt x="9050" y="10819"/>
                  <a:pt x="9050" y="10744"/>
                </a:cubicBezTo>
                <a:cubicBezTo>
                  <a:pt x="9050" y="10687"/>
                  <a:pt x="9051" y="10620"/>
                  <a:pt x="9054" y="10547"/>
                </a:cubicBezTo>
                <a:cubicBezTo>
                  <a:pt x="9056" y="10472"/>
                  <a:pt x="9060" y="10389"/>
                  <a:pt x="9065" y="10299"/>
                </a:cubicBezTo>
                <a:lnTo>
                  <a:pt x="8546" y="10299"/>
                </a:lnTo>
                <a:lnTo>
                  <a:pt x="8734" y="9506"/>
                </a:lnTo>
                <a:lnTo>
                  <a:pt x="9115" y="9506"/>
                </a:lnTo>
                <a:cubicBezTo>
                  <a:pt x="9235" y="8557"/>
                  <a:pt x="9453" y="7806"/>
                  <a:pt x="9770" y="7253"/>
                </a:cubicBezTo>
                <a:cubicBezTo>
                  <a:pt x="10140" y="6617"/>
                  <a:pt x="10612" y="6299"/>
                  <a:pt x="11189" y="6299"/>
                </a:cubicBezTo>
                <a:cubicBezTo>
                  <a:pt x="11606" y="6299"/>
                  <a:pt x="12034" y="6555"/>
                  <a:pt x="12470" y="7066"/>
                </a:cubicBezTo>
                <a:lnTo>
                  <a:pt x="12139" y="8193"/>
                </a:lnTo>
                <a:cubicBezTo>
                  <a:pt x="11832" y="7666"/>
                  <a:pt x="11496" y="7401"/>
                  <a:pt x="11131" y="7401"/>
                </a:cubicBezTo>
                <a:cubicBezTo>
                  <a:pt x="10809" y="7401"/>
                  <a:pt x="10541" y="7620"/>
                  <a:pt x="10325" y="8058"/>
                </a:cubicBezTo>
                <a:cubicBezTo>
                  <a:pt x="10142" y="8445"/>
                  <a:pt x="10020" y="8929"/>
                  <a:pt x="9957" y="9506"/>
                </a:cubicBezTo>
                <a:cubicBezTo>
                  <a:pt x="9957" y="9506"/>
                  <a:pt x="11858" y="9506"/>
                  <a:pt x="11858" y="9506"/>
                </a:cubicBezTo>
                <a:close/>
                <a:moveTo>
                  <a:pt x="10800" y="3601"/>
                </a:moveTo>
                <a:cubicBezTo>
                  <a:pt x="8631" y="3601"/>
                  <a:pt x="6873" y="6824"/>
                  <a:pt x="6873" y="10799"/>
                </a:cubicBezTo>
                <a:cubicBezTo>
                  <a:pt x="6873" y="14777"/>
                  <a:pt x="8631" y="18000"/>
                  <a:pt x="10800" y="18000"/>
                </a:cubicBezTo>
                <a:cubicBezTo>
                  <a:pt x="12969" y="18000"/>
                  <a:pt x="14727" y="14777"/>
                  <a:pt x="14727" y="10799"/>
                </a:cubicBezTo>
                <a:cubicBezTo>
                  <a:pt x="14727" y="6824"/>
                  <a:pt x="12969" y="3601"/>
                  <a:pt x="10800" y="3601"/>
                </a:cubicBezTo>
                <a:moveTo>
                  <a:pt x="5400" y="3601"/>
                </a:moveTo>
                <a:lnTo>
                  <a:pt x="4418" y="3601"/>
                </a:lnTo>
                <a:cubicBezTo>
                  <a:pt x="4147" y="3601"/>
                  <a:pt x="3927" y="4003"/>
                  <a:pt x="3927" y="4501"/>
                </a:cubicBezTo>
                <a:cubicBezTo>
                  <a:pt x="3927" y="4998"/>
                  <a:pt x="4147" y="5401"/>
                  <a:pt x="4418" y="5401"/>
                </a:cubicBezTo>
                <a:lnTo>
                  <a:pt x="5400" y="5401"/>
                </a:lnTo>
                <a:cubicBezTo>
                  <a:pt x="5671" y="5401"/>
                  <a:pt x="5891" y="4998"/>
                  <a:pt x="5891" y="4501"/>
                </a:cubicBezTo>
                <a:cubicBezTo>
                  <a:pt x="5891" y="4003"/>
                  <a:pt x="5671" y="3601"/>
                  <a:pt x="5400" y="3601"/>
                </a:cubicBezTo>
                <a:moveTo>
                  <a:pt x="17182" y="16199"/>
                </a:moveTo>
                <a:lnTo>
                  <a:pt x="16200" y="16199"/>
                </a:lnTo>
                <a:cubicBezTo>
                  <a:pt x="15929" y="16199"/>
                  <a:pt x="15709" y="16603"/>
                  <a:pt x="15709" y="17100"/>
                </a:cubicBezTo>
                <a:cubicBezTo>
                  <a:pt x="15709" y="17597"/>
                  <a:pt x="15929" y="18000"/>
                  <a:pt x="16200" y="18000"/>
                </a:cubicBezTo>
                <a:lnTo>
                  <a:pt x="17182" y="18000"/>
                </a:lnTo>
                <a:cubicBezTo>
                  <a:pt x="17453" y="18000"/>
                  <a:pt x="17673" y="17597"/>
                  <a:pt x="17673" y="17100"/>
                </a:cubicBezTo>
                <a:cubicBezTo>
                  <a:pt x="17673" y="16603"/>
                  <a:pt x="17453" y="16199"/>
                  <a:pt x="17182" y="16199"/>
                </a:cubicBezTo>
                <a:moveTo>
                  <a:pt x="20127" y="3601"/>
                </a:moveTo>
                <a:cubicBezTo>
                  <a:pt x="19856" y="3601"/>
                  <a:pt x="19636" y="3198"/>
                  <a:pt x="19636" y="2701"/>
                </a:cubicBezTo>
                <a:cubicBezTo>
                  <a:pt x="19636" y="2203"/>
                  <a:pt x="19856" y="1800"/>
                  <a:pt x="20127" y="1800"/>
                </a:cubicBezTo>
                <a:cubicBezTo>
                  <a:pt x="20398" y="1800"/>
                  <a:pt x="20618" y="2203"/>
                  <a:pt x="20618" y="2701"/>
                </a:cubicBezTo>
                <a:cubicBezTo>
                  <a:pt x="20618" y="3198"/>
                  <a:pt x="20398" y="3601"/>
                  <a:pt x="20127" y="3601"/>
                </a:cubicBezTo>
                <a:moveTo>
                  <a:pt x="20618" y="16365"/>
                </a:moveTo>
                <a:cubicBezTo>
                  <a:pt x="20464" y="16264"/>
                  <a:pt x="20300" y="16199"/>
                  <a:pt x="20127" y="16199"/>
                </a:cubicBezTo>
                <a:cubicBezTo>
                  <a:pt x="19314" y="16199"/>
                  <a:pt x="18655" y="17409"/>
                  <a:pt x="18655" y="18900"/>
                </a:cubicBezTo>
                <a:cubicBezTo>
                  <a:pt x="18655" y="19217"/>
                  <a:pt x="18689" y="19517"/>
                  <a:pt x="18744" y="19800"/>
                </a:cubicBezTo>
                <a:lnTo>
                  <a:pt x="2855" y="19800"/>
                </a:lnTo>
                <a:cubicBezTo>
                  <a:pt x="2910" y="19517"/>
                  <a:pt x="2945" y="19217"/>
                  <a:pt x="2945" y="18900"/>
                </a:cubicBezTo>
                <a:cubicBezTo>
                  <a:pt x="2945" y="17409"/>
                  <a:pt x="2286" y="16199"/>
                  <a:pt x="1473" y="16199"/>
                </a:cubicBezTo>
                <a:cubicBezTo>
                  <a:pt x="1299" y="16199"/>
                  <a:pt x="1136" y="16264"/>
                  <a:pt x="982" y="16365"/>
                </a:cubicBezTo>
                <a:lnTo>
                  <a:pt x="982" y="5235"/>
                </a:lnTo>
                <a:cubicBezTo>
                  <a:pt x="1136" y="5336"/>
                  <a:pt x="1299" y="5401"/>
                  <a:pt x="1473" y="5401"/>
                </a:cubicBezTo>
                <a:cubicBezTo>
                  <a:pt x="2286" y="5401"/>
                  <a:pt x="2945" y="4192"/>
                  <a:pt x="2945" y="2701"/>
                </a:cubicBezTo>
                <a:cubicBezTo>
                  <a:pt x="2945" y="2383"/>
                  <a:pt x="2910" y="2083"/>
                  <a:pt x="2855" y="1800"/>
                </a:cubicBezTo>
                <a:lnTo>
                  <a:pt x="18744" y="1800"/>
                </a:lnTo>
                <a:cubicBezTo>
                  <a:pt x="18689" y="2083"/>
                  <a:pt x="18655" y="2383"/>
                  <a:pt x="18655" y="2701"/>
                </a:cubicBezTo>
                <a:cubicBezTo>
                  <a:pt x="18655" y="4192"/>
                  <a:pt x="19314" y="5401"/>
                  <a:pt x="20127" y="5401"/>
                </a:cubicBezTo>
                <a:cubicBezTo>
                  <a:pt x="20300" y="5401"/>
                  <a:pt x="20464" y="5336"/>
                  <a:pt x="20618" y="5235"/>
                </a:cubicBezTo>
                <a:cubicBezTo>
                  <a:pt x="20618" y="5235"/>
                  <a:pt x="20618" y="16365"/>
                  <a:pt x="20618" y="16365"/>
                </a:cubicBezTo>
                <a:close/>
                <a:moveTo>
                  <a:pt x="20127" y="19800"/>
                </a:moveTo>
                <a:cubicBezTo>
                  <a:pt x="19856" y="19800"/>
                  <a:pt x="19636" y="19397"/>
                  <a:pt x="19636" y="18900"/>
                </a:cubicBezTo>
                <a:cubicBezTo>
                  <a:pt x="19636" y="18402"/>
                  <a:pt x="19856" y="18000"/>
                  <a:pt x="20127" y="18000"/>
                </a:cubicBezTo>
                <a:cubicBezTo>
                  <a:pt x="20398" y="18000"/>
                  <a:pt x="20618" y="18402"/>
                  <a:pt x="20618" y="18900"/>
                </a:cubicBezTo>
                <a:cubicBezTo>
                  <a:pt x="20618" y="19397"/>
                  <a:pt x="20398" y="19800"/>
                  <a:pt x="20127" y="19800"/>
                </a:cubicBezTo>
                <a:moveTo>
                  <a:pt x="1473" y="19800"/>
                </a:moveTo>
                <a:cubicBezTo>
                  <a:pt x="1202" y="19800"/>
                  <a:pt x="982" y="19397"/>
                  <a:pt x="982" y="18900"/>
                </a:cubicBezTo>
                <a:cubicBezTo>
                  <a:pt x="982" y="18402"/>
                  <a:pt x="1202" y="18000"/>
                  <a:pt x="1473" y="18000"/>
                </a:cubicBezTo>
                <a:cubicBezTo>
                  <a:pt x="1744" y="18000"/>
                  <a:pt x="1964" y="18402"/>
                  <a:pt x="1964" y="18900"/>
                </a:cubicBezTo>
                <a:cubicBezTo>
                  <a:pt x="1964" y="19397"/>
                  <a:pt x="1744" y="19800"/>
                  <a:pt x="1473" y="19800"/>
                </a:cubicBezTo>
                <a:moveTo>
                  <a:pt x="1473" y="1800"/>
                </a:moveTo>
                <a:cubicBezTo>
                  <a:pt x="1744" y="1800"/>
                  <a:pt x="1964" y="2203"/>
                  <a:pt x="1964" y="2701"/>
                </a:cubicBezTo>
                <a:cubicBezTo>
                  <a:pt x="1964" y="3198"/>
                  <a:pt x="1744" y="3601"/>
                  <a:pt x="1473" y="3601"/>
                </a:cubicBezTo>
                <a:cubicBezTo>
                  <a:pt x="1202" y="3601"/>
                  <a:pt x="982" y="3198"/>
                  <a:pt x="982" y="2701"/>
                </a:cubicBezTo>
                <a:cubicBezTo>
                  <a:pt x="982" y="2203"/>
                  <a:pt x="1202" y="1800"/>
                  <a:pt x="1473" y="1800"/>
                </a:cubicBezTo>
                <a:moveTo>
                  <a:pt x="20618" y="0"/>
                </a:moveTo>
                <a:lnTo>
                  <a:pt x="982" y="0"/>
                </a:lnTo>
                <a:cubicBezTo>
                  <a:pt x="439" y="0"/>
                  <a:pt x="0" y="806"/>
                  <a:pt x="0" y="1800"/>
                </a:cubicBezTo>
                <a:lnTo>
                  <a:pt x="0" y="19800"/>
                </a:lnTo>
                <a:cubicBezTo>
                  <a:pt x="0" y="20793"/>
                  <a:pt x="439" y="21600"/>
                  <a:pt x="982" y="21600"/>
                </a:cubicBezTo>
                <a:lnTo>
                  <a:pt x="20618" y="21600"/>
                </a:lnTo>
                <a:cubicBezTo>
                  <a:pt x="21160" y="21600"/>
                  <a:pt x="21600" y="20793"/>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2" name="Shape 2802"/>
          <p:cNvSpPr/>
          <p:nvPr/>
        </p:nvSpPr>
        <p:spPr>
          <a:xfrm>
            <a:off x="1460536"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moveTo>
                  <a:pt x="11858" y="12529"/>
                </a:moveTo>
                <a:lnTo>
                  <a:pt x="11671" y="13124"/>
                </a:lnTo>
                <a:lnTo>
                  <a:pt x="9908" y="13124"/>
                </a:lnTo>
                <a:cubicBezTo>
                  <a:pt x="9902" y="13155"/>
                  <a:pt x="9900" y="13198"/>
                  <a:pt x="9900" y="13254"/>
                </a:cubicBezTo>
                <a:lnTo>
                  <a:pt x="9900" y="13468"/>
                </a:lnTo>
                <a:cubicBezTo>
                  <a:pt x="9900" y="13629"/>
                  <a:pt x="9902" y="13725"/>
                  <a:pt x="9908" y="13756"/>
                </a:cubicBezTo>
                <a:lnTo>
                  <a:pt x="11570" y="13756"/>
                </a:lnTo>
                <a:lnTo>
                  <a:pt x="11391" y="14340"/>
                </a:lnTo>
                <a:lnTo>
                  <a:pt x="9943" y="14340"/>
                </a:lnTo>
                <a:cubicBezTo>
                  <a:pt x="10001" y="14842"/>
                  <a:pt x="10124" y="15236"/>
                  <a:pt x="10311" y="15520"/>
                </a:cubicBezTo>
                <a:cubicBezTo>
                  <a:pt x="10527" y="15873"/>
                  <a:pt x="10819" y="16050"/>
                  <a:pt x="11189" y="16050"/>
                </a:cubicBezTo>
                <a:cubicBezTo>
                  <a:pt x="11429" y="16050"/>
                  <a:pt x="11628" y="16000"/>
                  <a:pt x="11787" y="15901"/>
                </a:cubicBezTo>
                <a:cubicBezTo>
                  <a:pt x="11930" y="15808"/>
                  <a:pt x="12093" y="15654"/>
                  <a:pt x="12276" y="15437"/>
                </a:cubicBezTo>
                <a:lnTo>
                  <a:pt x="12276" y="16468"/>
                </a:lnTo>
                <a:cubicBezTo>
                  <a:pt x="11950" y="16741"/>
                  <a:pt x="11587" y="16876"/>
                  <a:pt x="11189" y="16876"/>
                </a:cubicBezTo>
                <a:cubicBezTo>
                  <a:pt x="10546" y="16876"/>
                  <a:pt x="10044" y="16623"/>
                  <a:pt x="9684" y="16114"/>
                </a:cubicBezTo>
                <a:cubicBezTo>
                  <a:pt x="9372" y="15676"/>
                  <a:pt x="9177" y="15084"/>
                  <a:pt x="9101" y="14340"/>
                </a:cubicBezTo>
                <a:lnTo>
                  <a:pt x="8547" y="14340"/>
                </a:lnTo>
                <a:lnTo>
                  <a:pt x="8741" y="13756"/>
                </a:lnTo>
                <a:lnTo>
                  <a:pt x="9065" y="13756"/>
                </a:lnTo>
                <a:cubicBezTo>
                  <a:pt x="9060" y="13712"/>
                  <a:pt x="9056" y="13666"/>
                  <a:pt x="9054" y="13617"/>
                </a:cubicBezTo>
                <a:cubicBezTo>
                  <a:pt x="9051" y="13567"/>
                  <a:pt x="9050" y="13515"/>
                  <a:pt x="9050" y="13458"/>
                </a:cubicBezTo>
                <a:cubicBezTo>
                  <a:pt x="9050" y="13416"/>
                  <a:pt x="9051" y="13366"/>
                  <a:pt x="9054" y="13310"/>
                </a:cubicBezTo>
                <a:cubicBezTo>
                  <a:pt x="9056" y="13254"/>
                  <a:pt x="9060" y="13192"/>
                  <a:pt x="9065" y="13124"/>
                </a:cubicBezTo>
                <a:lnTo>
                  <a:pt x="8547" y="13124"/>
                </a:lnTo>
                <a:lnTo>
                  <a:pt x="8734" y="12529"/>
                </a:lnTo>
                <a:lnTo>
                  <a:pt x="9115" y="12529"/>
                </a:lnTo>
                <a:cubicBezTo>
                  <a:pt x="9235" y="11818"/>
                  <a:pt x="9453" y="11254"/>
                  <a:pt x="9770" y="10840"/>
                </a:cubicBezTo>
                <a:cubicBezTo>
                  <a:pt x="10140" y="10363"/>
                  <a:pt x="10613" y="10124"/>
                  <a:pt x="11189" y="10124"/>
                </a:cubicBezTo>
                <a:cubicBezTo>
                  <a:pt x="11607" y="10124"/>
                  <a:pt x="12034" y="10316"/>
                  <a:pt x="12470" y="10700"/>
                </a:cubicBezTo>
                <a:lnTo>
                  <a:pt x="12139" y="11545"/>
                </a:lnTo>
                <a:cubicBezTo>
                  <a:pt x="11832" y="11150"/>
                  <a:pt x="11496" y="10951"/>
                  <a:pt x="11131" y="10951"/>
                </a:cubicBezTo>
                <a:cubicBezTo>
                  <a:pt x="10809" y="10951"/>
                  <a:pt x="10541" y="11115"/>
                  <a:pt x="10325" y="11443"/>
                </a:cubicBezTo>
                <a:cubicBezTo>
                  <a:pt x="10143" y="11734"/>
                  <a:pt x="10020" y="12097"/>
                  <a:pt x="9958" y="12529"/>
                </a:cubicBezTo>
                <a:cubicBezTo>
                  <a:pt x="9958" y="12529"/>
                  <a:pt x="11858" y="12529"/>
                  <a:pt x="11858" y="12529"/>
                </a:cubicBezTo>
                <a:close/>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20127" y="8100"/>
                </a:moveTo>
                <a:cubicBezTo>
                  <a:pt x="19856" y="8100"/>
                  <a:pt x="19636" y="7798"/>
                  <a:pt x="19636" y="7425"/>
                </a:cubicBezTo>
                <a:cubicBezTo>
                  <a:pt x="19636" y="7052"/>
                  <a:pt x="19856" y="6750"/>
                  <a:pt x="20127" y="6750"/>
                </a:cubicBezTo>
                <a:cubicBezTo>
                  <a:pt x="20398" y="6750"/>
                  <a:pt x="20618" y="7052"/>
                  <a:pt x="20618" y="7425"/>
                </a:cubicBezTo>
                <a:cubicBezTo>
                  <a:pt x="20618" y="7798"/>
                  <a:pt x="20398" y="8100"/>
                  <a:pt x="20127" y="8100"/>
                </a:cubicBezTo>
                <a:moveTo>
                  <a:pt x="20618" y="17674"/>
                </a:moveTo>
                <a:cubicBezTo>
                  <a:pt x="20464" y="17599"/>
                  <a:pt x="20300" y="17550"/>
                  <a:pt x="20127" y="17550"/>
                </a:cubicBezTo>
                <a:cubicBezTo>
                  <a:pt x="19314" y="17550"/>
                  <a:pt x="18655" y="18457"/>
                  <a:pt x="18655" y="19575"/>
                </a:cubicBezTo>
                <a:cubicBezTo>
                  <a:pt x="18655" y="19813"/>
                  <a:pt x="18690" y="20039"/>
                  <a:pt x="18745" y="20250"/>
                </a:cubicBezTo>
                <a:lnTo>
                  <a:pt x="2855" y="20250"/>
                </a:lnTo>
                <a:cubicBezTo>
                  <a:pt x="2910" y="20039"/>
                  <a:pt x="2945" y="19813"/>
                  <a:pt x="2945" y="19575"/>
                </a:cubicBezTo>
                <a:cubicBezTo>
                  <a:pt x="2945" y="18457"/>
                  <a:pt x="2286" y="17550"/>
                  <a:pt x="1473" y="17550"/>
                </a:cubicBezTo>
                <a:cubicBezTo>
                  <a:pt x="1299" y="17550"/>
                  <a:pt x="1136" y="17599"/>
                  <a:pt x="982" y="17674"/>
                </a:cubicBezTo>
                <a:lnTo>
                  <a:pt x="982" y="9326"/>
                </a:lnTo>
                <a:cubicBezTo>
                  <a:pt x="1136" y="9402"/>
                  <a:pt x="1299"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8" y="18900"/>
                  <a:pt x="20618" y="19203"/>
                  <a:pt x="20618" y="19575"/>
                </a:cubicBezTo>
                <a:cubicBezTo>
                  <a:pt x="20618" y="19948"/>
                  <a:pt x="20398" y="20250"/>
                  <a:pt x="20127" y="20250"/>
                </a:cubicBezTo>
                <a:moveTo>
                  <a:pt x="1473" y="20250"/>
                </a:moveTo>
                <a:cubicBezTo>
                  <a:pt x="1202" y="20250"/>
                  <a:pt x="982" y="19948"/>
                  <a:pt x="982" y="19575"/>
                </a:cubicBezTo>
                <a:cubicBezTo>
                  <a:pt x="982" y="19203"/>
                  <a:pt x="1202"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2" y="8100"/>
                  <a:pt x="982" y="7798"/>
                  <a:pt x="982" y="7425"/>
                </a:cubicBezTo>
                <a:cubicBezTo>
                  <a:pt x="982" y="7052"/>
                  <a:pt x="1202" y="6750"/>
                  <a:pt x="1473" y="6750"/>
                </a:cubicBezTo>
                <a:moveTo>
                  <a:pt x="20618" y="5400"/>
                </a:moveTo>
                <a:lnTo>
                  <a:pt x="982" y="5400"/>
                </a:lnTo>
                <a:cubicBezTo>
                  <a:pt x="440" y="5400"/>
                  <a:pt x="0" y="6005"/>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5"/>
                  <a:pt x="21160" y="5400"/>
                  <a:pt x="20618" y="54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2455" y="4050"/>
                </a:moveTo>
                <a:lnTo>
                  <a:pt x="19145" y="4050"/>
                </a:lnTo>
                <a:cubicBezTo>
                  <a:pt x="19416" y="4050"/>
                  <a:pt x="19636" y="3748"/>
                  <a:pt x="19636" y="3375"/>
                </a:cubicBezTo>
                <a:cubicBezTo>
                  <a:pt x="19636" y="3002"/>
                  <a:pt x="19416" y="2700"/>
                  <a:pt x="19145" y="2700"/>
                </a:cubicBezTo>
                <a:lnTo>
                  <a:pt x="2455" y="2700"/>
                </a:lnTo>
                <a:cubicBezTo>
                  <a:pt x="2184" y="2700"/>
                  <a:pt x="1964" y="3002"/>
                  <a:pt x="1964" y="3375"/>
                </a:cubicBezTo>
                <a:cubicBezTo>
                  <a:pt x="1964" y="3748"/>
                  <a:pt x="2184" y="4050"/>
                  <a:pt x="2455"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3" name="Shape 2803"/>
          <p:cNvSpPr/>
          <p:nvPr/>
        </p:nvSpPr>
        <p:spPr>
          <a:xfrm>
            <a:off x="1860482"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9634" y="12227"/>
                </a:moveTo>
                <a:lnTo>
                  <a:pt x="9494" y="12771"/>
                </a:lnTo>
                <a:lnTo>
                  <a:pt x="8171" y="12771"/>
                </a:lnTo>
                <a:cubicBezTo>
                  <a:pt x="8167" y="12799"/>
                  <a:pt x="8165" y="12839"/>
                  <a:pt x="8165" y="12890"/>
                </a:cubicBezTo>
                <a:lnTo>
                  <a:pt x="8165" y="13085"/>
                </a:lnTo>
                <a:cubicBezTo>
                  <a:pt x="8165" y="13232"/>
                  <a:pt x="8167" y="13320"/>
                  <a:pt x="8171" y="13348"/>
                </a:cubicBezTo>
                <a:lnTo>
                  <a:pt x="9418" y="13348"/>
                </a:lnTo>
                <a:lnTo>
                  <a:pt x="9283" y="13883"/>
                </a:lnTo>
                <a:lnTo>
                  <a:pt x="8198" y="13883"/>
                </a:lnTo>
                <a:cubicBezTo>
                  <a:pt x="8241" y="14342"/>
                  <a:pt x="8333" y="14701"/>
                  <a:pt x="8473" y="14961"/>
                </a:cubicBezTo>
                <a:cubicBezTo>
                  <a:pt x="8635" y="15284"/>
                  <a:pt x="8855" y="15445"/>
                  <a:pt x="9132" y="15445"/>
                </a:cubicBezTo>
                <a:cubicBezTo>
                  <a:pt x="9312" y="15445"/>
                  <a:pt x="9461" y="15401"/>
                  <a:pt x="9580" y="15310"/>
                </a:cubicBezTo>
                <a:cubicBezTo>
                  <a:pt x="9688" y="15225"/>
                  <a:pt x="9810" y="15084"/>
                  <a:pt x="9947" y="14885"/>
                </a:cubicBezTo>
                <a:lnTo>
                  <a:pt x="9947" y="15828"/>
                </a:lnTo>
                <a:cubicBezTo>
                  <a:pt x="9702" y="16076"/>
                  <a:pt x="9430" y="16202"/>
                  <a:pt x="9132" y="16202"/>
                </a:cubicBezTo>
                <a:cubicBezTo>
                  <a:pt x="8649" y="16202"/>
                  <a:pt x="8273" y="15970"/>
                  <a:pt x="8003" y="15505"/>
                </a:cubicBezTo>
                <a:cubicBezTo>
                  <a:pt x="7769" y="15104"/>
                  <a:pt x="7623" y="14562"/>
                  <a:pt x="7566" y="13883"/>
                </a:cubicBezTo>
                <a:lnTo>
                  <a:pt x="7150" y="13883"/>
                </a:lnTo>
                <a:lnTo>
                  <a:pt x="7296" y="13348"/>
                </a:lnTo>
                <a:lnTo>
                  <a:pt x="7539" y="13348"/>
                </a:lnTo>
                <a:cubicBezTo>
                  <a:pt x="7536" y="13309"/>
                  <a:pt x="7532" y="13267"/>
                  <a:pt x="7530" y="13221"/>
                </a:cubicBezTo>
                <a:cubicBezTo>
                  <a:pt x="7529" y="13175"/>
                  <a:pt x="7528" y="13127"/>
                  <a:pt x="7528" y="13077"/>
                </a:cubicBezTo>
                <a:cubicBezTo>
                  <a:pt x="7528" y="13037"/>
                  <a:pt x="7529" y="12991"/>
                  <a:pt x="7530" y="12941"/>
                </a:cubicBezTo>
                <a:cubicBezTo>
                  <a:pt x="7532" y="12890"/>
                  <a:pt x="7536" y="12833"/>
                  <a:pt x="7539" y="12771"/>
                </a:cubicBezTo>
                <a:lnTo>
                  <a:pt x="7150" y="12771"/>
                </a:lnTo>
                <a:lnTo>
                  <a:pt x="7291" y="12227"/>
                </a:lnTo>
                <a:lnTo>
                  <a:pt x="7577" y="12227"/>
                </a:lnTo>
                <a:cubicBezTo>
                  <a:pt x="7667" y="11576"/>
                  <a:pt x="7831" y="11061"/>
                  <a:pt x="8068" y="10682"/>
                </a:cubicBezTo>
                <a:cubicBezTo>
                  <a:pt x="8345" y="10247"/>
                  <a:pt x="8700" y="10028"/>
                  <a:pt x="9132" y="10028"/>
                </a:cubicBezTo>
                <a:cubicBezTo>
                  <a:pt x="9445" y="10028"/>
                  <a:pt x="9766" y="10203"/>
                  <a:pt x="10093" y="10554"/>
                </a:cubicBezTo>
                <a:lnTo>
                  <a:pt x="9845" y="11327"/>
                </a:lnTo>
                <a:cubicBezTo>
                  <a:pt x="9614" y="10965"/>
                  <a:pt x="9362" y="10783"/>
                  <a:pt x="9089" y="10783"/>
                </a:cubicBezTo>
                <a:cubicBezTo>
                  <a:pt x="8847" y="10783"/>
                  <a:pt x="8646" y="10934"/>
                  <a:pt x="8484" y="11234"/>
                </a:cubicBezTo>
                <a:cubicBezTo>
                  <a:pt x="8347" y="11500"/>
                  <a:pt x="8255" y="11831"/>
                  <a:pt x="8209" y="12227"/>
                </a:cubicBezTo>
                <a:cubicBezTo>
                  <a:pt x="8209" y="12227"/>
                  <a:pt x="9634" y="12227"/>
                  <a:pt x="9634" y="12227"/>
                </a:cubicBezTo>
                <a:close/>
                <a:moveTo>
                  <a:pt x="8836" y="7714"/>
                </a:moveTo>
                <a:cubicBezTo>
                  <a:pt x="6938" y="7714"/>
                  <a:pt x="5400" y="10133"/>
                  <a:pt x="5400" y="13114"/>
                </a:cubicBezTo>
                <a:cubicBezTo>
                  <a:pt x="5400" y="16097"/>
                  <a:pt x="6938" y="18514"/>
                  <a:pt x="8836" y="18514"/>
                </a:cubicBezTo>
                <a:cubicBezTo>
                  <a:pt x="10734" y="18514"/>
                  <a:pt x="12273" y="16097"/>
                  <a:pt x="12273" y="13114"/>
                </a:cubicBezTo>
                <a:cubicBezTo>
                  <a:pt x="12273" y="10133"/>
                  <a:pt x="10734" y="7714"/>
                  <a:pt x="8836" y="7714"/>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6" y="16971"/>
                  <a:pt x="14727" y="18008"/>
                  <a:pt x="14727" y="19286"/>
                </a:cubicBezTo>
                <a:cubicBezTo>
                  <a:pt x="14727" y="19558"/>
                  <a:pt x="14763" y="19815"/>
                  <a:pt x="14818" y="20057"/>
                </a:cubicBezTo>
                <a:lnTo>
                  <a:pt x="2855" y="20057"/>
                </a:lnTo>
                <a:cubicBezTo>
                  <a:pt x="2910" y="19815"/>
                  <a:pt x="2945" y="19558"/>
                  <a:pt x="2945" y="19286"/>
                </a:cubicBezTo>
                <a:cubicBezTo>
                  <a:pt x="2945" y="18008"/>
                  <a:pt x="2286" y="16971"/>
                  <a:pt x="1473" y="16971"/>
                </a:cubicBezTo>
                <a:cubicBezTo>
                  <a:pt x="1299" y="16971"/>
                  <a:pt x="1136" y="17028"/>
                  <a:pt x="982" y="17113"/>
                </a:cubicBezTo>
                <a:lnTo>
                  <a:pt x="982" y="9116"/>
                </a:lnTo>
                <a:cubicBezTo>
                  <a:pt x="1136" y="9202"/>
                  <a:pt x="1299" y="9257"/>
                  <a:pt x="1473" y="9257"/>
                </a:cubicBezTo>
                <a:cubicBezTo>
                  <a:pt x="2286" y="9257"/>
                  <a:pt x="2945" y="8222"/>
                  <a:pt x="2945" y="6943"/>
                </a:cubicBezTo>
                <a:cubicBezTo>
                  <a:pt x="2945" y="6671"/>
                  <a:pt x="2910" y="6414"/>
                  <a:pt x="2855" y="6171"/>
                </a:cubicBezTo>
                <a:lnTo>
                  <a:pt x="14818" y="6171"/>
                </a:lnTo>
                <a:cubicBezTo>
                  <a:pt x="14763" y="6414"/>
                  <a:pt x="14727" y="6671"/>
                  <a:pt x="14727" y="6943"/>
                </a:cubicBezTo>
                <a:cubicBezTo>
                  <a:pt x="14727" y="8222"/>
                  <a:pt x="15386"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2" y="20057"/>
                  <a:pt x="982" y="19712"/>
                  <a:pt x="982" y="19286"/>
                </a:cubicBezTo>
                <a:cubicBezTo>
                  <a:pt x="982" y="18860"/>
                  <a:pt x="1202"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2" y="7714"/>
                  <a:pt x="982" y="7369"/>
                  <a:pt x="982" y="6943"/>
                </a:cubicBezTo>
                <a:cubicBezTo>
                  <a:pt x="982" y="6517"/>
                  <a:pt x="1202"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20618" y="0"/>
                </a:moveTo>
                <a:lnTo>
                  <a:pt x="4909" y="0"/>
                </a:lnTo>
                <a:cubicBezTo>
                  <a:pt x="4367" y="0"/>
                  <a:pt x="3927" y="691"/>
                  <a:pt x="3927" y="1543"/>
                </a:cubicBezTo>
                <a:lnTo>
                  <a:pt x="3927" y="2314"/>
                </a:lnTo>
                <a:cubicBezTo>
                  <a:pt x="3927" y="2741"/>
                  <a:pt x="4147" y="3086"/>
                  <a:pt x="4418" y="3086"/>
                </a:cubicBezTo>
                <a:cubicBezTo>
                  <a:pt x="4689" y="3086"/>
                  <a:pt x="4909" y="2741"/>
                  <a:pt x="4909" y="2314"/>
                </a:cubicBezTo>
                <a:lnTo>
                  <a:pt x="4909" y="1543"/>
                </a:lnTo>
                <a:lnTo>
                  <a:pt x="20618" y="1543"/>
                </a:lnTo>
                <a:lnTo>
                  <a:pt x="20618" y="15429"/>
                </a:lnTo>
                <a:lnTo>
                  <a:pt x="19145" y="15429"/>
                </a:lnTo>
                <a:cubicBezTo>
                  <a:pt x="18875" y="15429"/>
                  <a:pt x="18655" y="15775"/>
                  <a:pt x="18655" y="16200"/>
                </a:cubicBezTo>
                <a:cubicBezTo>
                  <a:pt x="18655" y="16626"/>
                  <a:pt x="18875" y="16971"/>
                  <a:pt x="19145" y="16971"/>
                </a:cubicBezTo>
                <a:lnTo>
                  <a:pt x="20618" y="16971"/>
                </a:lnTo>
                <a:cubicBezTo>
                  <a:pt x="21160" y="16971"/>
                  <a:pt x="21600" y="16281"/>
                  <a:pt x="21600" y="15429"/>
                </a:cubicBezTo>
                <a:lnTo>
                  <a:pt x="21600" y="1543"/>
                </a:lnTo>
                <a:cubicBezTo>
                  <a:pt x="21600" y="691"/>
                  <a:pt x="21160" y="0"/>
                  <a:pt x="20618" y="0"/>
                </a:cubicBezTo>
                <a:moveTo>
                  <a:pt x="13255" y="16971"/>
                </a:moveTo>
                <a:cubicBezTo>
                  <a:pt x="12984" y="16971"/>
                  <a:pt x="12764" y="17317"/>
                  <a:pt x="12764" y="17743"/>
                </a:cubicBezTo>
                <a:cubicBezTo>
                  <a:pt x="12764" y="18169"/>
                  <a:pt x="12984" y="18514"/>
                  <a:pt x="13255" y="18514"/>
                </a:cubicBezTo>
                <a:cubicBezTo>
                  <a:pt x="13525" y="18514"/>
                  <a:pt x="13745" y="18169"/>
                  <a:pt x="13745" y="17743"/>
                </a:cubicBezTo>
                <a:cubicBezTo>
                  <a:pt x="13745" y="17317"/>
                  <a:pt x="13525" y="16971"/>
                  <a:pt x="13255"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4" name="Shape 2804"/>
          <p:cNvSpPr/>
          <p:nvPr/>
        </p:nvSpPr>
        <p:spPr>
          <a:xfrm>
            <a:off x="2260427" y="1517465"/>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393" y="11057"/>
                </a:moveTo>
                <a:lnTo>
                  <a:pt x="10114" y="13116"/>
                </a:lnTo>
                <a:cubicBezTo>
                  <a:pt x="10458" y="13273"/>
                  <a:pt x="11518" y="13902"/>
                  <a:pt x="11675" y="12740"/>
                </a:cubicBezTo>
                <a:cubicBezTo>
                  <a:pt x="11839" y="11528"/>
                  <a:pt x="10736" y="11215"/>
                  <a:pt x="10393" y="11057"/>
                </a:cubicBezTo>
                <a:moveTo>
                  <a:pt x="10772" y="8246"/>
                </a:moveTo>
                <a:lnTo>
                  <a:pt x="10520" y="10114"/>
                </a:lnTo>
                <a:cubicBezTo>
                  <a:pt x="10806" y="10246"/>
                  <a:pt x="11689" y="10782"/>
                  <a:pt x="11832" y="9726"/>
                </a:cubicBezTo>
                <a:cubicBezTo>
                  <a:pt x="11981" y="8623"/>
                  <a:pt x="11059" y="8378"/>
                  <a:pt x="10772" y="8246"/>
                </a:cubicBezTo>
                <a:moveTo>
                  <a:pt x="12833" y="9742"/>
                </a:moveTo>
                <a:cubicBezTo>
                  <a:pt x="12767" y="10572"/>
                  <a:pt x="12517" y="10974"/>
                  <a:pt x="12186" y="11116"/>
                </a:cubicBezTo>
                <a:cubicBezTo>
                  <a:pt x="12641" y="11552"/>
                  <a:pt x="12872" y="12224"/>
                  <a:pt x="12652" y="13386"/>
                </a:cubicBezTo>
                <a:cubicBezTo>
                  <a:pt x="12378" y="14828"/>
                  <a:pt x="11728" y="14950"/>
                  <a:pt x="10863" y="14648"/>
                </a:cubicBezTo>
                <a:lnTo>
                  <a:pt x="10653" y="16200"/>
                </a:lnTo>
                <a:lnTo>
                  <a:pt x="10146" y="15966"/>
                </a:lnTo>
                <a:lnTo>
                  <a:pt x="10353" y="14435"/>
                </a:lnTo>
                <a:cubicBezTo>
                  <a:pt x="10222" y="14376"/>
                  <a:pt x="10088" y="14311"/>
                  <a:pt x="9949" y="14242"/>
                </a:cubicBezTo>
                <a:lnTo>
                  <a:pt x="9741" y="15780"/>
                </a:lnTo>
                <a:lnTo>
                  <a:pt x="9235" y="15548"/>
                </a:lnTo>
                <a:lnTo>
                  <a:pt x="9444" y="13993"/>
                </a:lnTo>
                <a:cubicBezTo>
                  <a:pt x="9326" y="13936"/>
                  <a:pt x="9206" y="13877"/>
                  <a:pt x="9083" y="13820"/>
                </a:cubicBezTo>
                <a:lnTo>
                  <a:pt x="8423" y="13517"/>
                </a:lnTo>
                <a:lnTo>
                  <a:pt x="8675" y="12446"/>
                </a:lnTo>
                <a:cubicBezTo>
                  <a:pt x="8675" y="12446"/>
                  <a:pt x="9049" y="12629"/>
                  <a:pt x="9043" y="12615"/>
                </a:cubicBezTo>
                <a:cubicBezTo>
                  <a:pt x="9187" y="12681"/>
                  <a:pt x="9251" y="12509"/>
                  <a:pt x="9276" y="12393"/>
                </a:cubicBezTo>
                <a:lnTo>
                  <a:pt x="9607" y="9940"/>
                </a:lnTo>
                <a:cubicBezTo>
                  <a:pt x="9626" y="9949"/>
                  <a:pt x="9644" y="9957"/>
                  <a:pt x="9661" y="9965"/>
                </a:cubicBezTo>
                <a:cubicBezTo>
                  <a:pt x="9641" y="9950"/>
                  <a:pt x="9623" y="9940"/>
                  <a:pt x="9608" y="9933"/>
                </a:cubicBezTo>
                <a:lnTo>
                  <a:pt x="9845" y="8183"/>
                </a:lnTo>
                <a:cubicBezTo>
                  <a:pt x="9851" y="7984"/>
                  <a:pt x="9814" y="7733"/>
                  <a:pt x="9608" y="7639"/>
                </a:cubicBezTo>
                <a:cubicBezTo>
                  <a:pt x="9616" y="7629"/>
                  <a:pt x="9240" y="7469"/>
                  <a:pt x="9240" y="7469"/>
                </a:cubicBezTo>
                <a:lnTo>
                  <a:pt x="9375" y="6471"/>
                </a:lnTo>
                <a:lnTo>
                  <a:pt x="10074" y="6793"/>
                </a:lnTo>
                <a:lnTo>
                  <a:pt x="10074" y="6798"/>
                </a:lnTo>
                <a:cubicBezTo>
                  <a:pt x="10179" y="6845"/>
                  <a:pt x="10288" y="6892"/>
                  <a:pt x="10398" y="6937"/>
                </a:cubicBezTo>
                <a:lnTo>
                  <a:pt x="10606" y="5401"/>
                </a:lnTo>
                <a:lnTo>
                  <a:pt x="11113" y="5634"/>
                </a:lnTo>
                <a:lnTo>
                  <a:pt x="10909" y="7140"/>
                </a:lnTo>
                <a:cubicBezTo>
                  <a:pt x="11045" y="7197"/>
                  <a:pt x="11182" y="7255"/>
                  <a:pt x="11315" y="7317"/>
                </a:cubicBezTo>
                <a:lnTo>
                  <a:pt x="11517" y="5821"/>
                </a:lnTo>
                <a:lnTo>
                  <a:pt x="12025" y="6054"/>
                </a:lnTo>
                <a:lnTo>
                  <a:pt x="11817" y="7590"/>
                </a:lnTo>
                <a:cubicBezTo>
                  <a:pt x="12457" y="7998"/>
                  <a:pt x="12926" y="8607"/>
                  <a:pt x="12833" y="9742"/>
                </a:cubicBezTo>
                <a:moveTo>
                  <a:pt x="10800" y="3600"/>
                </a:moveTo>
                <a:cubicBezTo>
                  <a:pt x="8631" y="3600"/>
                  <a:pt x="6873" y="6824"/>
                  <a:pt x="6873" y="10800"/>
                </a:cubicBezTo>
                <a:cubicBezTo>
                  <a:pt x="6873" y="14777"/>
                  <a:pt x="8631" y="18000"/>
                  <a:pt x="10800" y="18000"/>
                </a:cubicBezTo>
                <a:cubicBezTo>
                  <a:pt x="12969" y="18000"/>
                  <a:pt x="14727" y="14777"/>
                  <a:pt x="14727" y="10800"/>
                </a:cubicBezTo>
                <a:cubicBezTo>
                  <a:pt x="14727" y="6824"/>
                  <a:pt x="12969" y="3600"/>
                  <a:pt x="10800" y="3600"/>
                </a:cubicBezTo>
                <a:moveTo>
                  <a:pt x="17182" y="16200"/>
                </a:moveTo>
                <a:lnTo>
                  <a:pt x="16200" y="16200"/>
                </a:lnTo>
                <a:cubicBezTo>
                  <a:pt x="15928" y="16200"/>
                  <a:pt x="15709" y="16603"/>
                  <a:pt x="15709" y="17100"/>
                </a:cubicBezTo>
                <a:cubicBezTo>
                  <a:pt x="15709" y="17598"/>
                  <a:pt x="15928" y="18000"/>
                  <a:pt x="16200" y="18000"/>
                </a:cubicBezTo>
                <a:lnTo>
                  <a:pt x="17182" y="18000"/>
                </a:lnTo>
                <a:cubicBezTo>
                  <a:pt x="17453" y="18000"/>
                  <a:pt x="17673" y="17598"/>
                  <a:pt x="17673" y="17100"/>
                </a:cubicBezTo>
                <a:cubicBezTo>
                  <a:pt x="17673" y="16603"/>
                  <a:pt x="17453" y="16200"/>
                  <a:pt x="17182" y="16200"/>
                </a:cubicBezTo>
                <a:moveTo>
                  <a:pt x="5400" y="3600"/>
                </a:moveTo>
                <a:lnTo>
                  <a:pt x="4418" y="3600"/>
                </a:lnTo>
                <a:cubicBezTo>
                  <a:pt x="4147" y="3600"/>
                  <a:pt x="3927" y="4003"/>
                  <a:pt x="3927" y="4500"/>
                </a:cubicBezTo>
                <a:cubicBezTo>
                  <a:pt x="3927" y="4998"/>
                  <a:pt x="4147" y="5400"/>
                  <a:pt x="4418" y="5400"/>
                </a:cubicBezTo>
                <a:lnTo>
                  <a:pt x="5400" y="5400"/>
                </a:lnTo>
                <a:cubicBezTo>
                  <a:pt x="5671" y="5400"/>
                  <a:pt x="5891" y="4998"/>
                  <a:pt x="5891" y="4500"/>
                </a:cubicBezTo>
                <a:cubicBezTo>
                  <a:pt x="5891" y="4003"/>
                  <a:pt x="5671" y="3600"/>
                  <a:pt x="5400" y="3600"/>
                </a:cubicBezTo>
                <a:moveTo>
                  <a:pt x="20127" y="3600"/>
                </a:moveTo>
                <a:cubicBezTo>
                  <a:pt x="19856" y="3600"/>
                  <a:pt x="19636" y="3198"/>
                  <a:pt x="19636" y="2700"/>
                </a:cubicBezTo>
                <a:cubicBezTo>
                  <a:pt x="19636" y="2203"/>
                  <a:pt x="19856" y="1800"/>
                  <a:pt x="20127" y="1800"/>
                </a:cubicBezTo>
                <a:cubicBezTo>
                  <a:pt x="20398" y="1800"/>
                  <a:pt x="20618" y="2203"/>
                  <a:pt x="20618" y="2700"/>
                </a:cubicBezTo>
                <a:cubicBezTo>
                  <a:pt x="20618" y="3198"/>
                  <a:pt x="20398" y="3600"/>
                  <a:pt x="20127" y="3600"/>
                </a:cubicBezTo>
                <a:moveTo>
                  <a:pt x="20618" y="16365"/>
                </a:moveTo>
                <a:cubicBezTo>
                  <a:pt x="20464" y="16265"/>
                  <a:pt x="20300" y="16200"/>
                  <a:pt x="20127" y="16200"/>
                </a:cubicBezTo>
                <a:cubicBezTo>
                  <a:pt x="19314" y="16200"/>
                  <a:pt x="18655" y="17410"/>
                  <a:pt x="18655" y="18900"/>
                </a:cubicBezTo>
                <a:cubicBezTo>
                  <a:pt x="18655" y="19217"/>
                  <a:pt x="18690" y="19518"/>
                  <a:pt x="18744" y="19800"/>
                </a:cubicBezTo>
                <a:lnTo>
                  <a:pt x="2855" y="19800"/>
                </a:lnTo>
                <a:cubicBezTo>
                  <a:pt x="2910" y="19518"/>
                  <a:pt x="2945" y="19217"/>
                  <a:pt x="2945" y="18900"/>
                </a:cubicBezTo>
                <a:cubicBezTo>
                  <a:pt x="2945" y="17410"/>
                  <a:pt x="2286" y="16200"/>
                  <a:pt x="1473" y="16200"/>
                </a:cubicBezTo>
                <a:cubicBezTo>
                  <a:pt x="1299" y="16200"/>
                  <a:pt x="1136" y="16265"/>
                  <a:pt x="982" y="16365"/>
                </a:cubicBezTo>
                <a:lnTo>
                  <a:pt x="982" y="5235"/>
                </a:lnTo>
                <a:cubicBezTo>
                  <a:pt x="1136" y="5336"/>
                  <a:pt x="1299" y="5400"/>
                  <a:pt x="1473" y="5400"/>
                </a:cubicBezTo>
                <a:cubicBezTo>
                  <a:pt x="2286" y="5400"/>
                  <a:pt x="2945" y="4192"/>
                  <a:pt x="2945" y="2700"/>
                </a:cubicBezTo>
                <a:cubicBezTo>
                  <a:pt x="2945" y="2383"/>
                  <a:pt x="2910" y="2083"/>
                  <a:pt x="2855" y="1800"/>
                </a:cubicBezTo>
                <a:lnTo>
                  <a:pt x="18744" y="1800"/>
                </a:lnTo>
                <a:cubicBezTo>
                  <a:pt x="18690" y="2083"/>
                  <a:pt x="18655" y="2383"/>
                  <a:pt x="18655" y="2700"/>
                </a:cubicBezTo>
                <a:cubicBezTo>
                  <a:pt x="18655" y="4192"/>
                  <a:pt x="19314" y="5400"/>
                  <a:pt x="20127" y="5400"/>
                </a:cubicBezTo>
                <a:cubicBezTo>
                  <a:pt x="20300" y="5400"/>
                  <a:pt x="20464" y="5336"/>
                  <a:pt x="20618" y="5235"/>
                </a:cubicBezTo>
                <a:cubicBezTo>
                  <a:pt x="20618" y="5235"/>
                  <a:pt x="20618" y="16365"/>
                  <a:pt x="20618" y="16365"/>
                </a:cubicBezTo>
                <a:close/>
                <a:moveTo>
                  <a:pt x="20127" y="19800"/>
                </a:moveTo>
                <a:cubicBezTo>
                  <a:pt x="19856" y="19800"/>
                  <a:pt x="19636" y="19398"/>
                  <a:pt x="19636" y="18900"/>
                </a:cubicBezTo>
                <a:cubicBezTo>
                  <a:pt x="19636" y="18403"/>
                  <a:pt x="19856" y="18000"/>
                  <a:pt x="20127" y="18000"/>
                </a:cubicBezTo>
                <a:cubicBezTo>
                  <a:pt x="20398" y="18000"/>
                  <a:pt x="20618" y="18403"/>
                  <a:pt x="20618" y="18900"/>
                </a:cubicBezTo>
                <a:cubicBezTo>
                  <a:pt x="20618" y="19398"/>
                  <a:pt x="20398" y="19800"/>
                  <a:pt x="20127" y="19800"/>
                </a:cubicBezTo>
                <a:moveTo>
                  <a:pt x="1473" y="19800"/>
                </a:moveTo>
                <a:cubicBezTo>
                  <a:pt x="1201" y="19800"/>
                  <a:pt x="982" y="19398"/>
                  <a:pt x="982" y="18900"/>
                </a:cubicBezTo>
                <a:cubicBezTo>
                  <a:pt x="982" y="18403"/>
                  <a:pt x="1201" y="18000"/>
                  <a:pt x="1473" y="18000"/>
                </a:cubicBezTo>
                <a:cubicBezTo>
                  <a:pt x="1744" y="18000"/>
                  <a:pt x="1964" y="18403"/>
                  <a:pt x="1964" y="18900"/>
                </a:cubicBezTo>
                <a:cubicBezTo>
                  <a:pt x="1964" y="19398"/>
                  <a:pt x="1744" y="19800"/>
                  <a:pt x="1473" y="19800"/>
                </a:cubicBezTo>
                <a:moveTo>
                  <a:pt x="1473" y="1800"/>
                </a:moveTo>
                <a:cubicBezTo>
                  <a:pt x="1744" y="1800"/>
                  <a:pt x="1964" y="2203"/>
                  <a:pt x="1964" y="2700"/>
                </a:cubicBezTo>
                <a:cubicBezTo>
                  <a:pt x="1964" y="3198"/>
                  <a:pt x="1744" y="3600"/>
                  <a:pt x="1473" y="3600"/>
                </a:cubicBezTo>
                <a:cubicBezTo>
                  <a:pt x="1201" y="3600"/>
                  <a:pt x="982" y="3198"/>
                  <a:pt x="982" y="2700"/>
                </a:cubicBezTo>
                <a:cubicBezTo>
                  <a:pt x="982" y="2203"/>
                  <a:pt x="1201" y="1800"/>
                  <a:pt x="1473" y="1800"/>
                </a:cubicBezTo>
                <a:moveTo>
                  <a:pt x="20618" y="0"/>
                </a:moveTo>
                <a:lnTo>
                  <a:pt x="982" y="0"/>
                </a:lnTo>
                <a:cubicBezTo>
                  <a:pt x="439" y="0"/>
                  <a:pt x="0" y="806"/>
                  <a:pt x="0" y="1800"/>
                </a:cubicBezTo>
                <a:lnTo>
                  <a:pt x="0" y="19800"/>
                </a:lnTo>
                <a:cubicBezTo>
                  <a:pt x="0" y="20794"/>
                  <a:pt x="439" y="21600"/>
                  <a:pt x="982" y="21600"/>
                </a:cubicBezTo>
                <a:lnTo>
                  <a:pt x="20618" y="21600"/>
                </a:lnTo>
                <a:cubicBezTo>
                  <a:pt x="21160" y="21600"/>
                  <a:pt x="21600" y="20794"/>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5" name="Shape 2805"/>
          <p:cNvSpPr/>
          <p:nvPr/>
        </p:nvSpPr>
        <p:spPr>
          <a:xfrm>
            <a:off x="2660374"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6" name="Shape 2806"/>
          <p:cNvSpPr/>
          <p:nvPr/>
        </p:nvSpPr>
        <p:spPr>
          <a:xfrm>
            <a:off x="3060320"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442" y="12358"/>
                </a:moveTo>
                <a:cubicBezTo>
                  <a:pt x="10390" y="12952"/>
                  <a:pt x="10196" y="13240"/>
                  <a:pt x="9938" y="13340"/>
                </a:cubicBezTo>
                <a:cubicBezTo>
                  <a:pt x="10292" y="13653"/>
                  <a:pt x="10472" y="14131"/>
                  <a:pt x="10300" y="14961"/>
                </a:cubicBezTo>
                <a:cubicBezTo>
                  <a:pt x="10088" y="15991"/>
                  <a:pt x="9582" y="16078"/>
                  <a:pt x="8910" y="15863"/>
                </a:cubicBezTo>
                <a:lnTo>
                  <a:pt x="8746" y="16971"/>
                </a:lnTo>
                <a:lnTo>
                  <a:pt x="8352" y="16805"/>
                </a:lnTo>
                <a:lnTo>
                  <a:pt x="8513" y="15711"/>
                </a:lnTo>
                <a:cubicBezTo>
                  <a:pt x="8411" y="15668"/>
                  <a:pt x="8306" y="15622"/>
                  <a:pt x="8199" y="15573"/>
                </a:cubicBezTo>
                <a:lnTo>
                  <a:pt x="8037" y="16672"/>
                </a:lnTo>
                <a:lnTo>
                  <a:pt x="7643" y="16505"/>
                </a:lnTo>
                <a:lnTo>
                  <a:pt x="7806" y="15395"/>
                </a:lnTo>
                <a:cubicBezTo>
                  <a:pt x="7714" y="15355"/>
                  <a:pt x="7621" y="15312"/>
                  <a:pt x="7525" y="15272"/>
                </a:cubicBezTo>
                <a:lnTo>
                  <a:pt x="7012" y="15055"/>
                </a:lnTo>
                <a:lnTo>
                  <a:pt x="7207" y="14290"/>
                </a:lnTo>
                <a:cubicBezTo>
                  <a:pt x="7207" y="14290"/>
                  <a:pt x="7498" y="14421"/>
                  <a:pt x="7495" y="14412"/>
                </a:cubicBezTo>
                <a:cubicBezTo>
                  <a:pt x="7606" y="14459"/>
                  <a:pt x="7656" y="14335"/>
                  <a:pt x="7675" y="14252"/>
                </a:cubicBezTo>
                <a:lnTo>
                  <a:pt x="7933" y="12501"/>
                </a:lnTo>
                <a:cubicBezTo>
                  <a:pt x="7948" y="12506"/>
                  <a:pt x="7961" y="12512"/>
                  <a:pt x="7974" y="12518"/>
                </a:cubicBezTo>
                <a:cubicBezTo>
                  <a:pt x="7959" y="12507"/>
                  <a:pt x="7945" y="12501"/>
                  <a:pt x="7934" y="12495"/>
                </a:cubicBezTo>
                <a:lnTo>
                  <a:pt x="8118" y="11245"/>
                </a:lnTo>
                <a:cubicBezTo>
                  <a:pt x="8122" y="11103"/>
                  <a:pt x="8093" y="10924"/>
                  <a:pt x="7934" y="10856"/>
                </a:cubicBezTo>
                <a:cubicBezTo>
                  <a:pt x="7940" y="10849"/>
                  <a:pt x="7647" y="10735"/>
                  <a:pt x="7647" y="10735"/>
                </a:cubicBezTo>
                <a:lnTo>
                  <a:pt x="7752" y="10022"/>
                </a:lnTo>
                <a:lnTo>
                  <a:pt x="8297" y="10252"/>
                </a:lnTo>
                <a:lnTo>
                  <a:pt x="8296" y="10255"/>
                </a:lnTo>
                <a:cubicBezTo>
                  <a:pt x="8378" y="10289"/>
                  <a:pt x="8462" y="10322"/>
                  <a:pt x="8548" y="10356"/>
                </a:cubicBezTo>
                <a:lnTo>
                  <a:pt x="8709" y="9258"/>
                </a:lnTo>
                <a:lnTo>
                  <a:pt x="9103" y="9424"/>
                </a:lnTo>
                <a:lnTo>
                  <a:pt x="8945" y="10500"/>
                </a:lnTo>
                <a:cubicBezTo>
                  <a:pt x="9051" y="10541"/>
                  <a:pt x="9158" y="10582"/>
                  <a:pt x="9261" y="10627"/>
                </a:cubicBezTo>
                <a:lnTo>
                  <a:pt x="9418" y="9557"/>
                </a:lnTo>
                <a:lnTo>
                  <a:pt x="9813" y="9724"/>
                </a:lnTo>
                <a:lnTo>
                  <a:pt x="9651" y="10822"/>
                </a:lnTo>
                <a:cubicBezTo>
                  <a:pt x="10149" y="11112"/>
                  <a:pt x="10513" y="11548"/>
                  <a:pt x="10442" y="12358"/>
                </a:cubicBezTo>
                <a:moveTo>
                  <a:pt x="8836" y="7714"/>
                </a:moveTo>
                <a:cubicBezTo>
                  <a:pt x="6938" y="7714"/>
                  <a:pt x="5400" y="10132"/>
                  <a:pt x="5400" y="13114"/>
                </a:cubicBezTo>
                <a:cubicBezTo>
                  <a:pt x="5400" y="16097"/>
                  <a:pt x="6938" y="18514"/>
                  <a:pt x="8836" y="18514"/>
                </a:cubicBezTo>
                <a:cubicBezTo>
                  <a:pt x="10734" y="18514"/>
                  <a:pt x="12273" y="16097"/>
                  <a:pt x="12273" y="13114"/>
                </a:cubicBezTo>
                <a:cubicBezTo>
                  <a:pt x="12273" y="10132"/>
                  <a:pt x="10734" y="7714"/>
                  <a:pt x="8836" y="7714"/>
                </a:cubicBezTo>
                <a:moveTo>
                  <a:pt x="13255" y="16971"/>
                </a:moveTo>
                <a:cubicBezTo>
                  <a:pt x="12983" y="16971"/>
                  <a:pt x="12764" y="17318"/>
                  <a:pt x="12764" y="17743"/>
                </a:cubicBezTo>
                <a:cubicBezTo>
                  <a:pt x="12764" y="18169"/>
                  <a:pt x="12983" y="18514"/>
                  <a:pt x="13255" y="18514"/>
                </a:cubicBezTo>
                <a:cubicBezTo>
                  <a:pt x="13526" y="18514"/>
                  <a:pt x="13745" y="18169"/>
                  <a:pt x="13745" y="17743"/>
                </a:cubicBezTo>
                <a:cubicBezTo>
                  <a:pt x="13745" y="17318"/>
                  <a:pt x="13526" y="16971"/>
                  <a:pt x="13255" y="16971"/>
                </a:cubicBezTo>
                <a:moveTo>
                  <a:pt x="8839" y="11290"/>
                </a:moveTo>
                <a:lnTo>
                  <a:pt x="8643" y="12624"/>
                </a:lnTo>
                <a:cubicBezTo>
                  <a:pt x="8865" y="12718"/>
                  <a:pt x="9552" y="13102"/>
                  <a:pt x="9663" y="12347"/>
                </a:cubicBezTo>
                <a:cubicBezTo>
                  <a:pt x="9778" y="11559"/>
                  <a:pt x="9062" y="11384"/>
                  <a:pt x="8839" y="11290"/>
                </a:cubicBezTo>
                <a:moveTo>
                  <a:pt x="20618" y="0"/>
                </a:moveTo>
                <a:lnTo>
                  <a:pt x="4909" y="0"/>
                </a:lnTo>
                <a:cubicBezTo>
                  <a:pt x="4367" y="0"/>
                  <a:pt x="3927" y="691"/>
                  <a:pt x="3927" y="1543"/>
                </a:cubicBezTo>
                <a:lnTo>
                  <a:pt x="3927" y="2314"/>
                </a:lnTo>
                <a:cubicBezTo>
                  <a:pt x="3927" y="2741"/>
                  <a:pt x="4147" y="3086"/>
                  <a:pt x="4418" y="3086"/>
                </a:cubicBezTo>
                <a:cubicBezTo>
                  <a:pt x="4690" y="3086"/>
                  <a:pt x="4909" y="2741"/>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1"/>
                  <a:pt x="21600" y="15429"/>
                </a:cubicBezTo>
                <a:lnTo>
                  <a:pt x="21600" y="1543"/>
                </a:lnTo>
                <a:cubicBezTo>
                  <a:pt x="21600" y="691"/>
                  <a:pt x="21160" y="0"/>
                  <a:pt x="20618" y="0"/>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7" y="16971"/>
                  <a:pt x="14727" y="18008"/>
                  <a:pt x="14727" y="19286"/>
                </a:cubicBezTo>
                <a:cubicBezTo>
                  <a:pt x="14727" y="19558"/>
                  <a:pt x="14763" y="19815"/>
                  <a:pt x="14817" y="20057"/>
                </a:cubicBezTo>
                <a:lnTo>
                  <a:pt x="2855" y="20057"/>
                </a:lnTo>
                <a:cubicBezTo>
                  <a:pt x="2910" y="19815"/>
                  <a:pt x="2945" y="19558"/>
                  <a:pt x="2945" y="19286"/>
                </a:cubicBezTo>
                <a:cubicBezTo>
                  <a:pt x="2945" y="18008"/>
                  <a:pt x="2286" y="16971"/>
                  <a:pt x="1473" y="16971"/>
                </a:cubicBezTo>
                <a:cubicBezTo>
                  <a:pt x="1300" y="16971"/>
                  <a:pt x="1136" y="17028"/>
                  <a:pt x="982" y="17113"/>
                </a:cubicBezTo>
                <a:lnTo>
                  <a:pt x="982" y="9116"/>
                </a:lnTo>
                <a:cubicBezTo>
                  <a:pt x="1136" y="9202"/>
                  <a:pt x="1300" y="9257"/>
                  <a:pt x="1473" y="9257"/>
                </a:cubicBezTo>
                <a:cubicBezTo>
                  <a:pt x="2286" y="9257"/>
                  <a:pt x="2945" y="8222"/>
                  <a:pt x="2945" y="6943"/>
                </a:cubicBezTo>
                <a:cubicBezTo>
                  <a:pt x="2945" y="6671"/>
                  <a:pt x="2910" y="6414"/>
                  <a:pt x="2855" y="6171"/>
                </a:cubicBezTo>
                <a:lnTo>
                  <a:pt x="14817" y="6171"/>
                </a:lnTo>
                <a:cubicBezTo>
                  <a:pt x="14763" y="6414"/>
                  <a:pt x="14727" y="6671"/>
                  <a:pt x="14727" y="6943"/>
                </a:cubicBezTo>
                <a:cubicBezTo>
                  <a:pt x="14727" y="8222"/>
                  <a:pt x="15387"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1" y="20057"/>
                  <a:pt x="982" y="19712"/>
                  <a:pt x="982" y="19286"/>
                </a:cubicBezTo>
                <a:cubicBezTo>
                  <a:pt x="982" y="18860"/>
                  <a:pt x="1201"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1" y="7714"/>
                  <a:pt x="982" y="7369"/>
                  <a:pt x="982" y="6943"/>
                </a:cubicBezTo>
                <a:cubicBezTo>
                  <a:pt x="982" y="6517"/>
                  <a:pt x="1201"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8543" y="13297"/>
                </a:moveTo>
                <a:lnTo>
                  <a:pt x="8327" y="14769"/>
                </a:lnTo>
                <a:cubicBezTo>
                  <a:pt x="8595" y="14882"/>
                  <a:pt x="9419" y="15330"/>
                  <a:pt x="9541" y="14500"/>
                </a:cubicBezTo>
                <a:cubicBezTo>
                  <a:pt x="9669" y="13634"/>
                  <a:pt x="8811" y="13410"/>
                  <a:pt x="8543" y="13297"/>
                </a:cubicBezTo>
                <a:moveTo>
                  <a:pt x="4418" y="7714"/>
                </a:moveTo>
                <a:cubicBezTo>
                  <a:pt x="4147" y="7714"/>
                  <a:pt x="3927" y="8060"/>
                  <a:pt x="3927" y="8486"/>
                </a:cubicBezTo>
                <a:cubicBezTo>
                  <a:pt x="3927" y="8912"/>
                  <a:pt x="4147" y="9257"/>
                  <a:pt x="4418" y="9257"/>
                </a:cubicBezTo>
                <a:cubicBezTo>
                  <a:pt x="4690" y="9257"/>
                  <a:pt x="4909" y="8912"/>
                  <a:pt x="4909" y="8486"/>
                </a:cubicBezTo>
                <a:cubicBezTo>
                  <a:pt x="4909" y="8060"/>
                  <a:pt x="4690"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7" name="Shape 2807"/>
          <p:cNvSpPr/>
          <p:nvPr/>
        </p:nvSpPr>
        <p:spPr>
          <a:xfrm>
            <a:off x="3460265"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8" name="Shape 2808"/>
          <p:cNvSpPr/>
          <p:nvPr/>
        </p:nvSpPr>
        <p:spPr>
          <a:xfrm>
            <a:off x="386021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9" name="Shape 2809"/>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6" y="14727"/>
                </a:moveTo>
                <a:lnTo>
                  <a:pt x="17294" y="12764"/>
                </a:lnTo>
                <a:lnTo>
                  <a:pt x="19843" y="12764"/>
                </a:lnTo>
                <a:lnTo>
                  <a:pt x="19406" y="14727"/>
                </a:lnTo>
                <a:cubicBezTo>
                  <a:pt x="19406" y="14727"/>
                  <a:pt x="17076" y="14727"/>
                  <a:pt x="17076"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5" y="9447"/>
                </a:lnTo>
                <a:lnTo>
                  <a:pt x="21577" y="9444"/>
                </a:lnTo>
                <a:cubicBezTo>
                  <a:pt x="21587" y="9406"/>
                  <a:pt x="21600" y="9369"/>
                  <a:pt x="21600" y="9327"/>
                </a:cubicBezTo>
                <a:cubicBezTo>
                  <a:pt x="21600" y="9056"/>
                  <a:pt x="21380" y="8836"/>
                  <a:pt x="21109" y="8836"/>
                </a:cubicBezTo>
                <a:lnTo>
                  <a:pt x="5370" y="8836"/>
                </a:lnTo>
                <a:lnTo>
                  <a:pt x="4674" y="6241"/>
                </a:lnTo>
                <a:lnTo>
                  <a:pt x="4667" y="6243"/>
                </a:lnTo>
                <a:cubicBezTo>
                  <a:pt x="4605"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2" y="18613"/>
                </a:cubicBezTo>
                <a:cubicBezTo>
                  <a:pt x="19479" y="18552"/>
                  <a:pt x="19581" y="18430"/>
                  <a:pt x="19619" y="18282"/>
                </a:cubicBezTo>
                <a:moveTo>
                  <a:pt x="11291" y="2945"/>
                </a:moveTo>
                <a:cubicBezTo>
                  <a:pt x="11427" y="2945"/>
                  <a:pt x="11549" y="2891"/>
                  <a:pt x="11638" y="2802"/>
                </a:cubicBezTo>
                <a:lnTo>
                  <a:pt x="12764" y="1676"/>
                </a:lnTo>
                <a:lnTo>
                  <a:pt x="12764" y="7364"/>
                </a:lnTo>
                <a:cubicBezTo>
                  <a:pt x="12764" y="7634"/>
                  <a:pt x="12983" y="7855"/>
                  <a:pt x="13255" y="7855"/>
                </a:cubicBezTo>
                <a:cubicBezTo>
                  <a:pt x="13526" y="7855"/>
                  <a:pt x="13745" y="7634"/>
                  <a:pt x="13745" y="7364"/>
                </a:cubicBezTo>
                <a:lnTo>
                  <a:pt x="13745" y="1676"/>
                </a:lnTo>
                <a:lnTo>
                  <a:pt x="14871" y="2802"/>
                </a:lnTo>
                <a:cubicBezTo>
                  <a:pt x="14959" y="2891"/>
                  <a:pt x="15082" y="2945"/>
                  <a:pt x="15218" y="2945"/>
                </a:cubicBezTo>
                <a:cubicBezTo>
                  <a:pt x="15490" y="2945"/>
                  <a:pt x="15709" y="2726"/>
                  <a:pt x="15709" y="2455"/>
                </a:cubicBezTo>
                <a:cubicBezTo>
                  <a:pt x="15709" y="2319"/>
                  <a:pt x="15654" y="2196"/>
                  <a:pt x="15565" y="2107"/>
                </a:cubicBezTo>
                <a:lnTo>
                  <a:pt x="13602" y="144"/>
                </a:lnTo>
                <a:cubicBezTo>
                  <a:pt x="13513" y="55"/>
                  <a:pt x="13390" y="0"/>
                  <a:pt x="13255" y="0"/>
                </a:cubicBezTo>
                <a:cubicBezTo>
                  <a:pt x="13118" y="0"/>
                  <a:pt x="12996" y="55"/>
                  <a:pt x="12907" y="144"/>
                </a:cubicBezTo>
                <a:lnTo>
                  <a:pt x="10944" y="2107"/>
                </a:lnTo>
                <a:cubicBezTo>
                  <a:pt x="10855" y="2196"/>
                  <a:pt x="10800" y="2319"/>
                  <a:pt x="10800" y="2455"/>
                </a:cubicBezTo>
                <a:cubicBezTo>
                  <a:pt x="10800" y="2726"/>
                  <a:pt x="11020" y="2945"/>
                  <a:pt x="11291"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0" name="Shape 2810"/>
          <p:cNvSpPr/>
          <p:nvPr/>
        </p:nvSpPr>
        <p:spPr>
          <a:xfrm>
            <a:off x="4671838"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5"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9327" y="3240"/>
                </a:moveTo>
                <a:lnTo>
                  <a:pt x="15015" y="3240"/>
                </a:lnTo>
                <a:lnTo>
                  <a:pt x="13889" y="4478"/>
                </a:lnTo>
                <a:cubicBezTo>
                  <a:pt x="13801" y="4577"/>
                  <a:pt x="13745" y="4711"/>
                  <a:pt x="13745" y="4860"/>
                </a:cubicBezTo>
                <a:cubicBezTo>
                  <a:pt x="13745" y="5159"/>
                  <a:pt x="13966" y="5400"/>
                  <a:pt x="14236" y="5400"/>
                </a:cubicBezTo>
                <a:cubicBezTo>
                  <a:pt x="14373" y="5400"/>
                  <a:pt x="14495" y="5340"/>
                  <a:pt x="14583" y="5242"/>
                </a:cubicBezTo>
                <a:lnTo>
                  <a:pt x="16547" y="3082"/>
                </a:lnTo>
                <a:cubicBezTo>
                  <a:pt x="16636" y="2984"/>
                  <a:pt x="16691" y="2849"/>
                  <a:pt x="16691" y="2700"/>
                </a:cubicBezTo>
                <a:cubicBezTo>
                  <a:pt x="16691" y="2552"/>
                  <a:pt x="16636" y="2417"/>
                  <a:pt x="16547" y="2318"/>
                </a:cubicBezTo>
                <a:lnTo>
                  <a:pt x="14583" y="158"/>
                </a:lnTo>
                <a:cubicBezTo>
                  <a:pt x="14495" y="61"/>
                  <a:pt x="14373" y="0"/>
                  <a:pt x="14236" y="0"/>
                </a:cubicBezTo>
                <a:cubicBezTo>
                  <a:pt x="13966" y="0"/>
                  <a:pt x="13745" y="242"/>
                  <a:pt x="13745" y="540"/>
                </a:cubicBezTo>
                <a:cubicBezTo>
                  <a:pt x="13745" y="689"/>
                  <a:pt x="13801" y="824"/>
                  <a:pt x="13889" y="922"/>
                </a:cubicBezTo>
                <a:lnTo>
                  <a:pt x="15015" y="2160"/>
                </a:lnTo>
                <a:lnTo>
                  <a:pt x="9327" y="2160"/>
                </a:lnTo>
                <a:cubicBezTo>
                  <a:pt x="9056" y="2160"/>
                  <a:pt x="8836" y="2402"/>
                  <a:pt x="8836" y="2700"/>
                </a:cubicBezTo>
                <a:cubicBezTo>
                  <a:pt x="8836" y="2999"/>
                  <a:pt x="9056" y="3240"/>
                  <a:pt x="9327"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1" name="Shape 2811"/>
          <p:cNvSpPr/>
          <p:nvPr/>
        </p:nvSpPr>
        <p:spPr>
          <a:xfrm>
            <a:off x="507178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10944" y="5242"/>
                </a:moveTo>
                <a:cubicBezTo>
                  <a:pt x="11033" y="5340"/>
                  <a:pt x="11155" y="5400"/>
                  <a:pt x="11291" y="5400"/>
                </a:cubicBezTo>
                <a:cubicBezTo>
                  <a:pt x="11562" y="5400"/>
                  <a:pt x="11782" y="5159"/>
                  <a:pt x="11782" y="4860"/>
                </a:cubicBezTo>
                <a:cubicBezTo>
                  <a:pt x="11782" y="4711"/>
                  <a:pt x="11727" y="4577"/>
                  <a:pt x="11638" y="4478"/>
                </a:cubicBezTo>
                <a:lnTo>
                  <a:pt x="10512" y="3240"/>
                </a:lnTo>
                <a:lnTo>
                  <a:pt x="16200" y="3240"/>
                </a:lnTo>
                <a:cubicBezTo>
                  <a:pt x="16471" y="3240"/>
                  <a:pt x="16691" y="2999"/>
                  <a:pt x="16691" y="2700"/>
                </a:cubicBezTo>
                <a:cubicBezTo>
                  <a:pt x="16691" y="2402"/>
                  <a:pt x="16471" y="2160"/>
                  <a:pt x="16200" y="2160"/>
                </a:cubicBezTo>
                <a:lnTo>
                  <a:pt x="10512" y="2160"/>
                </a:lnTo>
                <a:lnTo>
                  <a:pt x="11638" y="922"/>
                </a:lnTo>
                <a:cubicBezTo>
                  <a:pt x="11727" y="824"/>
                  <a:pt x="11782" y="689"/>
                  <a:pt x="11782" y="540"/>
                </a:cubicBezTo>
                <a:cubicBezTo>
                  <a:pt x="11782" y="242"/>
                  <a:pt x="11562" y="0"/>
                  <a:pt x="11291" y="0"/>
                </a:cubicBezTo>
                <a:cubicBezTo>
                  <a:pt x="11155" y="0"/>
                  <a:pt x="11033" y="61"/>
                  <a:pt x="10944" y="158"/>
                </a:cubicBezTo>
                <a:lnTo>
                  <a:pt x="8980" y="2318"/>
                </a:lnTo>
                <a:cubicBezTo>
                  <a:pt x="8891" y="2417"/>
                  <a:pt x="8836" y="2552"/>
                  <a:pt x="8836" y="2700"/>
                </a:cubicBezTo>
                <a:cubicBezTo>
                  <a:pt x="8836" y="2849"/>
                  <a:pt x="8891" y="2984"/>
                  <a:pt x="8980" y="3082"/>
                </a:cubicBezTo>
                <a:cubicBezTo>
                  <a:pt x="8980" y="3082"/>
                  <a:pt x="10944" y="5242"/>
                  <a:pt x="10944" y="524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2" name="Shape 2812"/>
          <p:cNvSpPr/>
          <p:nvPr/>
        </p:nvSpPr>
        <p:spPr>
          <a:xfrm>
            <a:off x="547173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5" y="18643"/>
                  <a:pt x="19341" y="18314"/>
                </a:cubicBezTo>
                <a:cubicBezTo>
                  <a:pt x="19479" y="18248"/>
                  <a:pt x="19581" y="18113"/>
                  <a:pt x="19619" y="17950"/>
                </a:cubicBezTo>
                <a:moveTo>
                  <a:pt x="10800" y="3780"/>
                </a:moveTo>
                <a:lnTo>
                  <a:pt x="12764" y="3780"/>
                </a:lnTo>
                <a:lnTo>
                  <a:pt x="12764" y="5940"/>
                </a:lnTo>
                <a:cubicBezTo>
                  <a:pt x="12764" y="6239"/>
                  <a:pt x="12984" y="6480"/>
                  <a:pt x="13255" y="6480"/>
                </a:cubicBezTo>
                <a:cubicBezTo>
                  <a:pt x="13526" y="6480"/>
                  <a:pt x="13745" y="6239"/>
                  <a:pt x="13745" y="5940"/>
                </a:cubicBezTo>
                <a:lnTo>
                  <a:pt x="13745" y="3780"/>
                </a:lnTo>
                <a:lnTo>
                  <a:pt x="15709" y="3780"/>
                </a:lnTo>
                <a:cubicBezTo>
                  <a:pt x="15980" y="3780"/>
                  <a:pt x="16200" y="3539"/>
                  <a:pt x="16200" y="3240"/>
                </a:cubicBezTo>
                <a:cubicBezTo>
                  <a:pt x="16200" y="2942"/>
                  <a:pt x="15980" y="2700"/>
                  <a:pt x="15709" y="2700"/>
                </a:cubicBezTo>
                <a:lnTo>
                  <a:pt x="13745" y="2700"/>
                </a:lnTo>
                <a:lnTo>
                  <a:pt x="13745" y="540"/>
                </a:lnTo>
                <a:cubicBezTo>
                  <a:pt x="13745" y="242"/>
                  <a:pt x="13526" y="0"/>
                  <a:pt x="13255" y="0"/>
                </a:cubicBezTo>
                <a:cubicBezTo>
                  <a:pt x="12984" y="0"/>
                  <a:pt x="12764" y="242"/>
                  <a:pt x="12764" y="540"/>
                </a:cubicBezTo>
                <a:lnTo>
                  <a:pt x="12764" y="2700"/>
                </a:lnTo>
                <a:lnTo>
                  <a:pt x="10800" y="2700"/>
                </a:lnTo>
                <a:cubicBezTo>
                  <a:pt x="10529" y="2700"/>
                  <a:pt x="10309" y="2942"/>
                  <a:pt x="10309" y="3240"/>
                </a:cubicBezTo>
                <a:cubicBezTo>
                  <a:pt x="10309" y="3539"/>
                  <a:pt x="10529" y="3780"/>
                  <a:pt x="10800"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3" name="Shape 2813"/>
          <p:cNvSpPr/>
          <p:nvPr/>
        </p:nvSpPr>
        <p:spPr>
          <a:xfrm>
            <a:off x="5871676" y="1093712"/>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17076" y="12960"/>
                </a:moveTo>
                <a:lnTo>
                  <a:pt x="17294" y="10491"/>
                </a:lnTo>
                <a:lnTo>
                  <a:pt x="19843" y="10491"/>
                </a:lnTo>
                <a:lnTo>
                  <a:pt x="19407" y="12960"/>
                </a:lnTo>
                <a:cubicBezTo>
                  <a:pt x="19407" y="12960"/>
                  <a:pt x="17076" y="12960"/>
                  <a:pt x="17076" y="12960"/>
                </a:cubicBezTo>
                <a:close/>
                <a:moveTo>
                  <a:pt x="18752" y="16663"/>
                </a:moveTo>
                <a:lnTo>
                  <a:pt x="16748" y="16663"/>
                </a:lnTo>
                <a:lnTo>
                  <a:pt x="16967" y="14194"/>
                </a:lnTo>
                <a:lnTo>
                  <a:pt x="19188" y="14194"/>
                </a:lnTo>
                <a:cubicBezTo>
                  <a:pt x="19188" y="14194"/>
                  <a:pt x="18752" y="16663"/>
                  <a:pt x="18752" y="16663"/>
                </a:cubicBezTo>
                <a:close/>
                <a:moveTo>
                  <a:pt x="17673" y="20366"/>
                </a:moveTo>
                <a:cubicBezTo>
                  <a:pt x="17131" y="20366"/>
                  <a:pt x="16691" y="19813"/>
                  <a:pt x="16691" y="19131"/>
                </a:cubicBezTo>
                <a:cubicBezTo>
                  <a:pt x="16691" y="18450"/>
                  <a:pt x="17131" y="17897"/>
                  <a:pt x="17673" y="17897"/>
                </a:cubicBezTo>
                <a:cubicBezTo>
                  <a:pt x="18215" y="17897"/>
                  <a:pt x="18655" y="18450"/>
                  <a:pt x="18655" y="19131"/>
                </a:cubicBezTo>
                <a:cubicBezTo>
                  <a:pt x="18655" y="19813"/>
                  <a:pt x="18215" y="20366"/>
                  <a:pt x="17673" y="20366"/>
                </a:cubicBezTo>
                <a:moveTo>
                  <a:pt x="16415" y="9257"/>
                </a:moveTo>
                <a:lnTo>
                  <a:pt x="13745" y="9257"/>
                </a:lnTo>
                <a:lnTo>
                  <a:pt x="13745" y="6789"/>
                </a:lnTo>
                <a:lnTo>
                  <a:pt x="16634" y="6789"/>
                </a:lnTo>
                <a:cubicBezTo>
                  <a:pt x="16634" y="6789"/>
                  <a:pt x="16415" y="9257"/>
                  <a:pt x="16415" y="9257"/>
                </a:cubicBezTo>
                <a:close/>
                <a:moveTo>
                  <a:pt x="16088" y="12960"/>
                </a:moveTo>
                <a:lnTo>
                  <a:pt x="13745" y="12960"/>
                </a:lnTo>
                <a:lnTo>
                  <a:pt x="13745" y="10491"/>
                </a:lnTo>
                <a:lnTo>
                  <a:pt x="16307" y="10491"/>
                </a:lnTo>
                <a:cubicBezTo>
                  <a:pt x="16307" y="10491"/>
                  <a:pt x="16088" y="12960"/>
                  <a:pt x="16088" y="12960"/>
                </a:cubicBezTo>
                <a:close/>
                <a:moveTo>
                  <a:pt x="15761" y="16663"/>
                </a:moveTo>
                <a:lnTo>
                  <a:pt x="13745" y="16663"/>
                </a:lnTo>
                <a:lnTo>
                  <a:pt x="13745" y="14194"/>
                </a:lnTo>
                <a:lnTo>
                  <a:pt x="15979" y="14194"/>
                </a:lnTo>
                <a:cubicBezTo>
                  <a:pt x="15979" y="14194"/>
                  <a:pt x="15761" y="16663"/>
                  <a:pt x="15761" y="16663"/>
                </a:cubicBezTo>
                <a:close/>
                <a:moveTo>
                  <a:pt x="12764" y="9257"/>
                </a:moveTo>
                <a:lnTo>
                  <a:pt x="10094" y="9257"/>
                </a:lnTo>
                <a:lnTo>
                  <a:pt x="9876" y="6789"/>
                </a:lnTo>
                <a:lnTo>
                  <a:pt x="12764" y="6789"/>
                </a:lnTo>
                <a:cubicBezTo>
                  <a:pt x="12764" y="6789"/>
                  <a:pt x="12764" y="9257"/>
                  <a:pt x="12764" y="9257"/>
                </a:cubicBezTo>
                <a:close/>
                <a:moveTo>
                  <a:pt x="12764" y="12960"/>
                </a:moveTo>
                <a:lnTo>
                  <a:pt x="10422" y="12960"/>
                </a:lnTo>
                <a:lnTo>
                  <a:pt x="10203" y="10491"/>
                </a:lnTo>
                <a:lnTo>
                  <a:pt x="12764" y="10491"/>
                </a:lnTo>
                <a:cubicBezTo>
                  <a:pt x="12764" y="10491"/>
                  <a:pt x="12764" y="12960"/>
                  <a:pt x="12764" y="12960"/>
                </a:cubicBezTo>
                <a:close/>
                <a:moveTo>
                  <a:pt x="12764" y="16663"/>
                </a:moveTo>
                <a:lnTo>
                  <a:pt x="10748" y="16663"/>
                </a:lnTo>
                <a:lnTo>
                  <a:pt x="10531" y="14194"/>
                </a:lnTo>
                <a:lnTo>
                  <a:pt x="12764" y="14194"/>
                </a:lnTo>
                <a:cubicBezTo>
                  <a:pt x="12764" y="14194"/>
                  <a:pt x="12764" y="16663"/>
                  <a:pt x="12764" y="16663"/>
                </a:cubicBezTo>
                <a:close/>
                <a:moveTo>
                  <a:pt x="8836" y="20366"/>
                </a:moveTo>
                <a:cubicBezTo>
                  <a:pt x="8294" y="20366"/>
                  <a:pt x="7855" y="19813"/>
                  <a:pt x="7855" y="19131"/>
                </a:cubicBezTo>
                <a:cubicBezTo>
                  <a:pt x="7855" y="18450"/>
                  <a:pt x="8294" y="17897"/>
                  <a:pt x="8836" y="17897"/>
                </a:cubicBezTo>
                <a:cubicBezTo>
                  <a:pt x="9379" y="17897"/>
                  <a:pt x="9818" y="18450"/>
                  <a:pt x="9818" y="19131"/>
                </a:cubicBezTo>
                <a:cubicBezTo>
                  <a:pt x="9818" y="19813"/>
                  <a:pt x="9379" y="20366"/>
                  <a:pt x="8836" y="20366"/>
                </a:cubicBezTo>
                <a:moveTo>
                  <a:pt x="7214" y="14194"/>
                </a:moveTo>
                <a:lnTo>
                  <a:pt x="9543" y="14194"/>
                </a:lnTo>
                <a:lnTo>
                  <a:pt x="9761" y="16663"/>
                </a:lnTo>
                <a:lnTo>
                  <a:pt x="7740" y="16663"/>
                </a:lnTo>
                <a:cubicBezTo>
                  <a:pt x="7740" y="16663"/>
                  <a:pt x="7214" y="14194"/>
                  <a:pt x="7214" y="14194"/>
                </a:cubicBezTo>
                <a:close/>
                <a:moveTo>
                  <a:pt x="6950" y="12960"/>
                </a:moveTo>
                <a:lnTo>
                  <a:pt x="6424" y="10491"/>
                </a:lnTo>
                <a:lnTo>
                  <a:pt x="9215" y="10491"/>
                </a:lnTo>
                <a:lnTo>
                  <a:pt x="9434" y="12960"/>
                </a:lnTo>
                <a:cubicBezTo>
                  <a:pt x="9434" y="12960"/>
                  <a:pt x="6950" y="12960"/>
                  <a:pt x="6950" y="12960"/>
                </a:cubicBezTo>
                <a:close/>
                <a:moveTo>
                  <a:pt x="5633" y="6789"/>
                </a:moveTo>
                <a:lnTo>
                  <a:pt x="8888" y="6789"/>
                </a:lnTo>
                <a:lnTo>
                  <a:pt x="9107" y="9257"/>
                </a:lnTo>
                <a:lnTo>
                  <a:pt x="6160" y="9257"/>
                </a:lnTo>
                <a:cubicBezTo>
                  <a:pt x="6160" y="9257"/>
                  <a:pt x="5633" y="6789"/>
                  <a:pt x="5633" y="6789"/>
                </a:cubicBezTo>
                <a:close/>
                <a:moveTo>
                  <a:pt x="17621" y="6789"/>
                </a:moveTo>
                <a:lnTo>
                  <a:pt x="20498" y="6789"/>
                </a:lnTo>
                <a:lnTo>
                  <a:pt x="20061" y="9257"/>
                </a:lnTo>
                <a:lnTo>
                  <a:pt x="17403" y="9257"/>
                </a:lnTo>
                <a:cubicBezTo>
                  <a:pt x="17403" y="9257"/>
                  <a:pt x="17621" y="6789"/>
                  <a:pt x="17621" y="6789"/>
                </a:cubicBezTo>
                <a:close/>
                <a:moveTo>
                  <a:pt x="19619" y="17429"/>
                </a:moveTo>
                <a:lnTo>
                  <a:pt x="19622" y="17429"/>
                </a:lnTo>
                <a:lnTo>
                  <a:pt x="21585" y="6321"/>
                </a:lnTo>
                <a:lnTo>
                  <a:pt x="21577" y="6318"/>
                </a:lnTo>
                <a:cubicBezTo>
                  <a:pt x="21586" y="6270"/>
                  <a:pt x="21600" y="6224"/>
                  <a:pt x="21600" y="6171"/>
                </a:cubicBezTo>
                <a:cubicBezTo>
                  <a:pt x="21600" y="5830"/>
                  <a:pt x="21380" y="5554"/>
                  <a:pt x="21109" y="5554"/>
                </a:cubicBezTo>
                <a:lnTo>
                  <a:pt x="5370" y="5554"/>
                </a:lnTo>
                <a:lnTo>
                  <a:pt x="4674" y="2291"/>
                </a:lnTo>
                <a:lnTo>
                  <a:pt x="4667" y="2294"/>
                </a:lnTo>
                <a:cubicBezTo>
                  <a:pt x="4606" y="2040"/>
                  <a:pt x="4426" y="1851"/>
                  <a:pt x="4204" y="1851"/>
                </a:cubicBezTo>
                <a:lnTo>
                  <a:pt x="491" y="1851"/>
                </a:lnTo>
                <a:cubicBezTo>
                  <a:pt x="220" y="1851"/>
                  <a:pt x="0" y="2127"/>
                  <a:pt x="0" y="2469"/>
                </a:cubicBezTo>
                <a:cubicBezTo>
                  <a:pt x="0" y="2810"/>
                  <a:pt x="220" y="3086"/>
                  <a:pt x="491" y="3086"/>
                </a:cubicBezTo>
                <a:lnTo>
                  <a:pt x="3827" y="3086"/>
                </a:lnTo>
                <a:lnTo>
                  <a:pt x="6893" y="17457"/>
                </a:lnTo>
                <a:lnTo>
                  <a:pt x="6894" y="17457"/>
                </a:lnTo>
                <a:cubicBezTo>
                  <a:pt x="6936" y="17631"/>
                  <a:pt x="7037" y="17772"/>
                  <a:pt x="7168" y="17845"/>
                </a:cubicBezTo>
                <a:cubicBezTo>
                  <a:pt x="6984" y="18220"/>
                  <a:pt x="6873" y="18658"/>
                  <a:pt x="6873" y="19131"/>
                </a:cubicBezTo>
                <a:cubicBezTo>
                  <a:pt x="6873" y="20495"/>
                  <a:pt x="7752" y="21600"/>
                  <a:pt x="8836" y="21600"/>
                </a:cubicBezTo>
                <a:cubicBezTo>
                  <a:pt x="9921" y="21600"/>
                  <a:pt x="10800" y="20495"/>
                  <a:pt x="10800" y="19131"/>
                </a:cubicBezTo>
                <a:cubicBezTo>
                  <a:pt x="10800" y="18680"/>
                  <a:pt x="10696" y="18262"/>
                  <a:pt x="10528" y="17897"/>
                </a:cubicBezTo>
                <a:lnTo>
                  <a:pt x="15982" y="17897"/>
                </a:lnTo>
                <a:cubicBezTo>
                  <a:pt x="15813" y="18262"/>
                  <a:pt x="15709" y="18680"/>
                  <a:pt x="15709" y="19131"/>
                </a:cubicBezTo>
                <a:cubicBezTo>
                  <a:pt x="15709" y="20495"/>
                  <a:pt x="16588" y="21600"/>
                  <a:pt x="17673" y="21600"/>
                </a:cubicBezTo>
                <a:cubicBezTo>
                  <a:pt x="18757" y="21600"/>
                  <a:pt x="19636" y="20495"/>
                  <a:pt x="19636" y="19131"/>
                </a:cubicBezTo>
                <a:cubicBezTo>
                  <a:pt x="19636" y="18658"/>
                  <a:pt x="19525" y="18220"/>
                  <a:pt x="19341" y="17845"/>
                </a:cubicBezTo>
                <a:cubicBezTo>
                  <a:pt x="19479" y="17769"/>
                  <a:pt x="19581" y="17615"/>
                  <a:pt x="19619" y="17429"/>
                </a:cubicBezTo>
                <a:moveTo>
                  <a:pt x="10800" y="1234"/>
                </a:moveTo>
                <a:lnTo>
                  <a:pt x="15709" y="1234"/>
                </a:lnTo>
                <a:cubicBezTo>
                  <a:pt x="15980" y="1234"/>
                  <a:pt x="16200" y="959"/>
                  <a:pt x="16200" y="617"/>
                </a:cubicBezTo>
                <a:cubicBezTo>
                  <a:pt x="16200" y="276"/>
                  <a:pt x="15980" y="0"/>
                  <a:pt x="15709" y="0"/>
                </a:cubicBezTo>
                <a:lnTo>
                  <a:pt x="10800" y="0"/>
                </a:lnTo>
                <a:cubicBezTo>
                  <a:pt x="10529" y="0"/>
                  <a:pt x="10309" y="276"/>
                  <a:pt x="10309" y="617"/>
                </a:cubicBezTo>
                <a:cubicBezTo>
                  <a:pt x="10309" y="959"/>
                  <a:pt x="10529" y="1234"/>
                  <a:pt x="10800"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4" name="Shape 2814"/>
          <p:cNvSpPr/>
          <p:nvPr/>
        </p:nvSpPr>
        <p:spPr>
          <a:xfrm>
            <a:off x="6290667" y="106990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0800"/>
                </a:moveTo>
                <a:lnTo>
                  <a:pt x="13200" y="10800"/>
                </a:lnTo>
                <a:lnTo>
                  <a:pt x="13200" y="11782"/>
                </a:lnTo>
                <a:lnTo>
                  <a:pt x="14400" y="11782"/>
                </a:lnTo>
                <a:cubicBezTo>
                  <a:pt x="14400" y="11782"/>
                  <a:pt x="14400" y="10800"/>
                  <a:pt x="14400" y="10800"/>
                </a:cubicBezTo>
                <a:close/>
                <a:moveTo>
                  <a:pt x="15600" y="11782"/>
                </a:moveTo>
                <a:lnTo>
                  <a:pt x="16800" y="11782"/>
                </a:lnTo>
                <a:lnTo>
                  <a:pt x="16800" y="10800"/>
                </a:lnTo>
                <a:lnTo>
                  <a:pt x="15600" y="10800"/>
                </a:lnTo>
                <a:cubicBezTo>
                  <a:pt x="15600" y="10800"/>
                  <a:pt x="15600" y="11782"/>
                  <a:pt x="15600" y="11782"/>
                </a:cubicBezTo>
                <a:close/>
                <a:moveTo>
                  <a:pt x="15600" y="15709"/>
                </a:moveTo>
                <a:lnTo>
                  <a:pt x="19200" y="15709"/>
                </a:lnTo>
                <a:lnTo>
                  <a:pt x="19200" y="14727"/>
                </a:lnTo>
                <a:lnTo>
                  <a:pt x="15600" y="14727"/>
                </a:lnTo>
                <a:cubicBezTo>
                  <a:pt x="15600" y="14727"/>
                  <a:pt x="15600" y="15709"/>
                  <a:pt x="15600" y="15709"/>
                </a:cubicBezTo>
                <a:close/>
                <a:moveTo>
                  <a:pt x="14400" y="8836"/>
                </a:moveTo>
                <a:lnTo>
                  <a:pt x="13200" y="8836"/>
                </a:lnTo>
                <a:lnTo>
                  <a:pt x="13200" y="9818"/>
                </a:lnTo>
                <a:lnTo>
                  <a:pt x="14400" y="9818"/>
                </a:lnTo>
                <a:cubicBezTo>
                  <a:pt x="14400" y="9818"/>
                  <a:pt x="14400" y="8836"/>
                  <a:pt x="14400" y="8836"/>
                </a:cubicBezTo>
                <a:close/>
                <a:moveTo>
                  <a:pt x="16800" y="8836"/>
                </a:moveTo>
                <a:lnTo>
                  <a:pt x="15600" y="8836"/>
                </a:lnTo>
                <a:lnTo>
                  <a:pt x="15600" y="9818"/>
                </a:lnTo>
                <a:lnTo>
                  <a:pt x="16800" y="9818"/>
                </a:lnTo>
                <a:cubicBezTo>
                  <a:pt x="16800" y="9818"/>
                  <a:pt x="16800" y="8836"/>
                  <a:pt x="16800" y="8836"/>
                </a:cubicBezTo>
                <a:close/>
                <a:moveTo>
                  <a:pt x="19200" y="6873"/>
                </a:moveTo>
                <a:lnTo>
                  <a:pt x="13200" y="6873"/>
                </a:lnTo>
                <a:lnTo>
                  <a:pt x="13200" y="7855"/>
                </a:lnTo>
                <a:lnTo>
                  <a:pt x="19200" y="7855"/>
                </a:lnTo>
                <a:cubicBezTo>
                  <a:pt x="19200" y="7855"/>
                  <a:pt x="19200" y="6873"/>
                  <a:pt x="19200" y="6873"/>
                </a:cubicBezTo>
                <a:close/>
                <a:moveTo>
                  <a:pt x="18000" y="9818"/>
                </a:moveTo>
                <a:lnTo>
                  <a:pt x="19200" y="9818"/>
                </a:lnTo>
                <a:lnTo>
                  <a:pt x="19200" y="8836"/>
                </a:lnTo>
                <a:lnTo>
                  <a:pt x="18000" y="8836"/>
                </a:lnTo>
                <a:cubicBezTo>
                  <a:pt x="18000" y="8836"/>
                  <a:pt x="18000" y="9818"/>
                  <a:pt x="18000" y="9818"/>
                </a:cubicBezTo>
                <a:close/>
                <a:moveTo>
                  <a:pt x="18000" y="11782"/>
                </a:moveTo>
                <a:lnTo>
                  <a:pt x="19200" y="11782"/>
                </a:lnTo>
                <a:lnTo>
                  <a:pt x="19200" y="10800"/>
                </a:lnTo>
                <a:lnTo>
                  <a:pt x="18000" y="10800"/>
                </a:lnTo>
                <a:cubicBezTo>
                  <a:pt x="18000" y="10800"/>
                  <a:pt x="18000" y="11782"/>
                  <a:pt x="18000" y="11782"/>
                </a:cubicBezTo>
                <a:close/>
                <a:moveTo>
                  <a:pt x="15600" y="13745"/>
                </a:moveTo>
                <a:lnTo>
                  <a:pt x="16800" y="13745"/>
                </a:lnTo>
                <a:lnTo>
                  <a:pt x="16800" y="12764"/>
                </a:lnTo>
                <a:lnTo>
                  <a:pt x="15600" y="12764"/>
                </a:lnTo>
                <a:cubicBezTo>
                  <a:pt x="15600" y="12764"/>
                  <a:pt x="15600" y="13745"/>
                  <a:pt x="15600" y="13745"/>
                </a:cubicBezTo>
                <a:close/>
                <a:moveTo>
                  <a:pt x="18000" y="13745"/>
                </a:moveTo>
                <a:lnTo>
                  <a:pt x="19200" y="13745"/>
                </a:lnTo>
                <a:lnTo>
                  <a:pt x="19200" y="12764"/>
                </a:lnTo>
                <a:lnTo>
                  <a:pt x="18000" y="12764"/>
                </a:lnTo>
                <a:cubicBezTo>
                  <a:pt x="18000" y="12764"/>
                  <a:pt x="18000" y="13745"/>
                  <a:pt x="18000" y="13745"/>
                </a:cubicBezTo>
                <a:close/>
                <a:moveTo>
                  <a:pt x="20400" y="16691"/>
                </a:moveTo>
                <a:lnTo>
                  <a:pt x="1200" y="16691"/>
                </a:lnTo>
                <a:lnTo>
                  <a:pt x="1200" y="5891"/>
                </a:lnTo>
                <a:lnTo>
                  <a:pt x="20400" y="5891"/>
                </a:lnTo>
                <a:cubicBezTo>
                  <a:pt x="20400" y="5891"/>
                  <a:pt x="20400" y="16691"/>
                  <a:pt x="20400" y="16691"/>
                </a:cubicBezTo>
                <a:close/>
                <a:moveTo>
                  <a:pt x="20400" y="20618"/>
                </a:moveTo>
                <a:lnTo>
                  <a:pt x="1200" y="20618"/>
                </a:lnTo>
                <a:lnTo>
                  <a:pt x="1200" y="17673"/>
                </a:lnTo>
                <a:lnTo>
                  <a:pt x="20400" y="17673"/>
                </a:lnTo>
                <a:cubicBezTo>
                  <a:pt x="20400" y="17673"/>
                  <a:pt x="20400" y="20618"/>
                  <a:pt x="20400" y="20618"/>
                </a:cubicBezTo>
                <a:close/>
                <a:moveTo>
                  <a:pt x="15000" y="4909"/>
                </a:moveTo>
                <a:lnTo>
                  <a:pt x="13800" y="4909"/>
                </a:lnTo>
                <a:lnTo>
                  <a:pt x="13800" y="2945"/>
                </a:lnTo>
                <a:lnTo>
                  <a:pt x="15000" y="2945"/>
                </a:lnTo>
                <a:cubicBezTo>
                  <a:pt x="15000" y="2945"/>
                  <a:pt x="15000" y="4909"/>
                  <a:pt x="15000" y="4909"/>
                </a:cubicBezTo>
                <a:close/>
                <a:moveTo>
                  <a:pt x="13200" y="982"/>
                </a:moveTo>
                <a:lnTo>
                  <a:pt x="18000" y="982"/>
                </a:lnTo>
                <a:lnTo>
                  <a:pt x="18000" y="1964"/>
                </a:lnTo>
                <a:lnTo>
                  <a:pt x="13200" y="1964"/>
                </a:lnTo>
                <a:cubicBezTo>
                  <a:pt x="13200" y="1964"/>
                  <a:pt x="13200" y="982"/>
                  <a:pt x="13200" y="982"/>
                </a:cubicBezTo>
                <a:close/>
                <a:moveTo>
                  <a:pt x="12000" y="1964"/>
                </a:moveTo>
                <a:lnTo>
                  <a:pt x="10800" y="1964"/>
                </a:lnTo>
                <a:lnTo>
                  <a:pt x="10800" y="982"/>
                </a:lnTo>
                <a:lnTo>
                  <a:pt x="12000" y="982"/>
                </a:lnTo>
                <a:cubicBezTo>
                  <a:pt x="12000" y="982"/>
                  <a:pt x="12000" y="1964"/>
                  <a:pt x="12000" y="1964"/>
                </a:cubicBezTo>
                <a:close/>
                <a:moveTo>
                  <a:pt x="20400" y="4909"/>
                </a:moveTo>
                <a:lnTo>
                  <a:pt x="16200" y="4909"/>
                </a:lnTo>
                <a:lnTo>
                  <a:pt x="16200" y="2945"/>
                </a:lnTo>
                <a:lnTo>
                  <a:pt x="18000" y="2945"/>
                </a:lnTo>
                <a:cubicBezTo>
                  <a:pt x="18662" y="2945"/>
                  <a:pt x="19200" y="2506"/>
                  <a:pt x="19200" y="1964"/>
                </a:cubicBezTo>
                <a:lnTo>
                  <a:pt x="19200" y="982"/>
                </a:lnTo>
                <a:cubicBezTo>
                  <a:pt x="19200" y="440"/>
                  <a:pt x="18662" y="0"/>
                  <a:pt x="18000" y="0"/>
                </a:cubicBezTo>
                <a:lnTo>
                  <a:pt x="10800" y="0"/>
                </a:lnTo>
                <a:cubicBezTo>
                  <a:pt x="10138" y="0"/>
                  <a:pt x="9600" y="440"/>
                  <a:pt x="9600" y="982"/>
                </a:cubicBezTo>
                <a:lnTo>
                  <a:pt x="9600" y="1964"/>
                </a:lnTo>
                <a:cubicBezTo>
                  <a:pt x="9600" y="2506"/>
                  <a:pt x="10138" y="2945"/>
                  <a:pt x="10800" y="2945"/>
                </a:cubicBezTo>
                <a:lnTo>
                  <a:pt x="12600" y="2945"/>
                </a:lnTo>
                <a:lnTo>
                  <a:pt x="12600" y="4909"/>
                </a:lnTo>
                <a:lnTo>
                  <a:pt x="1200" y="4909"/>
                </a:lnTo>
                <a:cubicBezTo>
                  <a:pt x="538" y="4909"/>
                  <a:pt x="0" y="5349"/>
                  <a:pt x="0" y="5891"/>
                </a:cubicBezTo>
                <a:lnTo>
                  <a:pt x="0" y="20618"/>
                </a:lnTo>
                <a:cubicBezTo>
                  <a:pt x="0" y="21160"/>
                  <a:pt x="538" y="21600"/>
                  <a:pt x="1200" y="21600"/>
                </a:cubicBezTo>
                <a:lnTo>
                  <a:pt x="20400" y="21600"/>
                </a:lnTo>
                <a:cubicBezTo>
                  <a:pt x="21062" y="21600"/>
                  <a:pt x="21600" y="21160"/>
                  <a:pt x="21600" y="20618"/>
                </a:cubicBezTo>
                <a:lnTo>
                  <a:pt x="21600" y="5891"/>
                </a:lnTo>
                <a:cubicBezTo>
                  <a:pt x="21600" y="5349"/>
                  <a:pt x="21062" y="4909"/>
                  <a:pt x="20400" y="4909"/>
                </a:cubicBezTo>
                <a:moveTo>
                  <a:pt x="3600" y="14727"/>
                </a:moveTo>
                <a:lnTo>
                  <a:pt x="2400" y="14727"/>
                </a:lnTo>
                <a:lnTo>
                  <a:pt x="2400" y="15709"/>
                </a:lnTo>
                <a:lnTo>
                  <a:pt x="3600" y="15709"/>
                </a:lnTo>
                <a:cubicBezTo>
                  <a:pt x="3600" y="15709"/>
                  <a:pt x="3600" y="14727"/>
                  <a:pt x="3600" y="14727"/>
                </a:cubicBezTo>
                <a:close/>
                <a:moveTo>
                  <a:pt x="4800" y="15709"/>
                </a:moveTo>
                <a:lnTo>
                  <a:pt x="6000" y="15709"/>
                </a:lnTo>
                <a:lnTo>
                  <a:pt x="6000" y="14727"/>
                </a:lnTo>
                <a:lnTo>
                  <a:pt x="4800" y="14727"/>
                </a:lnTo>
                <a:cubicBezTo>
                  <a:pt x="4800" y="14727"/>
                  <a:pt x="4800" y="15709"/>
                  <a:pt x="4800" y="15709"/>
                </a:cubicBezTo>
                <a:close/>
                <a:moveTo>
                  <a:pt x="9000" y="19636"/>
                </a:moveTo>
                <a:lnTo>
                  <a:pt x="12600" y="19636"/>
                </a:lnTo>
                <a:cubicBezTo>
                  <a:pt x="12931" y="19636"/>
                  <a:pt x="13200" y="19417"/>
                  <a:pt x="13200" y="19145"/>
                </a:cubicBezTo>
                <a:cubicBezTo>
                  <a:pt x="13200" y="18875"/>
                  <a:pt x="12931" y="18655"/>
                  <a:pt x="12600" y="18655"/>
                </a:cubicBezTo>
                <a:lnTo>
                  <a:pt x="9000" y="18655"/>
                </a:lnTo>
                <a:cubicBezTo>
                  <a:pt x="8669" y="18655"/>
                  <a:pt x="8400" y="18875"/>
                  <a:pt x="8400" y="19145"/>
                </a:cubicBezTo>
                <a:cubicBezTo>
                  <a:pt x="8400" y="19417"/>
                  <a:pt x="8669" y="19636"/>
                  <a:pt x="9000" y="19636"/>
                </a:cubicBezTo>
                <a:moveTo>
                  <a:pt x="7200" y="15709"/>
                </a:moveTo>
                <a:lnTo>
                  <a:pt x="8400" y="15709"/>
                </a:lnTo>
                <a:lnTo>
                  <a:pt x="8400" y="14727"/>
                </a:lnTo>
                <a:lnTo>
                  <a:pt x="7200" y="14727"/>
                </a:lnTo>
                <a:cubicBezTo>
                  <a:pt x="7200" y="14727"/>
                  <a:pt x="7200" y="15709"/>
                  <a:pt x="7200" y="15709"/>
                </a:cubicBezTo>
                <a:close/>
                <a:moveTo>
                  <a:pt x="14400" y="12764"/>
                </a:moveTo>
                <a:lnTo>
                  <a:pt x="13200" y="12764"/>
                </a:lnTo>
                <a:lnTo>
                  <a:pt x="13200" y="13745"/>
                </a:lnTo>
                <a:lnTo>
                  <a:pt x="14400" y="13745"/>
                </a:lnTo>
                <a:cubicBezTo>
                  <a:pt x="14400" y="13745"/>
                  <a:pt x="14400" y="12764"/>
                  <a:pt x="14400" y="12764"/>
                </a:cubicBezTo>
                <a:close/>
                <a:moveTo>
                  <a:pt x="10800" y="12764"/>
                </a:moveTo>
                <a:lnTo>
                  <a:pt x="3600" y="12764"/>
                </a:lnTo>
                <a:lnTo>
                  <a:pt x="3600" y="7855"/>
                </a:lnTo>
                <a:lnTo>
                  <a:pt x="10800" y="7855"/>
                </a:lnTo>
                <a:cubicBezTo>
                  <a:pt x="10800" y="7855"/>
                  <a:pt x="10800" y="12764"/>
                  <a:pt x="10800" y="12764"/>
                </a:cubicBezTo>
                <a:close/>
                <a:moveTo>
                  <a:pt x="12000" y="6873"/>
                </a:moveTo>
                <a:lnTo>
                  <a:pt x="2400" y="6873"/>
                </a:lnTo>
                <a:lnTo>
                  <a:pt x="2400" y="13745"/>
                </a:lnTo>
                <a:lnTo>
                  <a:pt x="12000" y="13745"/>
                </a:lnTo>
                <a:cubicBezTo>
                  <a:pt x="12000" y="13745"/>
                  <a:pt x="12000" y="6873"/>
                  <a:pt x="12000" y="68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5" name="Shape 2815"/>
          <p:cNvSpPr/>
          <p:nvPr/>
        </p:nvSpPr>
        <p:spPr>
          <a:xfrm>
            <a:off x="6681091"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57" y="20618"/>
                </a:moveTo>
                <a:lnTo>
                  <a:pt x="1300" y="19636"/>
                </a:lnTo>
                <a:lnTo>
                  <a:pt x="20300" y="19636"/>
                </a:lnTo>
                <a:lnTo>
                  <a:pt x="20443" y="20618"/>
                </a:lnTo>
                <a:cubicBezTo>
                  <a:pt x="20443" y="20618"/>
                  <a:pt x="1157" y="20618"/>
                  <a:pt x="1157" y="20618"/>
                </a:cubicBezTo>
                <a:close/>
                <a:moveTo>
                  <a:pt x="3172" y="6873"/>
                </a:moveTo>
                <a:lnTo>
                  <a:pt x="6480" y="6873"/>
                </a:lnTo>
                <a:lnTo>
                  <a:pt x="6480" y="8973"/>
                </a:lnTo>
                <a:cubicBezTo>
                  <a:pt x="6158" y="9143"/>
                  <a:pt x="5940" y="9456"/>
                  <a:pt x="5940" y="9818"/>
                </a:cubicBezTo>
                <a:cubicBezTo>
                  <a:pt x="5940" y="10360"/>
                  <a:pt x="6424" y="10800"/>
                  <a:pt x="7020" y="10800"/>
                </a:cubicBezTo>
                <a:cubicBezTo>
                  <a:pt x="7616" y="10800"/>
                  <a:pt x="8100" y="10360"/>
                  <a:pt x="8100" y="9818"/>
                </a:cubicBezTo>
                <a:cubicBezTo>
                  <a:pt x="8100" y="9456"/>
                  <a:pt x="7882" y="9143"/>
                  <a:pt x="7560" y="8973"/>
                </a:cubicBezTo>
                <a:lnTo>
                  <a:pt x="7560" y="6873"/>
                </a:lnTo>
                <a:lnTo>
                  <a:pt x="14040" y="6873"/>
                </a:lnTo>
                <a:lnTo>
                  <a:pt x="14040" y="8973"/>
                </a:lnTo>
                <a:cubicBezTo>
                  <a:pt x="13718" y="9143"/>
                  <a:pt x="13500" y="9456"/>
                  <a:pt x="13500" y="9818"/>
                </a:cubicBezTo>
                <a:cubicBezTo>
                  <a:pt x="13500" y="10360"/>
                  <a:pt x="13984" y="10800"/>
                  <a:pt x="14580" y="10800"/>
                </a:cubicBezTo>
                <a:cubicBezTo>
                  <a:pt x="15176" y="10800"/>
                  <a:pt x="15660" y="10360"/>
                  <a:pt x="15660" y="9818"/>
                </a:cubicBezTo>
                <a:cubicBezTo>
                  <a:pt x="15660" y="9456"/>
                  <a:pt x="15442" y="9143"/>
                  <a:pt x="15120" y="8973"/>
                </a:cubicBezTo>
                <a:lnTo>
                  <a:pt x="15120" y="6873"/>
                </a:lnTo>
                <a:lnTo>
                  <a:pt x="18428" y="6873"/>
                </a:lnTo>
                <a:lnTo>
                  <a:pt x="20155" y="18655"/>
                </a:lnTo>
                <a:lnTo>
                  <a:pt x="1445" y="18655"/>
                </a:lnTo>
                <a:cubicBezTo>
                  <a:pt x="1445" y="18655"/>
                  <a:pt x="3172" y="6873"/>
                  <a:pt x="3172" y="6873"/>
                </a:cubicBezTo>
                <a:close/>
                <a:moveTo>
                  <a:pt x="7560" y="3927"/>
                </a:moveTo>
                <a:cubicBezTo>
                  <a:pt x="7560" y="2301"/>
                  <a:pt x="9011" y="982"/>
                  <a:pt x="10800" y="982"/>
                </a:cubicBezTo>
                <a:cubicBezTo>
                  <a:pt x="12590" y="982"/>
                  <a:pt x="14040" y="2301"/>
                  <a:pt x="14040" y="3927"/>
                </a:cubicBezTo>
                <a:lnTo>
                  <a:pt x="14040" y="5891"/>
                </a:lnTo>
                <a:lnTo>
                  <a:pt x="7560" y="5891"/>
                </a:lnTo>
                <a:cubicBezTo>
                  <a:pt x="7560" y="5891"/>
                  <a:pt x="7560" y="3927"/>
                  <a:pt x="7560" y="3927"/>
                </a:cubicBezTo>
                <a:close/>
                <a:moveTo>
                  <a:pt x="21586" y="21045"/>
                </a:moveTo>
                <a:lnTo>
                  <a:pt x="21595" y="21044"/>
                </a:lnTo>
                <a:lnTo>
                  <a:pt x="19435" y="6317"/>
                </a:lnTo>
                <a:lnTo>
                  <a:pt x="19426" y="6318"/>
                </a:lnTo>
                <a:cubicBezTo>
                  <a:pt x="19390" y="6079"/>
                  <a:pt x="19173" y="5891"/>
                  <a:pt x="18900" y="5891"/>
                </a:cubicBezTo>
                <a:lnTo>
                  <a:pt x="15120" y="5891"/>
                </a:lnTo>
                <a:lnTo>
                  <a:pt x="15120" y="3927"/>
                </a:lnTo>
                <a:cubicBezTo>
                  <a:pt x="15120" y="1758"/>
                  <a:pt x="13186" y="0"/>
                  <a:pt x="10800" y="0"/>
                </a:cubicBezTo>
                <a:cubicBezTo>
                  <a:pt x="8414" y="0"/>
                  <a:pt x="6480" y="1758"/>
                  <a:pt x="6480" y="3927"/>
                </a:cubicBezTo>
                <a:lnTo>
                  <a:pt x="6480" y="5891"/>
                </a:lnTo>
                <a:lnTo>
                  <a:pt x="2700" y="5891"/>
                </a:lnTo>
                <a:cubicBezTo>
                  <a:pt x="2427" y="5891"/>
                  <a:pt x="2210" y="6079"/>
                  <a:pt x="2174" y="6318"/>
                </a:cubicBezTo>
                <a:lnTo>
                  <a:pt x="2165" y="6317"/>
                </a:lnTo>
                <a:lnTo>
                  <a:pt x="5" y="21044"/>
                </a:lnTo>
                <a:lnTo>
                  <a:pt x="14" y="21045"/>
                </a:lnTo>
                <a:cubicBezTo>
                  <a:pt x="11" y="21067"/>
                  <a:pt x="0" y="21087"/>
                  <a:pt x="0" y="21109"/>
                </a:cubicBezTo>
                <a:cubicBezTo>
                  <a:pt x="0" y="21381"/>
                  <a:pt x="242" y="21600"/>
                  <a:pt x="540" y="21600"/>
                </a:cubicBezTo>
                <a:lnTo>
                  <a:pt x="21060" y="21600"/>
                </a:lnTo>
                <a:cubicBezTo>
                  <a:pt x="21358" y="21600"/>
                  <a:pt x="21600" y="21381"/>
                  <a:pt x="21600" y="21109"/>
                </a:cubicBezTo>
                <a:cubicBezTo>
                  <a:pt x="21600" y="21087"/>
                  <a:pt x="21589" y="21067"/>
                  <a:pt x="21586" y="210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6" name="Shape 2816"/>
          <p:cNvSpPr/>
          <p:nvPr/>
        </p:nvSpPr>
        <p:spPr>
          <a:xfrm>
            <a:off x="7066753"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587" y="18100"/>
                </a:moveTo>
                <a:lnTo>
                  <a:pt x="21596" y="18099"/>
                </a:lnTo>
                <a:lnTo>
                  <a:pt x="20614" y="5335"/>
                </a:lnTo>
                <a:lnTo>
                  <a:pt x="20605" y="5337"/>
                </a:lnTo>
                <a:cubicBezTo>
                  <a:pt x="20573" y="5097"/>
                  <a:pt x="20376" y="4909"/>
                  <a:pt x="20127" y="4909"/>
                </a:cubicBezTo>
                <a:lnTo>
                  <a:pt x="16691" y="4909"/>
                </a:lnTo>
                <a:lnTo>
                  <a:pt x="16691" y="3927"/>
                </a:lnTo>
                <a:cubicBezTo>
                  <a:pt x="16691" y="1758"/>
                  <a:pt x="14932" y="0"/>
                  <a:pt x="12764" y="0"/>
                </a:cubicBezTo>
                <a:cubicBezTo>
                  <a:pt x="11300" y="0"/>
                  <a:pt x="10025" y="803"/>
                  <a:pt x="9350" y="1991"/>
                </a:cubicBezTo>
                <a:cubicBezTo>
                  <a:pt x="9705" y="2027"/>
                  <a:pt x="10048" y="2105"/>
                  <a:pt x="10377" y="2214"/>
                </a:cubicBezTo>
                <a:cubicBezTo>
                  <a:pt x="10911" y="1470"/>
                  <a:pt x="11778" y="982"/>
                  <a:pt x="12764" y="982"/>
                </a:cubicBezTo>
                <a:cubicBezTo>
                  <a:pt x="14390" y="982"/>
                  <a:pt x="15709" y="2301"/>
                  <a:pt x="15709" y="3927"/>
                </a:cubicBezTo>
                <a:lnTo>
                  <a:pt x="15709" y="4909"/>
                </a:lnTo>
                <a:lnTo>
                  <a:pt x="13337" y="4909"/>
                </a:lnTo>
                <a:cubicBezTo>
                  <a:pt x="13474" y="5221"/>
                  <a:pt x="13581" y="5549"/>
                  <a:pt x="13651" y="5891"/>
                </a:cubicBezTo>
                <a:lnTo>
                  <a:pt x="15709" y="5891"/>
                </a:lnTo>
                <a:lnTo>
                  <a:pt x="15709" y="6873"/>
                </a:lnTo>
                <a:lnTo>
                  <a:pt x="16204" y="6873"/>
                </a:lnTo>
                <a:cubicBezTo>
                  <a:pt x="16375" y="6873"/>
                  <a:pt x="16537" y="6905"/>
                  <a:pt x="16691" y="6961"/>
                </a:cubicBezTo>
                <a:lnTo>
                  <a:pt x="16691" y="5891"/>
                </a:lnTo>
                <a:lnTo>
                  <a:pt x="19674" y="5891"/>
                </a:lnTo>
                <a:lnTo>
                  <a:pt x="20429" y="15709"/>
                </a:lnTo>
                <a:lnTo>
                  <a:pt x="18247" y="15709"/>
                </a:lnTo>
                <a:lnTo>
                  <a:pt x="18323" y="16691"/>
                </a:lnTo>
                <a:lnTo>
                  <a:pt x="20504" y="16691"/>
                </a:lnTo>
                <a:lnTo>
                  <a:pt x="20580" y="17673"/>
                </a:lnTo>
                <a:lnTo>
                  <a:pt x="18398" y="17673"/>
                </a:lnTo>
                <a:lnTo>
                  <a:pt x="18474" y="18655"/>
                </a:lnTo>
                <a:lnTo>
                  <a:pt x="21109" y="18655"/>
                </a:lnTo>
                <a:cubicBezTo>
                  <a:pt x="21380" y="18655"/>
                  <a:pt x="21600" y="18435"/>
                  <a:pt x="21600" y="18164"/>
                </a:cubicBezTo>
                <a:cubicBezTo>
                  <a:pt x="21600" y="18141"/>
                  <a:pt x="21590" y="18122"/>
                  <a:pt x="21587" y="18100"/>
                </a:cubicBezTo>
                <a:moveTo>
                  <a:pt x="1020" y="20618"/>
                </a:moveTo>
                <a:lnTo>
                  <a:pt x="1096" y="19636"/>
                </a:lnTo>
                <a:lnTo>
                  <a:pt x="16577" y="19636"/>
                </a:lnTo>
                <a:lnTo>
                  <a:pt x="16653" y="20618"/>
                </a:lnTo>
                <a:cubicBezTo>
                  <a:pt x="16653" y="20618"/>
                  <a:pt x="1020" y="20618"/>
                  <a:pt x="1020" y="20618"/>
                </a:cubicBezTo>
                <a:close/>
                <a:moveTo>
                  <a:pt x="1926" y="8836"/>
                </a:moveTo>
                <a:lnTo>
                  <a:pt x="4909" y="8836"/>
                </a:lnTo>
                <a:lnTo>
                  <a:pt x="4909" y="10936"/>
                </a:lnTo>
                <a:cubicBezTo>
                  <a:pt x="4617" y="11106"/>
                  <a:pt x="4418" y="11420"/>
                  <a:pt x="4418" y="11782"/>
                </a:cubicBezTo>
                <a:cubicBezTo>
                  <a:pt x="4418" y="12324"/>
                  <a:pt x="4858" y="12764"/>
                  <a:pt x="5400" y="12764"/>
                </a:cubicBezTo>
                <a:cubicBezTo>
                  <a:pt x="5942" y="12764"/>
                  <a:pt x="6382" y="12324"/>
                  <a:pt x="6382" y="11782"/>
                </a:cubicBezTo>
                <a:cubicBezTo>
                  <a:pt x="6382" y="11420"/>
                  <a:pt x="6183" y="11106"/>
                  <a:pt x="5891" y="10936"/>
                </a:cubicBezTo>
                <a:lnTo>
                  <a:pt x="5891" y="8836"/>
                </a:lnTo>
                <a:lnTo>
                  <a:pt x="11782" y="8836"/>
                </a:lnTo>
                <a:lnTo>
                  <a:pt x="11782" y="10936"/>
                </a:lnTo>
                <a:cubicBezTo>
                  <a:pt x="11489" y="11106"/>
                  <a:pt x="11291" y="11420"/>
                  <a:pt x="11291" y="11782"/>
                </a:cubicBezTo>
                <a:cubicBezTo>
                  <a:pt x="11291" y="12324"/>
                  <a:pt x="11731" y="12764"/>
                  <a:pt x="12273" y="12764"/>
                </a:cubicBezTo>
                <a:cubicBezTo>
                  <a:pt x="12815" y="12764"/>
                  <a:pt x="13255" y="12324"/>
                  <a:pt x="13255" y="11782"/>
                </a:cubicBezTo>
                <a:cubicBezTo>
                  <a:pt x="13255" y="11420"/>
                  <a:pt x="13056" y="11106"/>
                  <a:pt x="12764" y="10936"/>
                </a:cubicBezTo>
                <a:lnTo>
                  <a:pt x="12764" y="8836"/>
                </a:lnTo>
                <a:lnTo>
                  <a:pt x="15746" y="8836"/>
                </a:lnTo>
                <a:lnTo>
                  <a:pt x="16502" y="18655"/>
                </a:lnTo>
                <a:lnTo>
                  <a:pt x="1172" y="18655"/>
                </a:lnTo>
                <a:cubicBezTo>
                  <a:pt x="1172" y="18655"/>
                  <a:pt x="1926" y="8836"/>
                  <a:pt x="1926" y="8836"/>
                </a:cubicBezTo>
                <a:close/>
                <a:moveTo>
                  <a:pt x="5891" y="6873"/>
                </a:moveTo>
                <a:cubicBezTo>
                  <a:pt x="5891" y="5246"/>
                  <a:pt x="7210" y="3927"/>
                  <a:pt x="8836" y="3927"/>
                </a:cubicBezTo>
                <a:cubicBezTo>
                  <a:pt x="10463" y="3927"/>
                  <a:pt x="11782" y="5246"/>
                  <a:pt x="11782" y="6873"/>
                </a:cubicBezTo>
                <a:lnTo>
                  <a:pt x="11782" y="7855"/>
                </a:lnTo>
                <a:lnTo>
                  <a:pt x="5891" y="7855"/>
                </a:lnTo>
                <a:cubicBezTo>
                  <a:pt x="5891" y="7855"/>
                  <a:pt x="5891" y="6873"/>
                  <a:pt x="5891" y="6873"/>
                </a:cubicBezTo>
                <a:close/>
                <a:moveTo>
                  <a:pt x="17668" y="21044"/>
                </a:moveTo>
                <a:lnTo>
                  <a:pt x="16687" y="8281"/>
                </a:lnTo>
                <a:lnTo>
                  <a:pt x="16678" y="8282"/>
                </a:lnTo>
                <a:cubicBezTo>
                  <a:pt x="16646" y="8043"/>
                  <a:pt x="16448" y="7855"/>
                  <a:pt x="16200" y="7855"/>
                </a:cubicBezTo>
                <a:lnTo>
                  <a:pt x="12764" y="7855"/>
                </a:lnTo>
                <a:lnTo>
                  <a:pt x="12764" y="6873"/>
                </a:lnTo>
                <a:cubicBezTo>
                  <a:pt x="12764" y="4704"/>
                  <a:pt x="11005" y="2945"/>
                  <a:pt x="8836" y="2945"/>
                </a:cubicBezTo>
                <a:cubicBezTo>
                  <a:pt x="6668" y="2945"/>
                  <a:pt x="4909" y="4704"/>
                  <a:pt x="4909" y="6873"/>
                </a:cubicBezTo>
                <a:lnTo>
                  <a:pt x="4909" y="7855"/>
                </a:lnTo>
                <a:lnTo>
                  <a:pt x="1473" y="7855"/>
                </a:lnTo>
                <a:cubicBezTo>
                  <a:pt x="1224" y="7855"/>
                  <a:pt x="1027" y="8043"/>
                  <a:pt x="995" y="8282"/>
                </a:cubicBezTo>
                <a:lnTo>
                  <a:pt x="986" y="8281"/>
                </a:lnTo>
                <a:lnTo>
                  <a:pt x="4" y="21044"/>
                </a:lnTo>
                <a:lnTo>
                  <a:pt x="13" y="21045"/>
                </a:lnTo>
                <a:cubicBezTo>
                  <a:pt x="10" y="21067"/>
                  <a:pt x="0" y="21087"/>
                  <a:pt x="0" y="21109"/>
                </a:cubicBezTo>
                <a:cubicBezTo>
                  <a:pt x="0" y="21381"/>
                  <a:pt x="220" y="21600"/>
                  <a:pt x="491" y="21600"/>
                </a:cubicBezTo>
                <a:lnTo>
                  <a:pt x="17182" y="21600"/>
                </a:lnTo>
                <a:cubicBezTo>
                  <a:pt x="17453" y="21600"/>
                  <a:pt x="17673" y="21381"/>
                  <a:pt x="17673" y="21109"/>
                </a:cubicBezTo>
                <a:cubicBezTo>
                  <a:pt x="17673" y="21087"/>
                  <a:pt x="17663" y="21067"/>
                  <a:pt x="17660" y="21045"/>
                </a:cubicBezTo>
                <a:cubicBezTo>
                  <a:pt x="17660" y="21045"/>
                  <a:pt x="17668" y="21044"/>
                  <a:pt x="17668" y="2104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7" name="Shape 2817"/>
          <p:cNvSpPr/>
          <p:nvPr/>
        </p:nvSpPr>
        <p:spPr>
          <a:xfrm>
            <a:off x="747146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8" name="Shape 2818"/>
          <p:cNvSpPr/>
          <p:nvPr/>
        </p:nvSpPr>
        <p:spPr>
          <a:xfrm>
            <a:off x="7871405"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10453" y="7402"/>
                </a:moveTo>
                <a:cubicBezTo>
                  <a:pt x="10542" y="7500"/>
                  <a:pt x="10665" y="7560"/>
                  <a:pt x="10800" y="7560"/>
                </a:cubicBezTo>
                <a:cubicBezTo>
                  <a:pt x="10936" y="7560"/>
                  <a:pt x="11058" y="7500"/>
                  <a:pt x="11147" y="7402"/>
                </a:cubicBezTo>
                <a:lnTo>
                  <a:pt x="13111" y="5242"/>
                </a:lnTo>
                <a:cubicBezTo>
                  <a:pt x="13200" y="5144"/>
                  <a:pt x="13255" y="5009"/>
                  <a:pt x="13255" y="4860"/>
                </a:cubicBezTo>
                <a:cubicBezTo>
                  <a:pt x="13255" y="4562"/>
                  <a:pt x="13035" y="4320"/>
                  <a:pt x="12764" y="4320"/>
                </a:cubicBezTo>
                <a:cubicBezTo>
                  <a:pt x="12628" y="4320"/>
                  <a:pt x="12506" y="4381"/>
                  <a:pt x="12417" y="4478"/>
                </a:cubicBezTo>
                <a:lnTo>
                  <a:pt x="11291" y="5716"/>
                </a:lnTo>
                <a:lnTo>
                  <a:pt x="11291" y="540"/>
                </a:lnTo>
                <a:cubicBezTo>
                  <a:pt x="11291" y="242"/>
                  <a:pt x="11071" y="0"/>
                  <a:pt x="10800" y="0"/>
                </a:cubicBezTo>
                <a:cubicBezTo>
                  <a:pt x="10529" y="0"/>
                  <a:pt x="10309" y="242"/>
                  <a:pt x="10309" y="540"/>
                </a:cubicBezTo>
                <a:lnTo>
                  <a:pt x="10309" y="5716"/>
                </a:lnTo>
                <a:lnTo>
                  <a:pt x="9183" y="4478"/>
                </a:lnTo>
                <a:cubicBezTo>
                  <a:pt x="9095" y="4381"/>
                  <a:pt x="8972" y="4320"/>
                  <a:pt x="8836" y="4320"/>
                </a:cubicBezTo>
                <a:cubicBezTo>
                  <a:pt x="8565" y="4320"/>
                  <a:pt x="8345" y="4562"/>
                  <a:pt x="8345" y="4860"/>
                </a:cubicBezTo>
                <a:cubicBezTo>
                  <a:pt x="8345" y="5009"/>
                  <a:pt x="8400" y="5144"/>
                  <a:pt x="8489" y="5242"/>
                </a:cubicBezTo>
                <a:cubicBezTo>
                  <a:pt x="8489" y="5242"/>
                  <a:pt x="10453" y="7402"/>
                  <a:pt x="10453" y="740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9" name="Shape 2819"/>
          <p:cNvSpPr/>
          <p:nvPr/>
        </p:nvSpPr>
        <p:spPr>
          <a:xfrm>
            <a:off x="827135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8836" y="3240"/>
                </a:moveTo>
                <a:cubicBezTo>
                  <a:pt x="8972" y="3240"/>
                  <a:pt x="9095" y="3179"/>
                  <a:pt x="9183" y="3082"/>
                </a:cubicBezTo>
                <a:lnTo>
                  <a:pt x="10309" y="1844"/>
                </a:lnTo>
                <a:lnTo>
                  <a:pt x="10309" y="7020"/>
                </a:lnTo>
                <a:cubicBezTo>
                  <a:pt x="10309" y="7318"/>
                  <a:pt x="10529" y="7560"/>
                  <a:pt x="10800" y="7560"/>
                </a:cubicBezTo>
                <a:cubicBezTo>
                  <a:pt x="11071" y="7560"/>
                  <a:pt x="11291" y="7318"/>
                  <a:pt x="11291" y="7020"/>
                </a:cubicBezTo>
                <a:lnTo>
                  <a:pt x="11291" y="1844"/>
                </a:lnTo>
                <a:lnTo>
                  <a:pt x="12417" y="3082"/>
                </a:lnTo>
                <a:cubicBezTo>
                  <a:pt x="12505" y="3179"/>
                  <a:pt x="12628" y="3240"/>
                  <a:pt x="12764" y="3240"/>
                </a:cubicBezTo>
                <a:cubicBezTo>
                  <a:pt x="13035" y="3240"/>
                  <a:pt x="13255" y="2998"/>
                  <a:pt x="13255" y="2700"/>
                </a:cubicBezTo>
                <a:cubicBezTo>
                  <a:pt x="13255" y="2551"/>
                  <a:pt x="13199" y="2416"/>
                  <a:pt x="13111" y="2318"/>
                </a:cubicBezTo>
                <a:lnTo>
                  <a:pt x="11147" y="158"/>
                </a:lnTo>
                <a:cubicBezTo>
                  <a:pt x="11058" y="61"/>
                  <a:pt x="10936" y="0"/>
                  <a:pt x="10800" y="0"/>
                </a:cubicBezTo>
                <a:cubicBezTo>
                  <a:pt x="10664" y="0"/>
                  <a:pt x="10542" y="60"/>
                  <a:pt x="10453" y="158"/>
                </a:cubicBezTo>
                <a:lnTo>
                  <a:pt x="8489" y="2318"/>
                </a:lnTo>
                <a:cubicBezTo>
                  <a:pt x="8400" y="2416"/>
                  <a:pt x="8345" y="2551"/>
                  <a:pt x="8345" y="2700"/>
                </a:cubicBezTo>
                <a:cubicBezTo>
                  <a:pt x="8345" y="2998"/>
                  <a:pt x="8565" y="3240"/>
                  <a:pt x="8836"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0" name="Shape 2820"/>
          <p:cNvSpPr/>
          <p:nvPr/>
        </p:nvSpPr>
        <p:spPr>
          <a:xfrm>
            <a:off x="4671838"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507" y="3082"/>
                </a:moveTo>
                <a:lnTo>
                  <a:pt x="7507" y="3082"/>
                </a:lnTo>
                <a:lnTo>
                  <a:pt x="9471" y="5242"/>
                </a:lnTo>
                <a:cubicBezTo>
                  <a:pt x="9560" y="5340"/>
                  <a:pt x="9683" y="5400"/>
                  <a:pt x="9818" y="5400"/>
                </a:cubicBezTo>
                <a:cubicBezTo>
                  <a:pt x="10089" y="5400"/>
                  <a:pt x="10309" y="5158"/>
                  <a:pt x="10309" y="4860"/>
                </a:cubicBezTo>
                <a:cubicBezTo>
                  <a:pt x="10309" y="4712"/>
                  <a:pt x="10254" y="4577"/>
                  <a:pt x="10165" y="4478"/>
                </a:cubicBezTo>
                <a:lnTo>
                  <a:pt x="9040" y="3240"/>
                </a:lnTo>
                <a:lnTo>
                  <a:pt x="13745" y="3240"/>
                </a:lnTo>
                <a:lnTo>
                  <a:pt x="13745" y="3240"/>
                </a:lnTo>
                <a:cubicBezTo>
                  <a:pt x="14016" y="3240"/>
                  <a:pt x="14236" y="2998"/>
                  <a:pt x="14236" y="2700"/>
                </a:cubicBezTo>
                <a:cubicBezTo>
                  <a:pt x="14236" y="2402"/>
                  <a:pt x="14016" y="2160"/>
                  <a:pt x="13745" y="2160"/>
                </a:cubicBezTo>
                <a:lnTo>
                  <a:pt x="9040" y="2160"/>
                </a:lnTo>
                <a:lnTo>
                  <a:pt x="10165" y="922"/>
                </a:lnTo>
                <a:cubicBezTo>
                  <a:pt x="10254" y="824"/>
                  <a:pt x="10309" y="689"/>
                  <a:pt x="10309" y="540"/>
                </a:cubicBezTo>
                <a:cubicBezTo>
                  <a:pt x="10309" y="242"/>
                  <a:pt x="10089" y="0"/>
                  <a:pt x="9818" y="0"/>
                </a:cubicBezTo>
                <a:cubicBezTo>
                  <a:pt x="9683" y="0"/>
                  <a:pt x="9560" y="61"/>
                  <a:pt x="9471" y="158"/>
                </a:cubicBezTo>
                <a:lnTo>
                  <a:pt x="7507" y="2318"/>
                </a:lnTo>
                <a:lnTo>
                  <a:pt x="7507" y="2318"/>
                </a:lnTo>
                <a:cubicBezTo>
                  <a:pt x="7419" y="2417"/>
                  <a:pt x="7364" y="2552"/>
                  <a:pt x="7364" y="2700"/>
                </a:cubicBezTo>
                <a:cubicBezTo>
                  <a:pt x="7364" y="2849"/>
                  <a:pt x="7419" y="2984"/>
                  <a:pt x="7507" y="30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1" name="Shape 2821"/>
          <p:cNvSpPr/>
          <p:nvPr/>
        </p:nvSpPr>
        <p:spPr>
          <a:xfrm>
            <a:off x="5071784"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855" y="3240"/>
                </a:moveTo>
                <a:lnTo>
                  <a:pt x="7855" y="3240"/>
                </a:lnTo>
                <a:lnTo>
                  <a:pt x="12560" y="3240"/>
                </a:lnTo>
                <a:lnTo>
                  <a:pt x="11435" y="4478"/>
                </a:lnTo>
                <a:cubicBezTo>
                  <a:pt x="11346" y="4577"/>
                  <a:pt x="11291" y="4712"/>
                  <a:pt x="11291" y="4860"/>
                </a:cubicBezTo>
                <a:cubicBezTo>
                  <a:pt x="11291" y="5158"/>
                  <a:pt x="11511" y="5400"/>
                  <a:pt x="11782" y="5400"/>
                </a:cubicBezTo>
                <a:cubicBezTo>
                  <a:pt x="11917" y="5400"/>
                  <a:pt x="12040" y="5340"/>
                  <a:pt x="12129" y="5242"/>
                </a:cubicBezTo>
                <a:lnTo>
                  <a:pt x="14093" y="3082"/>
                </a:lnTo>
                <a:cubicBezTo>
                  <a:pt x="14181" y="2984"/>
                  <a:pt x="14236" y="2849"/>
                  <a:pt x="14236" y="2700"/>
                </a:cubicBezTo>
                <a:cubicBezTo>
                  <a:pt x="14236" y="2552"/>
                  <a:pt x="14181" y="2417"/>
                  <a:pt x="14093" y="2318"/>
                </a:cubicBezTo>
                <a:lnTo>
                  <a:pt x="12129" y="158"/>
                </a:lnTo>
                <a:cubicBezTo>
                  <a:pt x="12040" y="61"/>
                  <a:pt x="11917" y="0"/>
                  <a:pt x="11782" y="0"/>
                </a:cubicBezTo>
                <a:cubicBezTo>
                  <a:pt x="11511" y="0"/>
                  <a:pt x="11291" y="242"/>
                  <a:pt x="11291" y="540"/>
                </a:cubicBezTo>
                <a:cubicBezTo>
                  <a:pt x="11291" y="689"/>
                  <a:pt x="11346" y="824"/>
                  <a:pt x="11435" y="922"/>
                </a:cubicBezTo>
                <a:lnTo>
                  <a:pt x="12560" y="2160"/>
                </a:lnTo>
                <a:lnTo>
                  <a:pt x="7855" y="2160"/>
                </a:lnTo>
                <a:cubicBezTo>
                  <a:pt x="7584" y="2160"/>
                  <a:pt x="7364" y="2402"/>
                  <a:pt x="7364" y="2700"/>
                </a:cubicBezTo>
                <a:cubicBezTo>
                  <a:pt x="7364" y="2998"/>
                  <a:pt x="7584" y="3240"/>
                  <a:pt x="7855"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2" name="Shape 2822"/>
          <p:cNvSpPr/>
          <p:nvPr/>
        </p:nvSpPr>
        <p:spPr>
          <a:xfrm>
            <a:off x="5471731"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8345" y="3780"/>
                </a:moveTo>
                <a:lnTo>
                  <a:pt x="10309" y="3780"/>
                </a:lnTo>
                <a:lnTo>
                  <a:pt x="10309" y="5940"/>
                </a:lnTo>
                <a:cubicBezTo>
                  <a:pt x="10309" y="6238"/>
                  <a:pt x="10529" y="6480"/>
                  <a:pt x="10800" y="6480"/>
                </a:cubicBezTo>
                <a:cubicBezTo>
                  <a:pt x="11071" y="6480"/>
                  <a:pt x="11291" y="6238"/>
                  <a:pt x="11291" y="5940"/>
                </a:cubicBezTo>
                <a:lnTo>
                  <a:pt x="11291" y="3780"/>
                </a:lnTo>
                <a:lnTo>
                  <a:pt x="13255" y="3780"/>
                </a:lnTo>
                <a:cubicBezTo>
                  <a:pt x="13525" y="3780"/>
                  <a:pt x="13745" y="3538"/>
                  <a:pt x="13745" y="3240"/>
                </a:cubicBezTo>
                <a:cubicBezTo>
                  <a:pt x="13745" y="2942"/>
                  <a:pt x="13525" y="2700"/>
                  <a:pt x="13255" y="2700"/>
                </a:cubicBezTo>
                <a:lnTo>
                  <a:pt x="11291" y="2700"/>
                </a:lnTo>
                <a:lnTo>
                  <a:pt x="11291" y="540"/>
                </a:lnTo>
                <a:cubicBezTo>
                  <a:pt x="11291" y="242"/>
                  <a:pt x="11071" y="0"/>
                  <a:pt x="10800" y="0"/>
                </a:cubicBezTo>
                <a:cubicBezTo>
                  <a:pt x="10529" y="0"/>
                  <a:pt x="10309" y="242"/>
                  <a:pt x="10309" y="540"/>
                </a:cubicBezTo>
                <a:lnTo>
                  <a:pt x="10309" y="2700"/>
                </a:lnTo>
                <a:lnTo>
                  <a:pt x="8345" y="2700"/>
                </a:lnTo>
                <a:cubicBezTo>
                  <a:pt x="8075" y="2700"/>
                  <a:pt x="7855" y="2942"/>
                  <a:pt x="7855" y="3240"/>
                </a:cubicBezTo>
                <a:cubicBezTo>
                  <a:pt x="7855" y="3538"/>
                  <a:pt x="8075" y="3780"/>
                  <a:pt x="8345"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3" name="Shape 2823"/>
          <p:cNvSpPr/>
          <p:nvPr/>
        </p:nvSpPr>
        <p:spPr>
          <a:xfrm>
            <a:off x="5871676" y="1493658"/>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20618" y="9257"/>
                </a:moveTo>
                <a:lnTo>
                  <a:pt x="982" y="9257"/>
                </a:lnTo>
                <a:lnTo>
                  <a:pt x="982" y="8023"/>
                </a:lnTo>
                <a:lnTo>
                  <a:pt x="20618" y="8023"/>
                </a:lnTo>
                <a:cubicBezTo>
                  <a:pt x="20618" y="8023"/>
                  <a:pt x="20618" y="9257"/>
                  <a:pt x="20618" y="9257"/>
                </a:cubicBezTo>
                <a:close/>
                <a:moveTo>
                  <a:pt x="19006" y="12960"/>
                </a:moveTo>
                <a:lnTo>
                  <a:pt x="15735" y="12960"/>
                </a:lnTo>
                <a:lnTo>
                  <a:pt x="16045" y="10491"/>
                </a:lnTo>
                <a:lnTo>
                  <a:pt x="19419" y="10491"/>
                </a:lnTo>
                <a:cubicBezTo>
                  <a:pt x="19419" y="10491"/>
                  <a:pt x="19006" y="12960"/>
                  <a:pt x="19006" y="12960"/>
                </a:cubicBezTo>
                <a:close/>
                <a:moveTo>
                  <a:pt x="18386" y="16663"/>
                </a:moveTo>
                <a:lnTo>
                  <a:pt x="15270" y="16663"/>
                </a:lnTo>
                <a:lnTo>
                  <a:pt x="15580" y="14194"/>
                </a:lnTo>
                <a:lnTo>
                  <a:pt x="18799" y="14194"/>
                </a:lnTo>
                <a:cubicBezTo>
                  <a:pt x="18799" y="14194"/>
                  <a:pt x="18386" y="16663"/>
                  <a:pt x="18386" y="16663"/>
                </a:cubicBezTo>
                <a:close/>
                <a:moveTo>
                  <a:pt x="17765" y="20366"/>
                </a:moveTo>
                <a:lnTo>
                  <a:pt x="14805" y="20366"/>
                </a:lnTo>
                <a:lnTo>
                  <a:pt x="15115" y="17897"/>
                </a:lnTo>
                <a:lnTo>
                  <a:pt x="18179" y="17897"/>
                </a:lnTo>
                <a:cubicBezTo>
                  <a:pt x="18179" y="17897"/>
                  <a:pt x="17765" y="20366"/>
                  <a:pt x="17765" y="20366"/>
                </a:cubicBezTo>
                <a:close/>
                <a:moveTo>
                  <a:pt x="11291" y="12960"/>
                </a:moveTo>
                <a:lnTo>
                  <a:pt x="11291" y="10491"/>
                </a:lnTo>
                <a:lnTo>
                  <a:pt x="15063" y="10491"/>
                </a:lnTo>
                <a:lnTo>
                  <a:pt x="14753" y="12960"/>
                </a:lnTo>
                <a:cubicBezTo>
                  <a:pt x="14753" y="12960"/>
                  <a:pt x="11291" y="12960"/>
                  <a:pt x="11291" y="12960"/>
                </a:cubicBezTo>
                <a:close/>
                <a:moveTo>
                  <a:pt x="14288" y="16663"/>
                </a:moveTo>
                <a:lnTo>
                  <a:pt x="11291" y="16663"/>
                </a:lnTo>
                <a:lnTo>
                  <a:pt x="11291" y="14194"/>
                </a:lnTo>
                <a:lnTo>
                  <a:pt x="14598" y="14194"/>
                </a:lnTo>
                <a:cubicBezTo>
                  <a:pt x="14598" y="14194"/>
                  <a:pt x="14288" y="16663"/>
                  <a:pt x="14288" y="16663"/>
                </a:cubicBezTo>
                <a:close/>
                <a:moveTo>
                  <a:pt x="13823" y="20366"/>
                </a:moveTo>
                <a:lnTo>
                  <a:pt x="11291" y="20366"/>
                </a:lnTo>
                <a:lnTo>
                  <a:pt x="11291" y="17897"/>
                </a:lnTo>
                <a:lnTo>
                  <a:pt x="14133" y="17897"/>
                </a:lnTo>
                <a:cubicBezTo>
                  <a:pt x="14133" y="17897"/>
                  <a:pt x="13823" y="20366"/>
                  <a:pt x="13823" y="20366"/>
                </a:cubicBezTo>
                <a:close/>
                <a:moveTo>
                  <a:pt x="10309" y="12960"/>
                </a:moveTo>
                <a:lnTo>
                  <a:pt x="6847" y="12960"/>
                </a:lnTo>
                <a:lnTo>
                  <a:pt x="6537" y="10491"/>
                </a:lnTo>
                <a:lnTo>
                  <a:pt x="10309" y="10491"/>
                </a:lnTo>
                <a:cubicBezTo>
                  <a:pt x="10309" y="10491"/>
                  <a:pt x="10309" y="12960"/>
                  <a:pt x="10309" y="12960"/>
                </a:cubicBezTo>
                <a:close/>
                <a:moveTo>
                  <a:pt x="10309" y="16663"/>
                </a:moveTo>
                <a:lnTo>
                  <a:pt x="7312" y="16663"/>
                </a:lnTo>
                <a:lnTo>
                  <a:pt x="7002" y="14194"/>
                </a:lnTo>
                <a:lnTo>
                  <a:pt x="10309" y="14194"/>
                </a:lnTo>
                <a:cubicBezTo>
                  <a:pt x="10309" y="14194"/>
                  <a:pt x="10309" y="16663"/>
                  <a:pt x="10309" y="16663"/>
                </a:cubicBezTo>
                <a:close/>
                <a:moveTo>
                  <a:pt x="10309" y="20366"/>
                </a:moveTo>
                <a:lnTo>
                  <a:pt x="7777" y="20366"/>
                </a:lnTo>
                <a:lnTo>
                  <a:pt x="7467" y="17897"/>
                </a:lnTo>
                <a:lnTo>
                  <a:pt x="10309" y="17897"/>
                </a:lnTo>
                <a:cubicBezTo>
                  <a:pt x="10309" y="17897"/>
                  <a:pt x="10309" y="20366"/>
                  <a:pt x="10309" y="20366"/>
                </a:cubicBezTo>
                <a:close/>
                <a:moveTo>
                  <a:pt x="3834" y="20366"/>
                </a:moveTo>
                <a:lnTo>
                  <a:pt x="3421" y="17897"/>
                </a:lnTo>
                <a:lnTo>
                  <a:pt x="6485" y="17897"/>
                </a:lnTo>
                <a:lnTo>
                  <a:pt x="6795" y="20366"/>
                </a:lnTo>
                <a:cubicBezTo>
                  <a:pt x="6795" y="20366"/>
                  <a:pt x="3834" y="20366"/>
                  <a:pt x="3834" y="20366"/>
                </a:cubicBezTo>
                <a:close/>
                <a:moveTo>
                  <a:pt x="2801" y="14194"/>
                </a:moveTo>
                <a:lnTo>
                  <a:pt x="6020" y="14194"/>
                </a:lnTo>
                <a:lnTo>
                  <a:pt x="6330" y="16663"/>
                </a:lnTo>
                <a:lnTo>
                  <a:pt x="3214" y="16663"/>
                </a:lnTo>
                <a:cubicBezTo>
                  <a:pt x="3214" y="16663"/>
                  <a:pt x="2801" y="14194"/>
                  <a:pt x="2801" y="14194"/>
                </a:cubicBezTo>
                <a:close/>
                <a:moveTo>
                  <a:pt x="2181" y="10491"/>
                </a:moveTo>
                <a:lnTo>
                  <a:pt x="5555" y="10491"/>
                </a:lnTo>
                <a:lnTo>
                  <a:pt x="5865" y="12960"/>
                </a:lnTo>
                <a:lnTo>
                  <a:pt x="2594" y="12960"/>
                </a:lnTo>
                <a:cubicBezTo>
                  <a:pt x="2594" y="12960"/>
                  <a:pt x="2181" y="10491"/>
                  <a:pt x="2181" y="10491"/>
                </a:cubicBezTo>
                <a:close/>
                <a:moveTo>
                  <a:pt x="20618" y="6789"/>
                </a:moveTo>
                <a:lnTo>
                  <a:pt x="982" y="6789"/>
                </a:lnTo>
                <a:cubicBezTo>
                  <a:pt x="440" y="6789"/>
                  <a:pt x="0" y="7342"/>
                  <a:pt x="0" y="8023"/>
                </a:cubicBezTo>
                <a:lnTo>
                  <a:pt x="0" y="9257"/>
                </a:lnTo>
                <a:cubicBezTo>
                  <a:pt x="0" y="9939"/>
                  <a:pt x="440" y="10491"/>
                  <a:pt x="982" y="10491"/>
                </a:cubicBezTo>
                <a:lnTo>
                  <a:pt x="1178" y="10491"/>
                </a:lnTo>
                <a:lnTo>
                  <a:pt x="2960" y="21133"/>
                </a:lnTo>
                <a:lnTo>
                  <a:pt x="2969" y="21130"/>
                </a:lnTo>
                <a:cubicBezTo>
                  <a:pt x="3023" y="21398"/>
                  <a:pt x="3207" y="21600"/>
                  <a:pt x="3436" y="21600"/>
                </a:cubicBezTo>
                <a:lnTo>
                  <a:pt x="18164" y="21600"/>
                </a:lnTo>
                <a:cubicBezTo>
                  <a:pt x="18393" y="21600"/>
                  <a:pt x="18577" y="21398"/>
                  <a:pt x="18631" y="21130"/>
                </a:cubicBezTo>
                <a:lnTo>
                  <a:pt x="18640" y="21133"/>
                </a:lnTo>
                <a:lnTo>
                  <a:pt x="20422" y="10491"/>
                </a:lnTo>
                <a:lnTo>
                  <a:pt x="20618" y="10491"/>
                </a:lnTo>
                <a:cubicBezTo>
                  <a:pt x="21160" y="10491"/>
                  <a:pt x="21600" y="9939"/>
                  <a:pt x="21600" y="9257"/>
                </a:cubicBezTo>
                <a:lnTo>
                  <a:pt x="21600" y="8023"/>
                </a:lnTo>
                <a:cubicBezTo>
                  <a:pt x="21600" y="7342"/>
                  <a:pt x="21160" y="6789"/>
                  <a:pt x="20618" y="6789"/>
                </a:cubicBezTo>
                <a:moveTo>
                  <a:pt x="8345" y="1234"/>
                </a:moveTo>
                <a:lnTo>
                  <a:pt x="13255" y="1234"/>
                </a:lnTo>
                <a:cubicBezTo>
                  <a:pt x="13525" y="1234"/>
                  <a:pt x="13745" y="958"/>
                  <a:pt x="13745" y="617"/>
                </a:cubicBezTo>
                <a:cubicBezTo>
                  <a:pt x="13745" y="276"/>
                  <a:pt x="13525" y="0"/>
                  <a:pt x="13255" y="0"/>
                </a:cubicBezTo>
                <a:lnTo>
                  <a:pt x="8345" y="0"/>
                </a:lnTo>
                <a:cubicBezTo>
                  <a:pt x="8075" y="0"/>
                  <a:pt x="7855" y="276"/>
                  <a:pt x="7855" y="617"/>
                </a:cubicBezTo>
                <a:cubicBezTo>
                  <a:pt x="7855" y="958"/>
                  <a:pt x="8075" y="1234"/>
                  <a:pt x="8345"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4" name="Shape 2824"/>
          <p:cNvSpPr/>
          <p:nvPr/>
        </p:nvSpPr>
        <p:spPr>
          <a:xfrm>
            <a:off x="6271622" y="1469853"/>
            <a:ext cx="209495" cy="209461"/>
          </a:xfrm>
          <a:custGeom>
            <a:avLst/>
            <a:gdLst/>
            <a:ahLst/>
            <a:cxnLst>
              <a:cxn ang="0">
                <a:pos x="wd2" y="hd2"/>
              </a:cxn>
              <a:cxn ang="5400000">
                <a:pos x="wd2" y="hd2"/>
              </a:cxn>
              <a:cxn ang="10800000">
                <a:pos x="wd2" y="hd2"/>
              </a:cxn>
              <a:cxn ang="16200000">
                <a:pos x="wd2" y="hd2"/>
              </a:cxn>
            </a:cxnLst>
            <a:rect l="0" t="0" r="r" b="b"/>
            <a:pathLst>
              <a:path w="21600" h="21388" extrusionOk="0">
                <a:moveTo>
                  <a:pt x="10309" y="9720"/>
                </a:moveTo>
                <a:lnTo>
                  <a:pt x="9327" y="9720"/>
                </a:lnTo>
                <a:cubicBezTo>
                  <a:pt x="9056" y="9720"/>
                  <a:pt x="8836" y="9937"/>
                  <a:pt x="8836" y="10206"/>
                </a:cubicBezTo>
                <a:cubicBezTo>
                  <a:pt x="8836" y="10475"/>
                  <a:pt x="9056" y="10692"/>
                  <a:pt x="9327" y="10692"/>
                </a:cubicBezTo>
                <a:lnTo>
                  <a:pt x="10309" y="10692"/>
                </a:lnTo>
                <a:cubicBezTo>
                  <a:pt x="10580" y="10692"/>
                  <a:pt x="10800" y="10475"/>
                  <a:pt x="10800" y="10206"/>
                </a:cubicBezTo>
                <a:cubicBezTo>
                  <a:pt x="10800" y="9937"/>
                  <a:pt x="10580" y="9720"/>
                  <a:pt x="10309" y="9720"/>
                </a:cubicBezTo>
                <a:moveTo>
                  <a:pt x="13255" y="18471"/>
                </a:moveTo>
                <a:lnTo>
                  <a:pt x="12273" y="18471"/>
                </a:lnTo>
                <a:cubicBezTo>
                  <a:pt x="12002" y="18471"/>
                  <a:pt x="11782" y="18689"/>
                  <a:pt x="11782" y="18957"/>
                </a:cubicBezTo>
                <a:cubicBezTo>
                  <a:pt x="11782" y="19226"/>
                  <a:pt x="12002" y="19443"/>
                  <a:pt x="12273" y="19443"/>
                </a:cubicBezTo>
                <a:lnTo>
                  <a:pt x="13255" y="19443"/>
                </a:lnTo>
                <a:cubicBezTo>
                  <a:pt x="13525" y="19443"/>
                  <a:pt x="13745" y="19226"/>
                  <a:pt x="13745" y="18957"/>
                </a:cubicBezTo>
                <a:cubicBezTo>
                  <a:pt x="13745" y="18689"/>
                  <a:pt x="13525" y="18471"/>
                  <a:pt x="13255" y="18471"/>
                </a:cubicBezTo>
                <a:moveTo>
                  <a:pt x="10309" y="18471"/>
                </a:moveTo>
                <a:lnTo>
                  <a:pt x="9327" y="18471"/>
                </a:lnTo>
                <a:cubicBezTo>
                  <a:pt x="9056" y="18471"/>
                  <a:pt x="8836" y="18689"/>
                  <a:pt x="8836" y="18957"/>
                </a:cubicBezTo>
                <a:cubicBezTo>
                  <a:pt x="8836" y="19226"/>
                  <a:pt x="9056" y="19443"/>
                  <a:pt x="9327" y="19443"/>
                </a:cubicBezTo>
                <a:lnTo>
                  <a:pt x="10309" y="19443"/>
                </a:lnTo>
                <a:cubicBezTo>
                  <a:pt x="10580" y="19443"/>
                  <a:pt x="10800" y="19226"/>
                  <a:pt x="10800" y="18957"/>
                </a:cubicBezTo>
                <a:cubicBezTo>
                  <a:pt x="10800" y="18689"/>
                  <a:pt x="10580" y="18471"/>
                  <a:pt x="10309" y="18471"/>
                </a:cubicBezTo>
                <a:moveTo>
                  <a:pt x="20618" y="15554"/>
                </a:moveTo>
                <a:cubicBezTo>
                  <a:pt x="20618" y="16091"/>
                  <a:pt x="20178" y="16526"/>
                  <a:pt x="19636" y="16526"/>
                </a:cubicBezTo>
                <a:lnTo>
                  <a:pt x="16691" y="16526"/>
                </a:lnTo>
                <a:cubicBezTo>
                  <a:pt x="16149" y="16526"/>
                  <a:pt x="15709" y="16091"/>
                  <a:pt x="15709" y="15554"/>
                </a:cubicBezTo>
                <a:lnTo>
                  <a:pt x="15709" y="13609"/>
                </a:lnTo>
                <a:cubicBezTo>
                  <a:pt x="15709" y="13073"/>
                  <a:pt x="16149" y="12637"/>
                  <a:pt x="16691" y="12637"/>
                </a:cubicBezTo>
                <a:lnTo>
                  <a:pt x="19636" y="12637"/>
                </a:lnTo>
                <a:cubicBezTo>
                  <a:pt x="20178" y="12637"/>
                  <a:pt x="20618" y="13073"/>
                  <a:pt x="20618" y="13609"/>
                </a:cubicBezTo>
                <a:cubicBezTo>
                  <a:pt x="20618" y="13609"/>
                  <a:pt x="20618" y="15554"/>
                  <a:pt x="20618" y="15554"/>
                </a:cubicBezTo>
                <a:close/>
                <a:moveTo>
                  <a:pt x="18655" y="19443"/>
                </a:moveTo>
                <a:cubicBezTo>
                  <a:pt x="18655" y="19980"/>
                  <a:pt x="18215" y="20416"/>
                  <a:pt x="17673" y="20416"/>
                </a:cubicBezTo>
                <a:lnTo>
                  <a:pt x="1964" y="20416"/>
                </a:lnTo>
                <a:cubicBezTo>
                  <a:pt x="1422" y="20416"/>
                  <a:pt x="982" y="19980"/>
                  <a:pt x="982" y="19443"/>
                </a:cubicBezTo>
                <a:lnTo>
                  <a:pt x="982" y="9720"/>
                </a:lnTo>
                <a:cubicBezTo>
                  <a:pt x="982" y="9183"/>
                  <a:pt x="1422" y="8747"/>
                  <a:pt x="1964" y="8747"/>
                </a:cubicBezTo>
                <a:lnTo>
                  <a:pt x="17673" y="8747"/>
                </a:lnTo>
                <a:cubicBezTo>
                  <a:pt x="18215" y="8747"/>
                  <a:pt x="18655" y="9183"/>
                  <a:pt x="18655" y="9720"/>
                </a:cubicBezTo>
                <a:lnTo>
                  <a:pt x="18655" y="11664"/>
                </a:lnTo>
                <a:lnTo>
                  <a:pt x="16691" y="11664"/>
                </a:lnTo>
                <a:cubicBezTo>
                  <a:pt x="15606" y="11664"/>
                  <a:pt x="14727" y="12535"/>
                  <a:pt x="14727" y="13609"/>
                </a:cubicBezTo>
                <a:lnTo>
                  <a:pt x="14727" y="15554"/>
                </a:lnTo>
                <a:cubicBezTo>
                  <a:pt x="14727" y="16628"/>
                  <a:pt x="15606" y="17499"/>
                  <a:pt x="16691" y="17499"/>
                </a:cubicBezTo>
                <a:lnTo>
                  <a:pt x="18655" y="17499"/>
                </a:lnTo>
                <a:cubicBezTo>
                  <a:pt x="18655" y="17499"/>
                  <a:pt x="18655" y="19443"/>
                  <a:pt x="18655" y="19443"/>
                </a:cubicBezTo>
                <a:close/>
                <a:moveTo>
                  <a:pt x="982" y="7775"/>
                </a:moveTo>
                <a:cubicBezTo>
                  <a:pt x="982" y="7238"/>
                  <a:pt x="1422" y="6803"/>
                  <a:pt x="1964" y="6803"/>
                </a:cubicBezTo>
                <a:lnTo>
                  <a:pt x="2555" y="6803"/>
                </a:lnTo>
                <a:lnTo>
                  <a:pt x="2817" y="7775"/>
                </a:lnTo>
                <a:lnTo>
                  <a:pt x="1964" y="7775"/>
                </a:lnTo>
                <a:cubicBezTo>
                  <a:pt x="1604" y="7775"/>
                  <a:pt x="1271" y="7878"/>
                  <a:pt x="982" y="8045"/>
                </a:cubicBezTo>
                <a:cubicBezTo>
                  <a:pt x="982" y="8045"/>
                  <a:pt x="982" y="7775"/>
                  <a:pt x="982" y="7775"/>
                </a:cubicBezTo>
                <a:close/>
                <a:moveTo>
                  <a:pt x="3721" y="3600"/>
                </a:moveTo>
                <a:lnTo>
                  <a:pt x="13629" y="1005"/>
                </a:lnTo>
                <a:cubicBezTo>
                  <a:pt x="14152" y="866"/>
                  <a:pt x="14690" y="1174"/>
                  <a:pt x="14831" y="1693"/>
                </a:cubicBezTo>
                <a:lnTo>
                  <a:pt x="15085" y="2631"/>
                </a:lnTo>
                <a:lnTo>
                  <a:pt x="3281" y="5731"/>
                </a:lnTo>
                <a:lnTo>
                  <a:pt x="3026" y="4791"/>
                </a:lnTo>
                <a:cubicBezTo>
                  <a:pt x="2886" y="4272"/>
                  <a:pt x="3197" y="3739"/>
                  <a:pt x="3721" y="3600"/>
                </a:cubicBezTo>
                <a:moveTo>
                  <a:pt x="15847" y="5448"/>
                </a:moveTo>
                <a:lnTo>
                  <a:pt x="16476" y="7775"/>
                </a:lnTo>
                <a:lnTo>
                  <a:pt x="6989" y="7775"/>
                </a:lnTo>
                <a:cubicBezTo>
                  <a:pt x="6989" y="7775"/>
                  <a:pt x="15847" y="5448"/>
                  <a:pt x="15847" y="5448"/>
                </a:cubicBezTo>
                <a:close/>
                <a:moveTo>
                  <a:pt x="17673" y="6803"/>
                </a:moveTo>
                <a:cubicBezTo>
                  <a:pt x="18215" y="6803"/>
                  <a:pt x="18655" y="7238"/>
                  <a:pt x="18655" y="7775"/>
                </a:cubicBezTo>
                <a:lnTo>
                  <a:pt x="18655" y="8045"/>
                </a:lnTo>
                <a:cubicBezTo>
                  <a:pt x="18365" y="7878"/>
                  <a:pt x="18032" y="7775"/>
                  <a:pt x="17673" y="7775"/>
                </a:cubicBezTo>
                <a:lnTo>
                  <a:pt x="17493" y="7775"/>
                </a:lnTo>
                <a:lnTo>
                  <a:pt x="17230" y="6803"/>
                </a:lnTo>
                <a:cubicBezTo>
                  <a:pt x="17230" y="6803"/>
                  <a:pt x="17673" y="6803"/>
                  <a:pt x="17673" y="6803"/>
                </a:cubicBezTo>
                <a:close/>
                <a:moveTo>
                  <a:pt x="19636" y="11664"/>
                </a:moveTo>
                <a:lnTo>
                  <a:pt x="19636" y="7775"/>
                </a:lnTo>
                <a:cubicBezTo>
                  <a:pt x="19636" y="6701"/>
                  <a:pt x="18757" y="5830"/>
                  <a:pt x="17673" y="5830"/>
                </a:cubicBezTo>
                <a:lnTo>
                  <a:pt x="16967" y="5830"/>
                </a:lnTo>
                <a:lnTo>
                  <a:pt x="15779" y="1441"/>
                </a:lnTo>
                <a:cubicBezTo>
                  <a:pt x="15498" y="404"/>
                  <a:pt x="14422" y="-212"/>
                  <a:pt x="13374" y="66"/>
                </a:cubicBezTo>
                <a:lnTo>
                  <a:pt x="3467" y="2660"/>
                </a:lnTo>
                <a:cubicBezTo>
                  <a:pt x="2419" y="2939"/>
                  <a:pt x="1798" y="4005"/>
                  <a:pt x="2078" y="5042"/>
                </a:cubicBezTo>
                <a:lnTo>
                  <a:pt x="2291" y="5830"/>
                </a:lnTo>
                <a:lnTo>
                  <a:pt x="1964" y="5830"/>
                </a:lnTo>
                <a:cubicBezTo>
                  <a:pt x="879" y="5830"/>
                  <a:pt x="0" y="6701"/>
                  <a:pt x="0" y="7775"/>
                </a:cubicBezTo>
                <a:lnTo>
                  <a:pt x="0" y="19443"/>
                </a:lnTo>
                <a:cubicBezTo>
                  <a:pt x="0" y="20517"/>
                  <a:pt x="879" y="21388"/>
                  <a:pt x="1964" y="21388"/>
                </a:cubicBezTo>
                <a:lnTo>
                  <a:pt x="17673" y="21388"/>
                </a:lnTo>
                <a:cubicBezTo>
                  <a:pt x="18757" y="21388"/>
                  <a:pt x="19636" y="20517"/>
                  <a:pt x="19636" y="19443"/>
                </a:cubicBezTo>
                <a:lnTo>
                  <a:pt x="19636" y="17499"/>
                </a:lnTo>
                <a:cubicBezTo>
                  <a:pt x="20721" y="17499"/>
                  <a:pt x="21600" y="16628"/>
                  <a:pt x="21600" y="15554"/>
                </a:cubicBezTo>
                <a:lnTo>
                  <a:pt x="21600" y="13609"/>
                </a:lnTo>
                <a:cubicBezTo>
                  <a:pt x="21600" y="12535"/>
                  <a:pt x="20721" y="11664"/>
                  <a:pt x="19636" y="11664"/>
                </a:cubicBezTo>
                <a:moveTo>
                  <a:pt x="13255" y="9720"/>
                </a:moveTo>
                <a:lnTo>
                  <a:pt x="12273" y="9720"/>
                </a:lnTo>
                <a:cubicBezTo>
                  <a:pt x="12002" y="9720"/>
                  <a:pt x="11782" y="9937"/>
                  <a:pt x="11782" y="10206"/>
                </a:cubicBezTo>
                <a:cubicBezTo>
                  <a:pt x="11782" y="10475"/>
                  <a:pt x="12002" y="10692"/>
                  <a:pt x="12273" y="10692"/>
                </a:cubicBezTo>
                <a:lnTo>
                  <a:pt x="13255" y="10692"/>
                </a:lnTo>
                <a:cubicBezTo>
                  <a:pt x="13525" y="10692"/>
                  <a:pt x="13745" y="10475"/>
                  <a:pt x="13745" y="10206"/>
                </a:cubicBezTo>
                <a:cubicBezTo>
                  <a:pt x="13745" y="9937"/>
                  <a:pt x="13525" y="9720"/>
                  <a:pt x="13255" y="9720"/>
                </a:cubicBezTo>
                <a:moveTo>
                  <a:pt x="7364" y="9720"/>
                </a:moveTo>
                <a:lnTo>
                  <a:pt x="6382" y="9720"/>
                </a:lnTo>
                <a:cubicBezTo>
                  <a:pt x="6111" y="9720"/>
                  <a:pt x="5891" y="9937"/>
                  <a:pt x="5891" y="10206"/>
                </a:cubicBezTo>
                <a:cubicBezTo>
                  <a:pt x="5891" y="10475"/>
                  <a:pt x="6111" y="10692"/>
                  <a:pt x="6382" y="10692"/>
                </a:cubicBezTo>
                <a:lnTo>
                  <a:pt x="7364" y="10692"/>
                </a:lnTo>
                <a:cubicBezTo>
                  <a:pt x="7634" y="10692"/>
                  <a:pt x="7855" y="10475"/>
                  <a:pt x="7855" y="10206"/>
                </a:cubicBezTo>
                <a:cubicBezTo>
                  <a:pt x="7855" y="9937"/>
                  <a:pt x="7634" y="9720"/>
                  <a:pt x="7364" y="9720"/>
                </a:cubicBezTo>
                <a:moveTo>
                  <a:pt x="17182" y="14095"/>
                </a:moveTo>
                <a:cubicBezTo>
                  <a:pt x="16911" y="14095"/>
                  <a:pt x="16691" y="14313"/>
                  <a:pt x="16691" y="14581"/>
                </a:cubicBezTo>
                <a:cubicBezTo>
                  <a:pt x="16691" y="14850"/>
                  <a:pt x="16911" y="15068"/>
                  <a:pt x="17182" y="15068"/>
                </a:cubicBezTo>
                <a:cubicBezTo>
                  <a:pt x="17453" y="15068"/>
                  <a:pt x="17673" y="14850"/>
                  <a:pt x="17673" y="14581"/>
                </a:cubicBezTo>
                <a:cubicBezTo>
                  <a:pt x="17673" y="14313"/>
                  <a:pt x="17453" y="14095"/>
                  <a:pt x="17182" y="14095"/>
                </a:cubicBezTo>
                <a:moveTo>
                  <a:pt x="16200" y="18471"/>
                </a:moveTo>
                <a:lnTo>
                  <a:pt x="15218" y="18471"/>
                </a:lnTo>
                <a:cubicBezTo>
                  <a:pt x="14947" y="18471"/>
                  <a:pt x="14727" y="18689"/>
                  <a:pt x="14727" y="18957"/>
                </a:cubicBezTo>
                <a:cubicBezTo>
                  <a:pt x="14727" y="19226"/>
                  <a:pt x="14947" y="19443"/>
                  <a:pt x="15218" y="19443"/>
                </a:cubicBezTo>
                <a:lnTo>
                  <a:pt x="16200" y="19443"/>
                </a:lnTo>
                <a:cubicBezTo>
                  <a:pt x="16471" y="19443"/>
                  <a:pt x="16691" y="19226"/>
                  <a:pt x="16691" y="18957"/>
                </a:cubicBezTo>
                <a:cubicBezTo>
                  <a:pt x="16691" y="18689"/>
                  <a:pt x="16471" y="18471"/>
                  <a:pt x="16200" y="18471"/>
                </a:cubicBezTo>
                <a:moveTo>
                  <a:pt x="15218" y="10692"/>
                </a:moveTo>
                <a:lnTo>
                  <a:pt x="16200" y="10692"/>
                </a:lnTo>
                <a:cubicBezTo>
                  <a:pt x="16471" y="10692"/>
                  <a:pt x="16691" y="10475"/>
                  <a:pt x="16691" y="10206"/>
                </a:cubicBezTo>
                <a:cubicBezTo>
                  <a:pt x="16691" y="9937"/>
                  <a:pt x="16471" y="9720"/>
                  <a:pt x="16200" y="9720"/>
                </a:cubicBezTo>
                <a:lnTo>
                  <a:pt x="15218" y="9720"/>
                </a:lnTo>
                <a:cubicBezTo>
                  <a:pt x="14947" y="9720"/>
                  <a:pt x="14727" y="9937"/>
                  <a:pt x="14727" y="10206"/>
                </a:cubicBezTo>
                <a:cubicBezTo>
                  <a:pt x="14727" y="10475"/>
                  <a:pt x="14947" y="10692"/>
                  <a:pt x="15218" y="10692"/>
                </a:cubicBezTo>
                <a:moveTo>
                  <a:pt x="4418" y="18471"/>
                </a:moveTo>
                <a:lnTo>
                  <a:pt x="3436" y="18471"/>
                </a:lnTo>
                <a:cubicBezTo>
                  <a:pt x="3166" y="18471"/>
                  <a:pt x="2945" y="18689"/>
                  <a:pt x="2945" y="18957"/>
                </a:cubicBezTo>
                <a:cubicBezTo>
                  <a:pt x="2945" y="19226"/>
                  <a:pt x="3166" y="19443"/>
                  <a:pt x="3436" y="19443"/>
                </a:cubicBezTo>
                <a:lnTo>
                  <a:pt x="4418" y="19443"/>
                </a:lnTo>
                <a:cubicBezTo>
                  <a:pt x="4689" y="19443"/>
                  <a:pt x="4909" y="19226"/>
                  <a:pt x="4909" y="18957"/>
                </a:cubicBezTo>
                <a:cubicBezTo>
                  <a:pt x="4909" y="18689"/>
                  <a:pt x="4689" y="18471"/>
                  <a:pt x="4418" y="18471"/>
                </a:cubicBezTo>
                <a:moveTo>
                  <a:pt x="7364" y="18471"/>
                </a:moveTo>
                <a:lnTo>
                  <a:pt x="6382" y="18471"/>
                </a:lnTo>
                <a:cubicBezTo>
                  <a:pt x="6111" y="18471"/>
                  <a:pt x="5891" y="18689"/>
                  <a:pt x="5891" y="18957"/>
                </a:cubicBezTo>
                <a:cubicBezTo>
                  <a:pt x="5891" y="19226"/>
                  <a:pt x="6111" y="19443"/>
                  <a:pt x="6382" y="19443"/>
                </a:cubicBezTo>
                <a:lnTo>
                  <a:pt x="7364" y="19443"/>
                </a:lnTo>
                <a:cubicBezTo>
                  <a:pt x="7634" y="19443"/>
                  <a:pt x="7855" y="19226"/>
                  <a:pt x="7855" y="18957"/>
                </a:cubicBezTo>
                <a:cubicBezTo>
                  <a:pt x="7855" y="18689"/>
                  <a:pt x="7634" y="18471"/>
                  <a:pt x="7364" y="18471"/>
                </a:cubicBezTo>
                <a:moveTo>
                  <a:pt x="4418" y="9720"/>
                </a:moveTo>
                <a:lnTo>
                  <a:pt x="3436" y="9720"/>
                </a:lnTo>
                <a:cubicBezTo>
                  <a:pt x="3166" y="9720"/>
                  <a:pt x="2945" y="9937"/>
                  <a:pt x="2945" y="10206"/>
                </a:cubicBezTo>
                <a:cubicBezTo>
                  <a:pt x="2945" y="10475"/>
                  <a:pt x="3166" y="10692"/>
                  <a:pt x="3436" y="10692"/>
                </a:cubicBezTo>
                <a:lnTo>
                  <a:pt x="4418" y="10692"/>
                </a:lnTo>
                <a:cubicBezTo>
                  <a:pt x="4689" y="10692"/>
                  <a:pt x="4909" y="10475"/>
                  <a:pt x="4909" y="10206"/>
                </a:cubicBezTo>
                <a:cubicBezTo>
                  <a:pt x="4909" y="9937"/>
                  <a:pt x="4689" y="9720"/>
                  <a:pt x="4418"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5" name="Shape 2825"/>
          <p:cNvSpPr/>
          <p:nvPr/>
        </p:nvSpPr>
        <p:spPr>
          <a:xfrm>
            <a:off x="6671567"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3255" y="17550"/>
                </a:moveTo>
                <a:lnTo>
                  <a:pt x="12273" y="17550"/>
                </a:lnTo>
                <a:cubicBezTo>
                  <a:pt x="12001" y="17550"/>
                  <a:pt x="11782" y="17853"/>
                  <a:pt x="11782" y="18225"/>
                </a:cubicBezTo>
                <a:cubicBezTo>
                  <a:pt x="11782" y="18598"/>
                  <a:pt x="12001" y="18900"/>
                  <a:pt x="12273" y="18900"/>
                </a:cubicBezTo>
                <a:lnTo>
                  <a:pt x="13255" y="18900"/>
                </a:lnTo>
                <a:cubicBezTo>
                  <a:pt x="13526" y="18900"/>
                  <a:pt x="13745" y="18598"/>
                  <a:pt x="13745" y="18225"/>
                </a:cubicBezTo>
                <a:cubicBezTo>
                  <a:pt x="13745" y="17853"/>
                  <a:pt x="13526" y="17550"/>
                  <a:pt x="13255" y="17550"/>
                </a:cubicBezTo>
                <a:moveTo>
                  <a:pt x="10309" y="5400"/>
                </a:moveTo>
                <a:lnTo>
                  <a:pt x="9327" y="5400"/>
                </a:lnTo>
                <a:cubicBezTo>
                  <a:pt x="9056" y="5400"/>
                  <a:pt x="8836" y="5702"/>
                  <a:pt x="8836" y="6075"/>
                </a:cubicBezTo>
                <a:cubicBezTo>
                  <a:pt x="8836" y="6448"/>
                  <a:pt x="9056" y="6750"/>
                  <a:pt x="9327" y="6750"/>
                </a:cubicBezTo>
                <a:lnTo>
                  <a:pt x="10309" y="6750"/>
                </a:lnTo>
                <a:cubicBezTo>
                  <a:pt x="10580" y="6750"/>
                  <a:pt x="10800" y="6448"/>
                  <a:pt x="10800" y="6075"/>
                </a:cubicBezTo>
                <a:cubicBezTo>
                  <a:pt x="10800" y="5702"/>
                  <a:pt x="10580" y="5400"/>
                  <a:pt x="10309" y="5400"/>
                </a:cubicBezTo>
                <a:moveTo>
                  <a:pt x="16200" y="17550"/>
                </a:moveTo>
                <a:lnTo>
                  <a:pt x="15218" y="17550"/>
                </a:lnTo>
                <a:cubicBezTo>
                  <a:pt x="14947" y="17550"/>
                  <a:pt x="14727" y="17853"/>
                  <a:pt x="14727" y="18225"/>
                </a:cubicBezTo>
                <a:cubicBezTo>
                  <a:pt x="14727" y="18598"/>
                  <a:pt x="14947" y="18900"/>
                  <a:pt x="15218" y="18900"/>
                </a:cubicBezTo>
                <a:lnTo>
                  <a:pt x="16200" y="18900"/>
                </a:lnTo>
                <a:cubicBezTo>
                  <a:pt x="16471" y="18900"/>
                  <a:pt x="16691" y="18598"/>
                  <a:pt x="16691" y="18225"/>
                </a:cubicBezTo>
                <a:cubicBezTo>
                  <a:pt x="16691" y="17853"/>
                  <a:pt x="16471" y="17550"/>
                  <a:pt x="16200" y="17550"/>
                </a:cubicBezTo>
                <a:moveTo>
                  <a:pt x="13255" y="5400"/>
                </a:moveTo>
                <a:lnTo>
                  <a:pt x="12273" y="5400"/>
                </a:lnTo>
                <a:cubicBezTo>
                  <a:pt x="12001" y="5400"/>
                  <a:pt x="11782" y="5702"/>
                  <a:pt x="11782" y="6075"/>
                </a:cubicBezTo>
                <a:cubicBezTo>
                  <a:pt x="11782" y="6448"/>
                  <a:pt x="12001" y="6750"/>
                  <a:pt x="12273" y="6750"/>
                </a:cubicBezTo>
                <a:lnTo>
                  <a:pt x="13255" y="6750"/>
                </a:lnTo>
                <a:cubicBezTo>
                  <a:pt x="13526" y="6750"/>
                  <a:pt x="13745" y="6448"/>
                  <a:pt x="13745" y="6075"/>
                </a:cubicBezTo>
                <a:cubicBezTo>
                  <a:pt x="13745" y="5702"/>
                  <a:pt x="13526" y="5400"/>
                  <a:pt x="13255" y="5400"/>
                </a:cubicBezTo>
                <a:moveTo>
                  <a:pt x="10309" y="17550"/>
                </a:moveTo>
                <a:lnTo>
                  <a:pt x="9327" y="17550"/>
                </a:lnTo>
                <a:cubicBezTo>
                  <a:pt x="9056" y="17550"/>
                  <a:pt x="8836" y="17853"/>
                  <a:pt x="8836" y="18225"/>
                </a:cubicBezTo>
                <a:cubicBezTo>
                  <a:pt x="8836" y="18598"/>
                  <a:pt x="9056" y="18900"/>
                  <a:pt x="9327" y="18900"/>
                </a:cubicBezTo>
                <a:lnTo>
                  <a:pt x="10309" y="18900"/>
                </a:lnTo>
                <a:cubicBezTo>
                  <a:pt x="10580" y="18900"/>
                  <a:pt x="10800" y="18598"/>
                  <a:pt x="10800" y="18225"/>
                </a:cubicBezTo>
                <a:cubicBezTo>
                  <a:pt x="10800" y="17853"/>
                  <a:pt x="10580" y="17550"/>
                  <a:pt x="10309" y="17550"/>
                </a:cubicBezTo>
                <a:moveTo>
                  <a:pt x="4418" y="17550"/>
                </a:moveTo>
                <a:lnTo>
                  <a:pt x="3436" y="17550"/>
                </a:lnTo>
                <a:cubicBezTo>
                  <a:pt x="3165" y="17550"/>
                  <a:pt x="2945" y="17853"/>
                  <a:pt x="2945" y="18225"/>
                </a:cubicBezTo>
                <a:cubicBezTo>
                  <a:pt x="2945" y="18598"/>
                  <a:pt x="3165" y="18900"/>
                  <a:pt x="3436" y="18900"/>
                </a:cubicBezTo>
                <a:lnTo>
                  <a:pt x="4418" y="18900"/>
                </a:lnTo>
                <a:cubicBezTo>
                  <a:pt x="4690" y="18900"/>
                  <a:pt x="4909" y="18598"/>
                  <a:pt x="4909" y="18225"/>
                </a:cubicBezTo>
                <a:cubicBezTo>
                  <a:pt x="4909" y="17853"/>
                  <a:pt x="4690" y="17550"/>
                  <a:pt x="4418" y="17550"/>
                </a:cubicBezTo>
                <a:moveTo>
                  <a:pt x="15218" y="6750"/>
                </a:moveTo>
                <a:lnTo>
                  <a:pt x="16200" y="6750"/>
                </a:lnTo>
                <a:cubicBezTo>
                  <a:pt x="16471" y="6750"/>
                  <a:pt x="16691" y="6448"/>
                  <a:pt x="16691" y="6075"/>
                </a:cubicBezTo>
                <a:cubicBezTo>
                  <a:pt x="16691" y="5702"/>
                  <a:pt x="16471" y="5400"/>
                  <a:pt x="16200" y="5400"/>
                </a:cubicBezTo>
                <a:lnTo>
                  <a:pt x="15218" y="5400"/>
                </a:lnTo>
                <a:cubicBezTo>
                  <a:pt x="14947" y="5400"/>
                  <a:pt x="14727" y="5702"/>
                  <a:pt x="14727" y="6075"/>
                </a:cubicBezTo>
                <a:cubicBezTo>
                  <a:pt x="14727" y="6448"/>
                  <a:pt x="14947" y="6750"/>
                  <a:pt x="15218" y="6750"/>
                </a:cubicBezTo>
                <a:moveTo>
                  <a:pt x="20618" y="13500"/>
                </a:moveTo>
                <a:cubicBezTo>
                  <a:pt x="20618" y="14245"/>
                  <a:pt x="20178" y="14850"/>
                  <a:pt x="19636" y="14850"/>
                </a:cubicBezTo>
                <a:lnTo>
                  <a:pt x="16691" y="14850"/>
                </a:lnTo>
                <a:cubicBezTo>
                  <a:pt x="16149" y="14850"/>
                  <a:pt x="15709" y="14245"/>
                  <a:pt x="15709" y="13500"/>
                </a:cubicBezTo>
                <a:lnTo>
                  <a:pt x="15709" y="10800"/>
                </a:lnTo>
                <a:cubicBezTo>
                  <a:pt x="15709" y="10055"/>
                  <a:pt x="16149" y="9450"/>
                  <a:pt x="16691" y="9450"/>
                </a:cubicBezTo>
                <a:lnTo>
                  <a:pt x="19636" y="9450"/>
                </a:lnTo>
                <a:cubicBezTo>
                  <a:pt x="20178" y="9450"/>
                  <a:pt x="20618" y="10055"/>
                  <a:pt x="20618" y="10800"/>
                </a:cubicBezTo>
                <a:cubicBezTo>
                  <a:pt x="20618" y="10800"/>
                  <a:pt x="20618" y="13500"/>
                  <a:pt x="20618" y="13500"/>
                </a:cubicBezTo>
                <a:close/>
                <a:moveTo>
                  <a:pt x="18655" y="18900"/>
                </a:moveTo>
                <a:cubicBezTo>
                  <a:pt x="18655" y="19645"/>
                  <a:pt x="18214" y="20250"/>
                  <a:pt x="17673" y="20250"/>
                </a:cubicBezTo>
                <a:lnTo>
                  <a:pt x="1964" y="20250"/>
                </a:lnTo>
                <a:cubicBezTo>
                  <a:pt x="1422" y="20250"/>
                  <a:pt x="982" y="19645"/>
                  <a:pt x="982" y="18900"/>
                </a:cubicBezTo>
                <a:lnTo>
                  <a:pt x="982" y="5400"/>
                </a:lnTo>
                <a:cubicBezTo>
                  <a:pt x="982" y="4655"/>
                  <a:pt x="1422" y="4050"/>
                  <a:pt x="1964" y="4050"/>
                </a:cubicBezTo>
                <a:lnTo>
                  <a:pt x="17673" y="4050"/>
                </a:lnTo>
                <a:cubicBezTo>
                  <a:pt x="18214" y="4050"/>
                  <a:pt x="18655" y="4655"/>
                  <a:pt x="18655" y="5400"/>
                </a:cubicBezTo>
                <a:lnTo>
                  <a:pt x="18655" y="8100"/>
                </a:lnTo>
                <a:lnTo>
                  <a:pt x="16691" y="8100"/>
                </a:lnTo>
                <a:cubicBezTo>
                  <a:pt x="15606" y="8100"/>
                  <a:pt x="14727" y="9309"/>
                  <a:pt x="14727" y="10800"/>
                </a:cubicBezTo>
                <a:lnTo>
                  <a:pt x="14727" y="13500"/>
                </a:lnTo>
                <a:cubicBezTo>
                  <a:pt x="14727" y="14991"/>
                  <a:pt x="15606" y="16200"/>
                  <a:pt x="16691" y="16200"/>
                </a:cubicBezTo>
                <a:lnTo>
                  <a:pt x="18655" y="16200"/>
                </a:lnTo>
                <a:cubicBezTo>
                  <a:pt x="18655" y="16200"/>
                  <a:pt x="18655" y="18900"/>
                  <a:pt x="18655" y="18900"/>
                </a:cubicBezTo>
                <a:close/>
                <a:moveTo>
                  <a:pt x="982" y="2700"/>
                </a:moveTo>
                <a:cubicBezTo>
                  <a:pt x="982" y="1955"/>
                  <a:pt x="1422" y="1350"/>
                  <a:pt x="1964" y="1350"/>
                </a:cubicBezTo>
                <a:lnTo>
                  <a:pt x="17673" y="1350"/>
                </a:lnTo>
                <a:cubicBezTo>
                  <a:pt x="18214" y="1350"/>
                  <a:pt x="18655" y="1955"/>
                  <a:pt x="18655" y="2700"/>
                </a:cubicBezTo>
                <a:lnTo>
                  <a:pt x="18655" y="3075"/>
                </a:lnTo>
                <a:cubicBezTo>
                  <a:pt x="18365" y="2842"/>
                  <a:pt x="18032" y="2700"/>
                  <a:pt x="17673" y="2700"/>
                </a:cubicBezTo>
                <a:lnTo>
                  <a:pt x="1964" y="2700"/>
                </a:lnTo>
                <a:cubicBezTo>
                  <a:pt x="1604" y="2700"/>
                  <a:pt x="1271" y="2842"/>
                  <a:pt x="982" y="3075"/>
                </a:cubicBezTo>
                <a:cubicBezTo>
                  <a:pt x="982" y="3075"/>
                  <a:pt x="982" y="2700"/>
                  <a:pt x="982" y="2700"/>
                </a:cubicBezTo>
                <a:close/>
                <a:moveTo>
                  <a:pt x="19636" y="8100"/>
                </a:moveTo>
                <a:lnTo>
                  <a:pt x="19636" y="2700"/>
                </a:lnTo>
                <a:cubicBezTo>
                  <a:pt x="19636" y="1209"/>
                  <a:pt x="18757" y="0"/>
                  <a:pt x="17673" y="0"/>
                </a:cubicBezTo>
                <a:lnTo>
                  <a:pt x="1964" y="0"/>
                </a:lnTo>
                <a:cubicBezTo>
                  <a:pt x="879" y="0"/>
                  <a:pt x="0" y="1209"/>
                  <a:pt x="0" y="2700"/>
                </a:cubicBezTo>
                <a:lnTo>
                  <a:pt x="0" y="18900"/>
                </a:lnTo>
                <a:cubicBezTo>
                  <a:pt x="0" y="20391"/>
                  <a:pt x="879" y="21600"/>
                  <a:pt x="1964" y="21600"/>
                </a:cubicBezTo>
                <a:lnTo>
                  <a:pt x="17673" y="21600"/>
                </a:lnTo>
                <a:cubicBezTo>
                  <a:pt x="18757" y="21600"/>
                  <a:pt x="19636" y="20391"/>
                  <a:pt x="19636" y="18900"/>
                </a:cubicBezTo>
                <a:lnTo>
                  <a:pt x="19636" y="16200"/>
                </a:lnTo>
                <a:cubicBezTo>
                  <a:pt x="20721" y="16200"/>
                  <a:pt x="21600" y="14991"/>
                  <a:pt x="21600" y="13500"/>
                </a:cubicBezTo>
                <a:lnTo>
                  <a:pt x="21600" y="10800"/>
                </a:lnTo>
                <a:cubicBezTo>
                  <a:pt x="21600" y="9309"/>
                  <a:pt x="20721" y="8100"/>
                  <a:pt x="19636" y="8100"/>
                </a:cubicBezTo>
                <a:moveTo>
                  <a:pt x="17182" y="11475"/>
                </a:moveTo>
                <a:cubicBezTo>
                  <a:pt x="16910" y="11475"/>
                  <a:pt x="16691" y="11777"/>
                  <a:pt x="16691" y="12150"/>
                </a:cubicBezTo>
                <a:cubicBezTo>
                  <a:pt x="16691" y="12523"/>
                  <a:pt x="16910" y="12825"/>
                  <a:pt x="17182" y="12825"/>
                </a:cubicBezTo>
                <a:cubicBezTo>
                  <a:pt x="17453" y="12825"/>
                  <a:pt x="17673" y="12523"/>
                  <a:pt x="17673" y="12150"/>
                </a:cubicBezTo>
                <a:cubicBezTo>
                  <a:pt x="17673" y="11777"/>
                  <a:pt x="17453" y="11475"/>
                  <a:pt x="17182" y="11475"/>
                </a:cubicBezTo>
                <a:moveTo>
                  <a:pt x="7364" y="17550"/>
                </a:moveTo>
                <a:lnTo>
                  <a:pt x="6382" y="17550"/>
                </a:lnTo>
                <a:cubicBezTo>
                  <a:pt x="6110" y="17550"/>
                  <a:pt x="5891" y="17853"/>
                  <a:pt x="5891" y="18225"/>
                </a:cubicBezTo>
                <a:cubicBezTo>
                  <a:pt x="5891" y="18598"/>
                  <a:pt x="6110" y="18900"/>
                  <a:pt x="6382" y="18900"/>
                </a:cubicBezTo>
                <a:lnTo>
                  <a:pt x="7364" y="18900"/>
                </a:lnTo>
                <a:cubicBezTo>
                  <a:pt x="7635" y="18900"/>
                  <a:pt x="7855" y="18598"/>
                  <a:pt x="7855" y="18225"/>
                </a:cubicBezTo>
                <a:cubicBezTo>
                  <a:pt x="7855" y="17853"/>
                  <a:pt x="7635" y="17550"/>
                  <a:pt x="7364" y="17550"/>
                </a:cubicBezTo>
                <a:moveTo>
                  <a:pt x="7364" y="5400"/>
                </a:moveTo>
                <a:lnTo>
                  <a:pt x="6382" y="5400"/>
                </a:lnTo>
                <a:cubicBezTo>
                  <a:pt x="6110" y="5400"/>
                  <a:pt x="5891" y="5702"/>
                  <a:pt x="5891" y="6075"/>
                </a:cubicBezTo>
                <a:cubicBezTo>
                  <a:pt x="5891" y="6448"/>
                  <a:pt x="6110" y="6750"/>
                  <a:pt x="6382" y="6750"/>
                </a:cubicBezTo>
                <a:lnTo>
                  <a:pt x="7364" y="6750"/>
                </a:lnTo>
                <a:cubicBezTo>
                  <a:pt x="7635" y="6750"/>
                  <a:pt x="7855" y="6448"/>
                  <a:pt x="7855" y="6075"/>
                </a:cubicBezTo>
                <a:cubicBezTo>
                  <a:pt x="7855" y="5702"/>
                  <a:pt x="7635" y="5400"/>
                  <a:pt x="7364" y="5400"/>
                </a:cubicBezTo>
                <a:moveTo>
                  <a:pt x="4418" y="5400"/>
                </a:moveTo>
                <a:lnTo>
                  <a:pt x="3436" y="5400"/>
                </a:lnTo>
                <a:cubicBezTo>
                  <a:pt x="3165" y="5400"/>
                  <a:pt x="2945" y="5702"/>
                  <a:pt x="2945" y="6075"/>
                </a:cubicBezTo>
                <a:cubicBezTo>
                  <a:pt x="2945" y="6448"/>
                  <a:pt x="3165" y="6750"/>
                  <a:pt x="3436" y="6750"/>
                </a:cubicBezTo>
                <a:lnTo>
                  <a:pt x="4418" y="6750"/>
                </a:lnTo>
                <a:cubicBezTo>
                  <a:pt x="4690" y="6750"/>
                  <a:pt x="4909" y="6448"/>
                  <a:pt x="4909" y="6075"/>
                </a:cubicBezTo>
                <a:cubicBezTo>
                  <a:pt x="4909" y="5702"/>
                  <a:pt x="4690" y="5400"/>
                  <a:pt x="4418"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6" name="Shape 2826"/>
          <p:cNvSpPr/>
          <p:nvPr/>
        </p:nvSpPr>
        <p:spPr>
          <a:xfrm>
            <a:off x="7071514" y="1488897"/>
            <a:ext cx="209495" cy="171573"/>
          </a:xfrm>
          <a:custGeom>
            <a:avLst/>
            <a:gdLst/>
            <a:ahLst/>
            <a:cxnLst>
              <a:cxn ang="0">
                <a:pos x="wd2" y="hd2"/>
              </a:cxn>
              <a:cxn ang="5400000">
                <a:pos x="wd2" y="hd2"/>
              </a:cxn>
              <a:cxn ang="10800000">
                <a:pos x="wd2" y="hd2"/>
              </a:cxn>
              <a:cxn ang="16200000">
                <a:pos x="wd2" y="hd2"/>
              </a:cxn>
            </a:cxnLst>
            <a:rect l="0" t="0" r="r" b="b"/>
            <a:pathLst>
              <a:path w="21600" h="21600" extrusionOk="0">
                <a:moveTo>
                  <a:pt x="10309" y="7214"/>
                </a:moveTo>
                <a:lnTo>
                  <a:pt x="9327" y="7214"/>
                </a:lnTo>
                <a:cubicBezTo>
                  <a:pt x="9056" y="7214"/>
                  <a:pt x="8836" y="7482"/>
                  <a:pt x="8836" y="7813"/>
                </a:cubicBezTo>
                <a:cubicBezTo>
                  <a:pt x="8836" y="8145"/>
                  <a:pt x="9056" y="8413"/>
                  <a:pt x="9327" y="8413"/>
                </a:cubicBezTo>
                <a:lnTo>
                  <a:pt x="10309" y="8413"/>
                </a:lnTo>
                <a:cubicBezTo>
                  <a:pt x="10580" y="8413"/>
                  <a:pt x="10800" y="8145"/>
                  <a:pt x="10800" y="7813"/>
                </a:cubicBezTo>
                <a:cubicBezTo>
                  <a:pt x="10800" y="7482"/>
                  <a:pt x="10580" y="7214"/>
                  <a:pt x="10309" y="7214"/>
                </a:cubicBezTo>
                <a:moveTo>
                  <a:pt x="7364" y="7214"/>
                </a:moveTo>
                <a:lnTo>
                  <a:pt x="6382" y="7214"/>
                </a:lnTo>
                <a:cubicBezTo>
                  <a:pt x="6110" y="7214"/>
                  <a:pt x="5891" y="7482"/>
                  <a:pt x="5891" y="7813"/>
                </a:cubicBezTo>
                <a:cubicBezTo>
                  <a:pt x="5891" y="8145"/>
                  <a:pt x="6110" y="8413"/>
                  <a:pt x="6382" y="8413"/>
                </a:cubicBezTo>
                <a:lnTo>
                  <a:pt x="7364" y="8413"/>
                </a:lnTo>
                <a:cubicBezTo>
                  <a:pt x="7635" y="8413"/>
                  <a:pt x="7855" y="8145"/>
                  <a:pt x="7855" y="7813"/>
                </a:cubicBezTo>
                <a:cubicBezTo>
                  <a:pt x="7855" y="7482"/>
                  <a:pt x="7635" y="7214"/>
                  <a:pt x="7364" y="7214"/>
                </a:cubicBezTo>
                <a:moveTo>
                  <a:pt x="10309" y="18004"/>
                </a:moveTo>
                <a:lnTo>
                  <a:pt x="9327" y="18004"/>
                </a:lnTo>
                <a:cubicBezTo>
                  <a:pt x="9056" y="18004"/>
                  <a:pt x="8836" y="18272"/>
                  <a:pt x="8836" y="18603"/>
                </a:cubicBezTo>
                <a:cubicBezTo>
                  <a:pt x="8836" y="18935"/>
                  <a:pt x="9056" y="19202"/>
                  <a:pt x="9327" y="19202"/>
                </a:cubicBezTo>
                <a:lnTo>
                  <a:pt x="10309" y="19202"/>
                </a:lnTo>
                <a:cubicBezTo>
                  <a:pt x="10580" y="19202"/>
                  <a:pt x="10800" y="18935"/>
                  <a:pt x="10800" y="18603"/>
                </a:cubicBezTo>
                <a:cubicBezTo>
                  <a:pt x="10800" y="18272"/>
                  <a:pt x="10580" y="18004"/>
                  <a:pt x="10309" y="18004"/>
                </a:cubicBezTo>
                <a:moveTo>
                  <a:pt x="13255" y="18004"/>
                </a:moveTo>
                <a:lnTo>
                  <a:pt x="12273" y="18004"/>
                </a:lnTo>
                <a:cubicBezTo>
                  <a:pt x="12001" y="18004"/>
                  <a:pt x="11782" y="18272"/>
                  <a:pt x="11782" y="18603"/>
                </a:cubicBezTo>
                <a:cubicBezTo>
                  <a:pt x="11782" y="18935"/>
                  <a:pt x="12001" y="19202"/>
                  <a:pt x="12273" y="19202"/>
                </a:cubicBezTo>
                <a:lnTo>
                  <a:pt x="13255" y="19202"/>
                </a:lnTo>
                <a:cubicBezTo>
                  <a:pt x="13526" y="19202"/>
                  <a:pt x="13745" y="18935"/>
                  <a:pt x="13745" y="18603"/>
                </a:cubicBezTo>
                <a:cubicBezTo>
                  <a:pt x="13745" y="18272"/>
                  <a:pt x="13526" y="18004"/>
                  <a:pt x="13255" y="18004"/>
                </a:cubicBezTo>
                <a:moveTo>
                  <a:pt x="20618" y="14407"/>
                </a:moveTo>
                <a:cubicBezTo>
                  <a:pt x="20618" y="15069"/>
                  <a:pt x="20178" y="15606"/>
                  <a:pt x="19636" y="15606"/>
                </a:cubicBezTo>
                <a:lnTo>
                  <a:pt x="16691" y="15606"/>
                </a:lnTo>
                <a:cubicBezTo>
                  <a:pt x="16148" y="15606"/>
                  <a:pt x="15709" y="15069"/>
                  <a:pt x="15709" y="14407"/>
                </a:cubicBezTo>
                <a:lnTo>
                  <a:pt x="15709" y="12009"/>
                </a:lnTo>
                <a:cubicBezTo>
                  <a:pt x="15709" y="11348"/>
                  <a:pt x="16148" y="10811"/>
                  <a:pt x="16691" y="10811"/>
                </a:cubicBezTo>
                <a:lnTo>
                  <a:pt x="19636" y="10811"/>
                </a:lnTo>
                <a:cubicBezTo>
                  <a:pt x="20178" y="10811"/>
                  <a:pt x="20618" y="11348"/>
                  <a:pt x="20618" y="12009"/>
                </a:cubicBezTo>
                <a:cubicBezTo>
                  <a:pt x="20618" y="12009"/>
                  <a:pt x="20618" y="14407"/>
                  <a:pt x="20618" y="14407"/>
                </a:cubicBezTo>
                <a:close/>
                <a:moveTo>
                  <a:pt x="18655" y="19202"/>
                </a:moveTo>
                <a:cubicBezTo>
                  <a:pt x="18655" y="19864"/>
                  <a:pt x="18214" y="20401"/>
                  <a:pt x="17673" y="20401"/>
                </a:cubicBezTo>
                <a:lnTo>
                  <a:pt x="1964" y="20401"/>
                </a:lnTo>
                <a:cubicBezTo>
                  <a:pt x="1421" y="20401"/>
                  <a:pt x="982" y="19864"/>
                  <a:pt x="982" y="19202"/>
                </a:cubicBezTo>
                <a:lnTo>
                  <a:pt x="982" y="7214"/>
                </a:lnTo>
                <a:cubicBezTo>
                  <a:pt x="982" y="6553"/>
                  <a:pt x="1421" y="6015"/>
                  <a:pt x="1964" y="6015"/>
                </a:cubicBezTo>
                <a:lnTo>
                  <a:pt x="17673" y="6015"/>
                </a:lnTo>
                <a:cubicBezTo>
                  <a:pt x="18214" y="6015"/>
                  <a:pt x="18655" y="6553"/>
                  <a:pt x="18655" y="7214"/>
                </a:cubicBezTo>
                <a:lnTo>
                  <a:pt x="18655" y="9612"/>
                </a:lnTo>
                <a:lnTo>
                  <a:pt x="16691" y="9612"/>
                </a:lnTo>
                <a:cubicBezTo>
                  <a:pt x="15606" y="9612"/>
                  <a:pt x="14727" y="10685"/>
                  <a:pt x="14727" y="12009"/>
                </a:cubicBezTo>
                <a:lnTo>
                  <a:pt x="14727" y="14407"/>
                </a:lnTo>
                <a:cubicBezTo>
                  <a:pt x="14727" y="15731"/>
                  <a:pt x="15606" y="16805"/>
                  <a:pt x="16691" y="16805"/>
                </a:cubicBezTo>
                <a:lnTo>
                  <a:pt x="18655" y="16805"/>
                </a:lnTo>
                <a:cubicBezTo>
                  <a:pt x="18655" y="16805"/>
                  <a:pt x="18655" y="19202"/>
                  <a:pt x="18655" y="19202"/>
                </a:cubicBezTo>
                <a:close/>
                <a:moveTo>
                  <a:pt x="982" y="4816"/>
                </a:moveTo>
                <a:cubicBezTo>
                  <a:pt x="982" y="4155"/>
                  <a:pt x="1420" y="3618"/>
                  <a:pt x="1963" y="3618"/>
                </a:cubicBezTo>
                <a:lnTo>
                  <a:pt x="1692" y="4850"/>
                </a:lnTo>
                <a:cubicBezTo>
                  <a:pt x="1436" y="4894"/>
                  <a:pt x="1197" y="4996"/>
                  <a:pt x="982" y="5149"/>
                </a:cubicBezTo>
                <a:cubicBezTo>
                  <a:pt x="982" y="5149"/>
                  <a:pt x="982" y="4816"/>
                  <a:pt x="982" y="4816"/>
                </a:cubicBezTo>
                <a:close/>
                <a:moveTo>
                  <a:pt x="3451" y="1468"/>
                </a:moveTo>
                <a:lnTo>
                  <a:pt x="13684" y="4816"/>
                </a:lnTo>
                <a:lnTo>
                  <a:pt x="2716" y="4816"/>
                </a:lnTo>
                <a:cubicBezTo>
                  <a:pt x="2716" y="4816"/>
                  <a:pt x="3451" y="1468"/>
                  <a:pt x="3451" y="1468"/>
                </a:cubicBezTo>
                <a:close/>
                <a:moveTo>
                  <a:pt x="16776" y="2582"/>
                </a:moveTo>
                <a:lnTo>
                  <a:pt x="16982" y="4654"/>
                </a:lnTo>
                <a:lnTo>
                  <a:pt x="12560" y="3208"/>
                </a:lnTo>
                <a:cubicBezTo>
                  <a:pt x="12560" y="3208"/>
                  <a:pt x="16776" y="2582"/>
                  <a:pt x="16776" y="2582"/>
                </a:cubicBezTo>
                <a:close/>
                <a:moveTo>
                  <a:pt x="18655" y="4816"/>
                </a:moveTo>
                <a:lnTo>
                  <a:pt x="18655" y="5149"/>
                </a:lnTo>
                <a:cubicBezTo>
                  <a:pt x="18453" y="5005"/>
                  <a:pt x="18231" y="4904"/>
                  <a:pt x="17992" y="4856"/>
                </a:cubicBezTo>
                <a:lnTo>
                  <a:pt x="17871" y="3642"/>
                </a:lnTo>
                <a:cubicBezTo>
                  <a:pt x="18318" y="3754"/>
                  <a:pt x="18655" y="4237"/>
                  <a:pt x="18655" y="4816"/>
                </a:cubicBezTo>
                <a:moveTo>
                  <a:pt x="19636" y="9612"/>
                </a:moveTo>
                <a:lnTo>
                  <a:pt x="19636" y="4816"/>
                </a:lnTo>
                <a:cubicBezTo>
                  <a:pt x="19636" y="3525"/>
                  <a:pt x="18798" y="2479"/>
                  <a:pt x="17750" y="2428"/>
                </a:cubicBezTo>
                <a:lnTo>
                  <a:pt x="17633" y="1247"/>
                </a:lnTo>
                <a:lnTo>
                  <a:pt x="10020" y="2377"/>
                </a:lnTo>
                <a:lnTo>
                  <a:pt x="2757" y="0"/>
                </a:lnTo>
                <a:lnTo>
                  <a:pt x="2226" y="2419"/>
                </a:lnTo>
                <a:lnTo>
                  <a:pt x="1964" y="2419"/>
                </a:lnTo>
                <a:cubicBezTo>
                  <a:pt x="879" y="2419"/>
                  <a:pt x="0" y="3492"/>
                  <a:pt x="0" y="4816"/>
                </a:cubicBezTo>
                <a:lnTo>
                  <a:pt x="0" y="19202"/>
                </a:lnTo>
                <a:cubicBezTo>
                  <a:pt x="0" y="20526"/>
                  <a:pt x="879" y="21600"/>
                  <a:pt x="1964" y="21600"/>
                </a:cubicBezTo>
                <a:lnTo>
                  <a:pt x="17673" y="21600"/>
                </a:lnTo>
                <a:cubicBezTo>
                  <a:pt x="18757" y="21600"/>
                  <a:pt x="19636" y="20526"/>
                  <a:pt x="19636" y="19202"/>
                </a:cubicBezTo>
                <a:lnTo>
                  <a:pt x="19636" y="16805"/>
                </a:lnTo>
                <a:cubicBezTo>
                  <a:pt x="20721" y="16805"/>
                  <a:pt x="21600" y="15731"/>
                  <a:pt x="21600" y="14407"/>
                </a:cubicBezTo>
                <a:lnTo>
                  <a:pt x="21600" y="12009"/>
                </a:lnTo>
                <a:cubicBezTo>
                  <a:pt x="21600" y="10685"/>
                  <a:pt x="20721" y="9612"/>
                  <a:pt x="19636" y="9612"/>
                </a:cubicBezTo>
                <a:moveTo>
                  <a:pt x="13255" y="7214"/>
                </a:moveTo>
                <a:lnTo>
                  <a:pt x="12273" y="7214"/>
                </a:lnTo>
                <a:cubicBezTo>
                  <a:pt x="12001" y="7214"/>
                  <a:pt x="11782" y="7482"/>
                  <a:pt x="11782" y="7813"/>
                </a:cubicBezTo>
                <a:cubicBezTo>
                  <a:pt x="11782" y="8145"/>
                  <a:pt x="12001" y="8413"/>
                  <a:pt x="12273" y="8413"/>
                </a:cubicBezTo>
                <a:lnTo>
                  <a:pt x="13255" y="8413"/>
                </a:lnTo>
                <a:cubicBezTo>
                  <a:pt x="13526" y="8413"/>
                  <a:pt x="13745" y="8145"/>
                  <a:pt x="13745" y="7813"/>
                </a:cubicBezTo>
                <a:cubicBezTo>
                  <a:pt x="13745" y="7482"/>
                  <a:pt x="13526" y="7214"/>
                  <a:pt x="13255" y="7214"/>
                </a:cubicBezTo>
                <a:moveTo>
                  <a:pt x="16200" y="18004"/>
                </a:moveTo>
                <a:lnTo>
                  <a:pt x="15218" y="18004"/>
                </a:lnTo>
                <a:cubicBezTo>
                  <a:pt x="14947" y="18004"/>
                  <a:pt x="14727" y="18272"/>
                  <a:pt x="14727" y="18603"/>
                </a:cubicBezTo>
                <a:cubicBezTo>
                  <a:pt x="14727" y="18935"/>
                  <a:pt x="14947" y="19202"/>
                  <a:pt x="15218" y="19202"/>
                </a:cubicBezTo>
                <a:lnTo>
                  <a:pt x="16200" y="19202"/>
                </a:lnTo>
                <a:cubicBezTo>
                  <a:pt x="16471" y="19202"/>
                  <a:pt x="16691" y="18935"/>
                  <a:pt x="16691" y="18603"/>
                </a:cubicBezTo>
                <a:cubicBezTo>
                  <a:pt x="16691" y="18272"/>
                  <a:pt x="16471" y="18004"/>
                  <a:pt x="16200" y="18004"/>
                </a:cubicBezTo>
                <a:moveTo>
                  <a:pt x="17182" y="12609"/>
                </a:moveTo>
                <a:cubicBezTo>
                  <a:pt x="16910" y="12609"/>
                  <a:pt x="16691" y="12877"/>
                  <a:pt x="16691" y="13208"/>
                </a:cubicBezTo>
                <a:cubicBezTo>
                  <a:pt x="16691" y="13540"/>
                  <a:pt x="16910" y="13808"/>
                  <a:pt x="17182" y="13808"/>
                </a:cubicBezTo>
                <a:cubicBezTo>
                  <a:pt x="17453" y="13808"/>
                  <a:pt x="17673" y="13540"/>
                  <a:pt x="17673" y="13208"/>
                </a:cubicBezTo>
                <a:cubicBezTo>
                  <a:pt x="17673" y="12877"/>
                  <a:pt x="17453" y="12609"/>
                  <a:pt x="17182" y="12609"/>
                </a:cubicBezTo>
                <a:moveTo>
                  <a:pt x="4418" y="7214"/>
                </a:moveTo>
                <a:lnTo>
                  <a:pt x="3436" y="7214"/>
                </a:lnTo>
                <a:cubicBezTo>
                  <a:pt x="3165" y="7214"/>
                  <a:pt x="2945" y="7482"/>
                  <a:pt x="2945" y="7813"/>
                </a:cubicBezTo>
                <a:cubicBezTo>
                  <a:pt x="2945" y="8145"/>
                  <a:pt x="3165" y="8413"/>
                  <a:pt x="3436" y="8413"/>
                </a:cubicBezTo>
                <a:lnTo>
                  <a:pt x="4418" y="8413"/>
                </a:lnTo>
                <a:cubicBezTo>
                  <a:pt x="4690" y="8413"/>
                  <a:pt x="4909" y="8145"/>
                  <a:pt x="4909" y="7813"/>
                </a:cubicBezTo>
                <a:cubicBezTo>
                  <a:pt x="4909" y="7482"/>
                  <a:pt x="4690" y="7214"/>
                  <a:pt x="4418" y="7214"/>
                </a:cubicBezTo>
                <a:moveTo>
                  <a:pt x="15218" y="8413"/>
                </a:moveTo>
                <a:lnTo>
                  <a:pt x="16200" y="8413"/>
                </a:lnTo>
                <a:cubicBezTo>
                  <a:pt x="16471" y="8413"/>
                  <a:pt x="16691" y="8145"/>
                  <a:pt x="16691" y="7813"/>
                </a:cubicBezTo>
                <a:cubicBezTo>
                  <a:pt x="16691" y="7482"/>
                  <a:pt x="16471" y="7214"/>
                  <a:pt x="16200" y="7214"/>
                </a:cubicBezTo>
                <a:lnTo>
                  <a:pt x="15218" y="7214"/>
                </a:lnTo>
                <a:cubicBezTo>
                  <a:pt x="14947" y="7214"/>
                  <a:pt x="14727" y="7482"/>
                  <a:pt x="14727" y="7813"/>
                </a:cubicBezTo>
                <a:cubicBezTo>
                  <a:pt x="14727" y="8145"/>
                  <a:pt x="14947" y="8413"/>
                  <a:pt x="15218" y="8413"/>
                </a:cubicBezTo>
                <a:moveTo>
                  <a:pt x="7364" y="18004"/>
                </a:moveTo>
                <a:lnTo>
                  <a:pt x="6382" y="18004"/>
                </a:lnTo>
                <a:cubicBezTo>
                  <a:pt x="6110" y="18004"/>
                  <a:pt x="5891" y="18272"/>
                  <a:pt x="5891" y="18603"/>
                </a:cubicBezTo>
                <a:cubicBezTo>
                  <a:pt x="5891" y="18935"/>
                  <a:pt x="6110" y="19202"/>
                  <a:pt x="6382" y="19202"/>
                </a:cubicBezTo>
                <a:lnTo>
                  <a:pt x="7364" y="19202"/>
                </a:lnTo>
                <a:cubicBezTo>
                  <a:pt x="7635" y="19202"/>
                  <a:pt x="7855" y="18935"/>
                  <a:pt x="7855" y="18603"/>
                </a:cubicBezTo>
                <a:cubicBezTo>
                  <a:pt x="7855" y="18272"/>
                  <a:pt x="7635" y="18004"/>
                  <a:pt x="7364" y="18004"/>
                </a:cubicBezTo>
                <a:moveTo>
                  <a:pt x="4418" y="18004"/>
                </a:moveTo>
                <a:lnTo>
                  <a:pt x="3436" y="18004"/>
                </a:lnTo>
                <a:cubicBezTo>
                  <a:pt x="3165" y="18004"/>
                  <a:pt x="2945" y="18272"/>
                  <a:pt x="2945" y="18603"/>
                </a:cubicBezTo>
                <a:cubicBezTo>
                  <a:pt x="2945" y="18935"/>
                  <a:pt x="3165" y="19202"/>
                  <a:pt x="3436" y="19202"/>
                </a:cubicBezTo>
                <a:lnTo>
                  <a:pt x="4418" y="19202"/>
                </a:lnTo>
                <a:cubicBezTo>
                  <a:pt x="4690" y="19202"/>
                  <a:pt x="4909" y="18935"/>
                  <a:pt x="4909" y="18603"/>
                </a:cubicBezTo>
                <a:cubicBezTo>
                  <a:pt x="4909" y="18272"/>
                  <a:pt x="4690" y="18004"/>
                  <a:pt x="4418" y="1800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7" name="Shape 2827"/>
          <p:cNvSpPr/>
          <p:nvPr/>
        </p:nvSpPr>
        <p:spPr>
          <a:xfrm>
            <a:off x="7500027" y="146985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0" y="9818"/>
                </a:moveTo>
                <a:lnTo>
                  <a:pt x="2700" y="9818"/>
                </a:lnTo>
                <a:lnTo>
                  <a:pt x="2700" y="10800"/>
                </a:lnTo>
                <a:lnTo>
                  <a:pt x="13500" y="10800"/>
                </a:lnTo>
                <a:cubicBezTo>
                  <a:pt x="13500" y="10800"/>
                  <a:pt x="13500" y="9818"/>
                  <a:pt x="13500" y="9818"/>
                </a:cubicBezTo>
                <a:close/>
                <a:moveTo>
                  <a:pt x="18900" y="11782"/>
                </a:moveTo>
                <a:lnTo>
                  <a:pt x="2700" y="11782"/>
                </a:lnTo>
                <a:lnTo>
                  <a:pt x="2700" y="12764"/>
                </a:lnTo>
                <a:lnTo>
                  <a:pt x="18900" y="12764"/>
                </a:lnTo>
                <a:cubicBezTo>
                  <a:pt x="18900" y="12764"/>
                  <a:pt x="18900" y="11782"/>
                  <a:pt x="18900" y="11782"/>
                </a:cubicBezTo>
                <a:close/>
                <a:moveTo>
                  <a:pt x="4050" y="1964"/>
                </a:moveTo>
                <a:lnTo>
                  <a:pt x="2700" y="1964"/>
                </a:lnTo>
                <a:lnTo>
                  <a:pt x="2700" y="7855"/>
                </a:lnTo>
                <a:lnTo>
                  <a:pt x="4050" y="7855"/>
                </a:lnTo>
                <a:cubicBezTo>
                  <a:pt x="4050" y="7855"/>
                  <a:pt x="4050" y="1964"/>
                  <a:pt x="4050" y="1964"/>
                </a:cubicBezTo>
                <a:close/>
                <a:moveTo>
                  <a:pt x="18900" y="13745"/>
                </a:moveTo>
                <a:lnTo>
                  <a:pt x="2700" y="13745"/>
                </a:lnTo>
                <a:lnTo>
                  <a:pt x="2700" y="14727"/>
                </a:lnTo>
                <a:lnTo>
                  <a:pt x="18900" y="14727"/>
                </a:lnTo>
                <a:cubicBezTo>
                  <a:pt x="18900" y="14727"/>
                  <a:pt x="18900" y="13745"/>
                  <a:pt x="18900" y="13745"/>
                </a:cubicBezTo>
                <a:close/>
                <a:moveTo>
                  <a:pt x="16200" y="15709"/>
                </a:moveTo>
                <a:lnTo>
                  <a:pt x="2700" y="15709"/>
                </a:lnTo>
                <a:lnTo>
                  <a:pt x="2700" y="16691"/>
                </a:lnTo>
                <a:lnTo>
                  <a:pt x="16200" y="16691"/>
                </a:lnTo>
                <a:cubicBezTo>
                  <a:pt x="16200" y="16691"/>
                  <a:pt x="16200" y="15709"/>
                  <a:pt x="16200" y="15709"/>
                </a:cubicBezTo>
                <a:close/>
                <a:moveTo>
                  <a:pt x="20250" y="19924"/>
                </a:moveTo>
                <a:lnTo>
                  <a:pt x="18702" y="18798"/>
                </a:lnTo>
                <a:cubicBezTo>
                  <a:pt x="18580" y="18710"/>
                  <a:pt x="18412" y="18655"/>
                  <a:pt x="18225" y="18655"/>
                </a:cubicBezTo>
                <a:cubicBezTo>
                  <a:pt x="18039" y="18655"/>
                  <a:pt x="17870" y="18710"/>
                  <a:pt x="17748" y="18798"/>
                </a:cubicBezTo>
                <a:lnTo>
                  <a:pt x="15525" y="20415"/>
                </a:lnTo>
                <a:lnTo>
                  <a:pt x="13302" y="18798"/>
                </a:lnTo>
                <a:cubicBezTo>
                  <a:pt x="13180" y="18710"/>
                  <a:pt x="13012" y="18655"/>
                  <a:pt x="12825" y="18655"/>
                </a:cubicBezTo>
                <a:cubicBezTo>
                  <a:pt x="12604" y="18655"/>
                  <a:pt x="12418" y="18737"/>
                  <a:pt x="12294" y="18856"/>
                </a:cubicBezTo>
                <a:lnTo>
                  <a:pt x="12285" y="18851"/>
                </a:lnTo>
                <a:lnTo>
                  <a:pt x="10800" y="20291"/>
                </a:lnTo>
                <a:lnTo>
                  <a:pt x="9315" y="18851"/>
                </a:lnTo>
                <a:lnTo>
                  <a:pt x="9306" y="18856"/>
                </a:lnTo>
                <a:cubicBezTo>
                  <a:pt x="9182" y="18737"/>
                  <a:pt x="8996" y="18655"/>
                  <a:pt x="8775" y="18655"/>
                </a:cubicBezTo>
                <a:cubicBezTo>
                  <a:pt x="8589" y="18655"/>
                  <a:pt x="8420" y="18710"/>
                  <a:pt x="8298" y="18798"/>
                </a:cubicBezTo>
                <a:lnTo>
                  <a:pt x="6075" y="20415"/>
                </a:lnTo>
                <a:lnTo>
                  <a:pt x="3852" y="18798"/>
                </a:lnTo>
                <a:cubicBezTo>
                  <a:pt x="3730" y="18710"/>
                  <a:pt x="3562" y="18655"/>
                  <a:pt x="3375" y="18655"/>
                </a:cubicBezTo>
                <a:cubicBezTo>
                  <a:pt x="3188" y="18655"/>
                  <a:pt x="3020" y="18710"/>
                  <a:pt x="2898" y="18798"/>
                </a:cubicBezTo>
                <a:lnTo>
                  <a:pt x="1350" y="19924"/>
                </a:lnTo>
                <a:lnTo>
                  <a:pt x="1350" y="982"/>
                </a:lnTo>
                <a:lnTo>
                  <a:pt x="20250" y="982"/>
                </a:lnTo>
                <a:cubicBezTo>
                  <a:pt x="20250" y="982"/>
                  <a:pt x="20250" y="19924"/>
                  <a:pt x="20250" y="19924"/>
                </a:cubicBezTo>
                <a:close/>
                <a:moveTo>
                  <a:pt x="20925" y="0"/>
                </a:moveTo>
                <a:lnTo>
                  <a:pt x="675" y="0"/>
                </a:lnTo>
                <a:cubicBezTo>
                  <a:pt x="302" y="0"/>
                  <a:pt x="0" y="220"/>
                  <a:pt x="0" y="491"/>
                </a:cubicBezTo>
                <a:lnTo>
                  <a:pt x="0" y="21109"/>
                </a:lnTo>
                <a:cubicBezTo>
                  <a:pt x="0" y="21380"/>
                  <a:pt x="302" y="21600"/>
                  <a:pt x="675" y="21600"/>
                </a:cubicBezTo>
                <a:cubicBezTo>
                  <a:pt x="862" y="21600"/>
                  <a:pt x="1031" y="21545"/>
                  <a:pt x="1152" y="21456"/>
                </a:cubicBezTo>
                <a:lnTo>
                  <a:pt x="3375" y="19840"/>
                </a:lnTo>
                <a:lnTo>
                  <a:pt x="5598" y="21456"/>
                </a:lnTo>
                <a:cubicBezTo>
                  <a:pt x="5720" y="21545"/>
                  <a:pt x="5888" y="21600"/>
                  <a:pt x="6075" y="21600"/>
                </a:cubicBezTo>
                <a:cubicBezTo>
                  <a:pt x="6262" y="21600"/>
                  <a:pt x="6431" y="21545"/>
                  <a:pt x="6552" y="21456"/>
                </a:cubicBezTo>
                <a:lnTo>
                  <a:pt x="8702" y="19893"/>
                </a:lnTo>
                <a:lnTo>
                  <a:pt x="10260" y="21404"/>
                </a:lnTo>
                <a:lnTo>
                  <a:pt x="10269" y="21399"/>
                </a:lnTo>
                <a:cubicBezTo>
                  <a:pt x="10393" y="21518"/>
                  <a:pt x="10579" y="21600"/>
                  <a:pt x="10800" y="21600"/>
                </a:cubicBezTo>
                <a:cubicBezTo>
                  <a:pt x="11021" y="21600"/>
                  <a:pt x="11207" y="21518"/>
                  <a:pt x="11331" y="21399"/>
                </a:cubicBezTo>
                <a:lnTo>
                  <a:pt x="11340" y="21404"/>
                </a:lnTo>
                <a:lnTo>
                  <a:pt x="12898" y="19893"/>
                </a:lnTo>
                <a:lnTo>
                  <a:pt x="15048" y="21456"/>
                </a:lnTo>
                <a:cubicBezTo>
                  <a:pt x="15170" y="21545"/>
                  <a:pt x="15338" y="21600"/>
                  <a:pt x="15525" y="21600"/>
                </a:cubicBezTo>
                <a:cubicBezTo>
                  <a:pt x="15712" y="21600"/>
                  <a:pt x="15881" y="21545"/>
                  <a:pt x="16002" y="21456"/>
                </a:cubicBezTo>
                <a:lnTo>
                  <a:pt x="18225" y="19840"/>
                </a:lnTo>
                <a:lnTo>
                  <a:pt x="20448" y="21456"/>
                </a:lnTo>
                <a:cubicBezTo>
                  <a:pt x="20570" y="21545"/>
                  <a:pt x="20738" y="21600"/>
                  <a:pt x="20925" y="21600"/>
                </a:cubicBezTo>
                <a:cubicBezTo>
                  <a:pt x="21298" y="21600"/>
                  <a:pt x="21600" y="21380"/>
                  <a:pt x="21600" y="21109"/>
                </a:cubicBezTo>
                <a:lnTo>
                  <a:pt x="21600" y="491"/>
                </a:lnTo>
                <a:cubicBezTo>
                  <a:pt x="21600" y="220"/>
                  <a:pt x="21298" y="0"/>
                  <a:pt x="20925" y="0"/>
                </a:cubicBezTo>
                <a:moveTo>
                  <a:pt x="16200" y="1964"/>
                </a:moveTo>
                <a:lnTo>
                  <a:pt x="14850" y="1964"/>
                </a:lnTo>
                <a:lnTo>
                  <a:pt x="14850" y="7855"/>
                </a:lnTo>
                <a:lnTo>
                  <a:pt x="16200" y="7855"/>
                </a:lnTo>
                <a:cubicBezTo>
                  <a:pt x="16200" y="7855"/>
                  <a:pt x="16200" y="1964"/>
                  <a:pt x="16200" y="1964"/>
                </a:cubicBezTo>
                <a:close/>
                <a:moveTo>
                  <a:pt x="18900" y="1964"/>
                </a:moveTo>
                <a:lnTo>
                  <a:pt x="17550" y="1964"/>
                </a:lnTo>
                <a:lnTo>
                  <a:pt x="17550" y="7855"/>
                </a:lnTo>
                <a:lnTo>
                  <a:pt x="18900" y="7855"/>
                </a:lnTo>
                <a:cubicBezTo>
                  <a:pt x="18900" y="7855"/>
                  <a:pt x="18900" y="1964"/>
                  <a:pt x="18900" y="1964"/>
                </a:cubicBezTo>
                <a:close/>
                <a:moveTo>
                  <a:pt x="10800" y="1964"/>
                </a:moveTo>
                <a:lnTo>
                  <a:pt x="9450" y="1964"/>
                </a:lnTo>
                <a:lnTo>
                  <a:pt x="9450" y="7855"/>
                </a:lnTo>
                <a:lnTo>
                  <a:pt x="10800" y="7855"/>
                </a:lnTo>
                <a:cubicBezTo>
                  <a:pt x="10800" y="7855"/>
                  <a:pt x="10800" y="1964"/>
                  <a:pt x="10800" y="1964"/>
                </a:cubicBezTo>
                <a:close/>
                <a:moveTo>
                  <a:pt x="8100" y="1964"/>
                </a:moveTo>
                <a:lnTo>
                  <a:pt x="5400" y="1964"/>
                </a:lnTo>
                <a:lnTo>
                  <a:pt x="5400" y="7855"/>
                </a:lnTo>
                <a:lnTo>
                  <a:pt x="8100" y="7855"/>
                </a:lnTo>
                <a:cubicBezTo>
                  <a:pt x="8100" y="7855"/>
                  <a:pt x="8100" y="1964"/>
                  <a:pt x="8100" y="1964"/>
                </a:cubicBezTo>
                <a:close/>
                <a:moveTo>
                  <a:pt x="13500" y="1964"/>
                </a:moveTo>
                <a:lnTo>
                  <a:pt x="12150" y="1964"/>
                </a:lnTo>
                <a:lnTo>
                  <a:pt x="12150" y="7855"/>
                </a:lnTo>
                <a:lnTo>
                  <a:pt x="13500" y="7855"/>
                </a:lnTo>
                <a:cubicBezTo>
                  <a:pt x="13500" y="7855"/>
                  <a:pt x="13500" y="1964"/>
                  <a:pt x="13500"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8" name="Shape 2828"/>
          <p:cNvSpPr/>
          <p:nvPr/>
        </p:nvSpPr>
        <p:spPr>
          <a:xfrm>
            <a:off x="7890449"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2400" y="13745"/>
                </a:lnTo>
                <a:lnTo>
                  <a:pt x="2400" y="14727"/>
                </a:lnTo>
                <a:lnTo>
                  <a:pt x="14400" y="14727"/>
                </a:lnTo>
                <a:cubicBezTo>
                  <a:pt x="14400" y="14727"/>
                  <a:pt x="14400" y="13745"/>
                  <a:pt x="14400" y="13745"/>
                </a:cubicBezTo>
                <a:close/>
                <a:moveTo>
                  <a:pt x="15600" y="20092"/>
                </a:moveTo>
                <a:lnTo>
                  <a:pt x="13624" y="18798"/>
                </a:lnTo>
                <a:cubicBezTo>
                  <a:pt x="13515" y="18710"/>
                  <a:pt x="13366" y="18655"/>
                  <a:pt x="13200" y="18655"/>
                </a:cubicBezTo>
                <a:cubicBezTo>
                  <a:pt x="13035" y="18655"/>
                  <a:pt x="12885" y="18710"/>
                  <a:pt x="12776" y="18798"/>
                </a:cubicBezTo>
                <a:lnTo>
                  <a:pt x="10800" y="20415"/>
                </a:lnTo>
                <a:lnTo>
                  <a:pt x="8824" y="18798"/>
                </a:lnTo>
                <a:cubicBezTo>
                  <a:pt x="8716" y="18710"/>
                  <a:pt x="8566" y="18655"/>
                  <a:pt x="8400" y="18655"/>
                </a:cubicBezTo>
                <a:cubicBezTo>
                  <a:pt x="8235" y="18655"/>
                  <a:pt x="8085" y="18710"/>
                  <a:pt x="7976" y="18798"/>
                </a:cubicBezTo>
                <a:lnTo>
                  <a:pt x="6000" y="20415"/>
                </a:lnTo>
                <a:lnTo>
                  <a:pt x="4024" y="18798"/>
                </a:lnTo>
                <a:cubicBezTo>
                  <a:pt x="3915" y="18710"/>
                  <a:pt x="3766" y="18655"/>
                  <a:pt x="3600" y="18655"/>
                </a:cubicBezTo>
                <a:cubicBezTo>
                  <a:pt x="3435" y="18655"/>
                  <a:pt x="3285" y="18710"/>
                  <a:pt x="3176" y="18798"/>
                </a:cubicBezTo>
                <a:lnTo>
                  <a:pt x="1200" y="20092"/>
                </a:lnTo>
                <a:lnTo>
                  <a:pt x="1200" y="3927"/>
                </a:lnTo>
                <a:lnTo>
                  <a:pt x="15600" y="3927"/>
                </a:lnTo>
                <a:cubicBezTo>
                  <a:pt x="15600" y="3927"/>
                  <a:pt x="15600" y="20092"/>
                  <a:pt x="15600" y="20092"/>
                </a:cubicBezTo>
                <a:close/>
                <a:moveTo>
                  <a:pt x="16200" y="2945"/>
                </a:moveTo>
                <a:lnTo>
                  <a:pt x="600" y="2945"/>
                </a:lnTo>
                <a:cubicBezTo>
                  <a:pt x="268" y="2945"/>
                  <a:pt x="0" y="3165"/>
                  <a:pt x="0" y="3436"/>
                </a:cubicBezTo>
                <a:lnTo>
                  <a:pt x="0" y="21109"/>
                </a:lnTo>
                <a:cubicBezTo>
                  <a:pt x="0" y="21380"/>
                  <a:pt x="268" y="21600"/>
                  <a:pt x="600" y="21600"/>
                </a:cubicBezTo>
                <a:cubicBezTo>
                  <a:pt x="766" y="21600"/>
                  <a:pt x="916" y="21545"/>
                  <a:pt x="1024" y="21456"/>
                </a:cubicBezTo>
                <a:lnTo>
                  <a:pt x="3553" y="19801"/>
                </a:lnTo>
                <a:lnTo>
                  <a:pt x="5576" y="21456"/>
                </a:lnTo>
                <a:cubicBezTo>
                  <a:pt x="5684" y="21545"/>
                  <a:pt x="5834" y="21600"/>
                  <a:pt x="6000" y="21600"/>
                </a:cubicBezTo>
                <a:cubicBezTo>
                  <a:pt x="6166" y="21600"/>
                  <a:pt x="6316" y="21545"/>
                  <a:pt x="6424" y="21456"/>
                </a:cubicBezTo>
                <a:lnTo>
                  <a:pt x="8400" y="19840"/>
                </a:lnTo>
                <a:lnTo>
                  <a:pt x="10376" y="21456"/>
                </a:lnTo>
                <a:cubicBezTo>
                  <a:pt x="10484" y="21545"/>
                  <a:pt x="10634" y="21600"/>
                  <a:pt x="10800" y="21600"/>
                </a:cubicBezTo>
                <a:cubicBezTo>
                  <a:pt x="10966" y="21600"/>
                  <a:pt x="11116" y="21545"/>
                  <a:pt x="11224" y="21456"/>
                </a:cubicBezTo>
                <a:lnTo>
                  <a:pt x="13247" y="19801"/>
                </a:lnTo>
                <a:lnTo>
                  <a:pt x="15776" y="21456"/>
                </a:lnTo>
                <a:cubicBezTo>
                  <a:pt x="15884" y="21545"/>
                  <a:pt x="16034" y="21600"/>
                  <a:pt x="16200" y="21600"/>
                </a:cubicBezTo>
                <a:cubicBezTo>
                  <a:pt x="16532" y="21600"/>
                  <a:pt x="16800" y="21380"/>
                  <a:pt x="16800" y="21109"/>
                </a:cubicBezTo>
                <a:lnTo>
                  <a:pt x="16800" y="3436"/>
                </a:lnTo>
                <a:cubicBezTo>
                  <a:pt x="16800" y="3165"/>
                  <a:pt x="16532" y="2945"/>
                  <a:pt x="16200" y="2945"/>
                </a:cubicBezTo>
                <a:moveTo>
                  <a:pt x="8400" y="11782"/>
                </a:moveTo>
                <a:lnTo>
                  <a:pt x="2400" y="11782"/>
                </a:lnTo>
                <a:lnTo>
                  <a:pt x="2400" y="12764"/>
                </a:lnTo>
                <a:lnTo>
                  <a:pt x="8400" y="12764"/>
                </a:lnTo>
                <a:cubicBezTo>
                  <a:pt x="8400" y="12764"/>
                  <a:pt x="8400" y="11782"/>
                  <a:pt x="8400" y="11782"/>
                </a:cubicBezTo>
                <a:close/>
                <a:moveTo>
                  <a:pt x="21000" y="0"/>
                </a:moveTo>
                <a:lnTo>
                  <a:pt x="5400" y="0"/>
                </a:lnTo>
                <a:cubicBezTo>
                  <a:pt x="5068" y="0"/>
                  <a:pt x="4800" y="220"/>
                  <a:pt x="4800" y="491"/>
                </a:cubicBezTo>
                <a:lnTo>
                  <a:pt x="4800" y="1964"/>
                </a:lnTo>
                <a:lnTo>
                  <a:pt x="6000" y="1964"/>
                </a:lnTo>
                <a:lnTo>
                  <a:pt x="6000" y="982"/>
                </a:lnTo>
                <a:lnTo>
                  <a:pt x="20400" y="982"/>
                </a:lnTo>
                <a:lnTo>
                  <a:pt x="20400" y="17146"/>
                </a:lnTo>
                <a:lnTo>
                  <a:pt x="18424" y="15853"/>
                </a:lnTo>
                <a:cubicBezTo>
                  <a:pt x="18316" y="15764"/>
                  <a:pt x="18166" y="15709"/>
                  <a:pt x="18000" y="15709"/>
                </a:cubicBezTo>
                <a:lnTo>
                  <a:pt x="18000" y="16894"/>
                </a:lnTo>
                <a:lnTo>
                  <a:pt x="18047" y="16856"/>
                </a:lnTo>
                <a:lnTo>
                  <a:pt x="20576" y="18511"/>
                </a:lnTo>
                <a:cubicBezTo>
                  <a:pt x="20684" y="18599"/>
                  <a:pt x="20834" y="18655"/>
                  <a:pt x="21000" y="18655"/>
                </a:cubicBezTo>
                <a:cubicBezTo>
                  <a:pt x="21332" y="18655"/>
                  <a:pt x="21600" y="18435"/>
                  <a:pt x="21600" y="18164"/>
                </a:cubicBezTo>
                <a:lnTo>
                  <a:pt x="21600" y="491"/>
                </a:lnTo>
                <a:cubicBezTo>
                  <a:pt x="21600" y="220"/>
                  <a:pt x="21332" y="0"/>
                  <a:pt x="21000" y="0"/>
                </a:cubicBezTo>
                <a:moveTo>
                  <a:pt x="10800" y="15709"/>
                </a:moveTo>
                <a:lnTo>
                  <a:pt x="2400" y="15709"/>
                </a:lnTo>
                <a:lnTo>
                  <a:pt x="2400" y="16691"/>
                </a:lnTo>
                <a:lnTo>
                  <a:pt x="10800" y="16691"/>
                </a:lnTo>
                <a:cubicBezTo>
                  <a:pt x="10800" y="16691"/>
                  <a:pt x="10800" y="15709"/>
                  <a:pt x="10800" y="15709"/>
                </a:cubicBezTo>
                <a:close/>
                <a:moveTo>
                  <a:pt x="12000" y="4909"/>
                </a:moveTo>
                <a:lnTo>
                  <a:pt x="10800" y="4909"/>
                </a:lnTo>
                <a:lnTo>
                  <a:pt x="10800" y="9818"/>
                </a:lnTo>
                <a:lnTo>
                  <a:pt x="12000" y="9818"/>
                </a:lnTo>
                <a:cubicBezTo>
                  <a:pt x="12000" y="9818"/>
                  <a:pt x="12000" y="4909"/>
                  <a:pt x="12000" y="4909"/>
                </a:cubicBezTo>
                <a:close/>
                <a:moveTo>
                  <a:pt x="14400" y="4909"/>
                </a:moveTo>
                <a:lnTo>
                  <a:pt x="13200" y="4909"/>
                </a:lnTo>
                <a:lnTo>
                  <a:pt x="13200" y="9818"/>
                </a:lnTo>
                <a:lnTo>
                  <a:pt x="14400" y="9818"/>
                </a:lnTo>
                <a:cubicBezTo>
                  <a:pt x="14400" y="9818"/>
                  <a:pt x="14400" y="4909"/>
                  <a:pt x="14400" y="4909"/>
                </a:cubicBezTo>
                <a:close/>
                <a:moveTo>
                  <a:pt x="7200" y="4909"/>
                </a:moveTo>
                <a:lnTo>
                  <a:pt x="4800" y="4909"/>
                </a:lnTo>
                <a:lnTo>
                  <a:pt x="4800" y="9818"/>
                </a:lnTo>
                <a:lnTo>
                  <a:pt x="7200" y="9818"/>
                </a:lnTo>
                <a:cubicBezTo>
                  <a:pt x="7200" y="9818"/>
                  <a:pt x="7200" y="4909"/>
                  <a:pt x="7200" y="4909"/>
                </a:cubicBezTo>
                <a:close/>
                <a:moveTo>
                  <a:pt x="3600" y="4909"/>
                </a:moveTo>
                <a:lnTo>
                  <a:pt x="2400" y="4909"/>
                </a:lnTo>
                <a:lnTo>
                  <a:pt x="2400" y="9818"/>
                </a:lnTo>
                <a:lnTo>
                  <a:pt x="3600" y="9818"/>
                </a:lnTo>
                <a:cubicBezTo>
                  <a:pt x="3600" y="9818"/>
                  <a:pt x="3600" y="4909"/>
                  <a:pt x="3600" y="4909"/>
                </a:cubicBezTo>
                <a:close/>
                <a:moveTo>
                  <a:pt x="9600" y="4909"/>
                </a:moveTo>
                <a:lnTo>
                  <a:pt x="8400" y="4909"/>
                </a:lnTo>
                <a:lnTo>
                  <a:pt x="8400" y="9818"/>
                </a:lnTo>
                <a:lnTo>
                  <a:pt x="9600" y="9818"/>
                </a:lnTo>
                <a:cubicBezTo>
                  <a:pt x="9600" y="9818"/>
                  <a:pt x="9600" y="4909"/>
                  <a:pt x="9600"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9" name="Shape 2829"/>
          <p:cNvSpPr/>
          <p:nvPr/>
        </p:nvSpPr>
        <p:spPr>
          <a:xfrm>
            <a:off x="827135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6"/>
                  <a:pt x="9987" y="13745"/>
                  <a:pt x="10800" y="13745"/>
                </a:cubicBezTo>
                <a:cubicBezTo>
                  <a:pt x="11613" y="13745"/>
                  <a:pt x="12273" y="13086"/>
                  <a:pt x="12273" y="12273"/>
                </a:cubicBezTo>
                <a:cubicBezTo>
                  <a:pt x="12273" y="11460"/>
                  <a:pt x="11613" y="10800"/>
                  <a:pt x="10800" y="10800"/>
                </a:cubicBezTo>
                <a:moveTo>
                  <a:pt x="20469" y="11563"/>
                </a:moveTo>
                <a:lnTo>
                  <a:pt x="19745" y="13686"/>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0"/>
                </a:moveTo>
                <a:cubicBezTo>
                  <a:pt x="17636" y="19861"/>
                  <a:pt x="17438" y="20618"/>
                  <a:pt x="16691" y="20618"/>
                </a:cubicBezTo>
                <a:lnTo>
                  <a:pt x="4909" y="20618"/>
                </a:lnTo>
                <a:cubicBezTo>
                  <a:pt x="4169" y="20618"/>
                  <a:pt x="3960" y="19860"/>
                  <a:pt x="3960" y="19860"/>
                </a:cubicBezTo>
                <a:lnTo>
                  <a:pt x="2196" y="14687"/>
                </a:lnTo>
                <a:cubicBezTo>
                  <a:pt x="4567" y="15928"/>
                  <a:pt x="7651" y="16691"/>
                  <a:pt x="11045" y="16691"/>
                </a:cubicBezTo>
                <a:cubicBezTo>
                  <a:pt x="14163" y="16691"/>
                  <a:pt x="17019" y="16046"/>
                  <a:pt x="19304" y="14981"/>
                </a:cubicBezTo>
                <a:cubicBezTo>
                  <a:pt x="19304" y="14981"/>
                  <a:pt x="17640" y="19860"/>
                  <a:pt x="17640" y="19860"/>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4"/>
                  <a:pt x="21600" y="11126"/>
                  <a:pt x="21600" y="10800"/>
                </a:cubicBezTo>
                <a:cubicBezTo>
                  <a:pt x="21600" y="9174"/>
                  <a:pt x="20281" y="7855"/>
                  <a:pt x="1865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1" name="Shape 2831"/>
          <p:cNvSpPr/>
          <p:nvPr/>
        </p:nvSpPr>
        <p:spPr>
          <a:xfrm>
            <a:off x="689212"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moveTo>
                  <a:pt x="5400" y="12764"/>
                </a:moveTo>
                <a:cubicBezTo>
                  <a:pt x="5028" y="12764"/>
                  <a:pt x="4725" y="12983"/>
                  <a:pt x="4725" y="13255"/>
                </a:cubicBezTo>
                <a:cubicBezTo>
                  <a:pt x="4725" y="13390"/>
                  <a:pt x="4800" y="13513"/>
                  <a:pt x="4923" y="13602"/>
                </a:cubicBezTo>
                <a:lnTo>
                  <a:pt x="10323" y="17529"/>
                </a:lnTo>
                <a:cubicBezTo>
                  <a:pt x="10445" y="17618"/>
                  <a:pt x="10614" y="17673"/>
                  <a:pt x="10800" y="17673"/>
                </a:cubicBezTo>
                <a:cubicBezTo>
                  <a:pt x="10986" y="17673"/>
                  <a:pt x="11155" y="17618"/>
                  <a:pt x="11277" y="17529"/>
                </a:cubicBezTo>
                <a:lnTo>
                  <a:pt x="16677" y="13602"/>
                </a:lnTo>
                <a:cubicBezTo>
                  <a:pt x="16800" y="13513"/>
                  <a:pt x="16875" y="13390"/>
                  <a:pt x="16875" y="13255"/>
                </a:cubicBezTo>
                <a:cubicBezTo>
                  <a:pt x="16875" y="12983"/>
                  <a:pt x="16572" y="12764"/>
                  <a:pt x="16200" y="12764"/>
                </a:cubicBezTo>
                <a:cubicBezTo>
                  <a:pt x="16014" y="12764"/>
                  <a:pt x="15845" y="12819"/>
                  <a:pt x="15723" y="12907"/>
                </a:cubicBezTo>
                <a:lnTo>
                  <a:pt x="11475" y="15997"/>
                </a:lnTo>
                <a:lnTo>
                  <a:pt x="11475" y="491"/>
                </a:lnTo>
                <a:cubicBezTo>
                  <a:pt x="11475" y="220"/>
                  <a:pt x="11172" y="0"/>
                  <a:pt x="10800" y="0"/>
                </a:cubicBezTo>
                <a:cubicBezTo>
                  <a:pt x="10428" y="0"/>
                  <a:pt x="10125" y="220"/>
                  <a:pt x="10125" y="491"/>
                </a:cubicBezTo>
                <a:lnTo>
                  <a:pt x="10125" y="15997"/>
                </a:lnTo>
                <a:lnTo>
                  <a:pt x="5877" y="12907"/>
                </a:lnTo>
                <a:cubicBezTo>
                  <a:pt x="5755" y="12819"/>
                  <a:pt x="5586" y="12764"/>
                  <a:pt x="54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2" name="Shape 2832"/>
          <p:cNvSpPr/>
          <p:nvPr/>
        </p:nvSpPr>
        <p:spPr>
          <a:xfrm>
            <a:off x="1089158"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3" name="Shape 2833"/>
          <p:cNvSpPr/>
          <p:nvPr/>
        </p:nvSpPr>
        <p:spPr>
          <a:xfrm>
            <a:off x="146053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moveTo>
                  <a:pt x="7140" y="14181"/>
                </a:moveTo>
                <a:cubicBezTo>
                  <a:pt x="6970" y="13741"/>
                  <a:pt x="6873" y="13264"/>
                  <a:pt x="6873" y="12764"/>
                </a:cubicBezTo>
                <a:cubicBezTo>
                  <a:pt x="6873" y="10595"/>
                  <a:pt x="8631" y="8836"/>
                  <a:pt x="10800" y="8836"/>
                </a:cubicBezTo>
                <a:cubicBezTo>
                  <a:pt x="11300" y="8836"/>
                  <a:pt x="11777" y="8934"/>
                  <a:pt x="12217" y="9104"/>
                </a:cubicBezTo>
                <a:lnTo>
                  <a:pt x="13217" y="8494"/>
                </a:lnTo>
                <a:cubicBezTo>
                  <a:pt x="12503" y="8089"/>
                  <a:pt x="11680" y="7855"/>
                  <a:pt x="10800" y="7855"/>
                </a:cubicBezTo>
                <a:cubicBezTo>
                  <a:pt x="8089" y="7855"/>
                  <a:pt x="5891" y="10053"/>
                  <a:pt x="5891" y="12764"/>
                </a:cubicBezTo>
                <a:cubicBezTo>
                  <a:pt x="5891" y="13643"/>
                  <a:pt x="6125" y="14467"/>
                  <a:pt x="6530" y="15181"/>
                </a:cubicBezTo>
                <a:cubicBezTo>
                  <a:pt x="6530" y="15181"/>
                  <a:pt x="7140" y="14181"/>
                  <a:pt x="7140" y="14181"/>
                </a:cubicBezTo>
                <a:close/>
                <a:moveTo>
                  <a:pt x="14460" y="11347"/>
                </a:moveTo>
                <a:cubicBezTo>
                  <a:pt x="14630" y="11787"/>
                  <a:pt x="14727" y="12263"/>
                  <a:pt x="14727" y="12764"/>
                </a:cubicBezTo>
                <a:cubicBezTo>
                  <a:pt x="14727" y="14932"/>
                  <a:pt x="12969" y="16691"/>
                  <a:pt x="10800" y="16691"/>
                </a:cubicBezTo>
                <a:cubicBezTo>
                  <a:pt x="10300" y="16691"/>
                  <a:pt x="9823" y="16594"/>
                  <a:pt x="9383" y="16423"/>
                </a:cubicBezTo>
                <a:lnTo>
                  <a:pt x="8383" y="17034"/>
                </a:lnTo>
                <a:cubicBezTo>
                  <a:pt x="9097" y="17439"/>
                  <a:pt x="9920" y="17673"/>
                  <a:pt x="10800" y="17673"/>
                </a:cubicBezTo>
                <a:cubicBezTo>
                  <a:pt x="13511" y="17673"/>
                  <a:pt x="15709" y="15475"/>
                  <a:pt x="15709" y="12764"/>
                </a:cubicBezTo>
                <a:cubicBezTo>
                  <a:pt x="15709" y="11884"/>
                  <a:pt x="15475" y="11061"/>
                  <a:pt x="15070" y="10346"/>
                </a:cubicBezTo>
                <a:cubicBezTo>
                  <a:pt x="15070" y="10346"/>
                  <a:pt x="14460" y="11347"/>
                  <a:pt x="14460" y="11347"/>
                </a:cubicBezTo>
                <a:close/>
                <a:moveTo>
                  <a:pt x="10453" y="12417"/>
                </a:moveTo>
                <a:cubicBezTo>
                  <a:pt x="10645" y="12225"/>
                  <a:pt x="10955" y="12225"/>
                  <a:pt x="11147" y="12417"/>
                </a:cubicBezTo>
                <a:cubicBezTo>
                  <a:pt x="11339" y="12609"/>
                  <a:pt x="11339" y="12919"/>
                  <a:pt x="11147" y="13111"/>
                </a:cubicBezTo>
                <a:cubicBezTo>
                  <a:pt x="10955" y="13303"/>
                  <a:pt x="10645" y="13303"/>
                  <a:pt x="10453" y="13111"/>
                </a:cubicBezTo>
                <a:cubicBezTo>
                  <a:pt x="10261" y="12919"/>
                  <a:pt x="10261" y="12609"/>
                  <a:pt x="10453" y="12417"/>
                </a:cubicBezTo>
                <a:moveTo>
                  <a:pt x="6144" y="17420"/>
                </a:moveTo>
                <a:lnTo>
                  <a:pt x="11842" y="13805"/>
                </a:lnTo>
                <a:lnTo>
                  <a:pt x="15456" y="8107"/>
                </a:lnTo>
                <a:lnTo>
                  <a:pt x="9759" y="11722"/>
                </a:lnTo>
                <a:cubicBezTo>
                  <a:pt x="9759" y="11722"/>
                  <a:pt x="6144" y="17420"/>
                  <a:pt x="6144" y="174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4" name="Shape 2834"/>
          <p:cNvSpPr/>
          <p:nvPr/>
        </p:nvSpPr>
        <p:spPr>
          <a:xfrm>
            <a:off x="18604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5" name="Shape 2835"/>
          <p:cNvSpPr/>
          <p:nvPr/>
        </p:nvSpPr>
        <p:spPr>
          <a:xfrm>
            <a:off x="226042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6" name="Shape 2836"/>
          <p:cNvSpPr/>
          <p:nvPr/>
        </p:nvSpPr>
        <p:spPr>
          <a:xfrm>
            <a:off x="2660374" y="252685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7" name="Shape 2837"/>
          <p:cNvSpPr/>
          <p:nvPr/>
        </p:nvSpPr>
        <p:spPr>
          <a:xfrm>
            <a:off x="3060320" y="2522092"/>
            <a:ext cx="209495" cy="161883"/>
          </a:xfrm>
          <a:custGeom>
            <a:avLst/>
            <a:gdLst/>
            <a:ahLst/>
            <a:cxnLst>
              <a:cxn ang="0">
                <a:pos x="wd2" y="hd2"/>
              </a:cxn>
              <a:cxn ang="5400000">
                <a:pos x="wd2" y="hd2"/>
              </a:cxn>
              <a:cxn ang="10800000">
                <a:pos x="wd2" y="hd2"/>
              </a:cxn>
              <a:cxn ang="16200000">
                <a:pos x="wd2" y="hd2"/>
              </a:cxn>
            </a:cxnLst>
            <a:rect l="0" t="0" r="r" b="b"/>
            <a:pathLst>
              <a:path w="21600" h="21600" extrusionOk="0">
                <a:moveTo>
                  <a:pt x="16691" y="18667"/>
                </a:moveTo>
                <a:lnTo>
                  <a:pt x="12576" y="13341"/>
                </a:lnTo>
                <a:lnTo>
                  <a:pt x="16691" y="8016"/>
                </a:lnTo>
                <a:cubicBezTo>
                  <a:pt x="16691" y="8016"/>
                  <a:pt x="16691" y="18667"/>
                  <a:pt x="16691" y="18667"/>
                </a:cubicBezTo>
                <a:close/>
                <a:moveTo>
                  <a:pt x="15709" y="20329"/>
                </a:moveTo>
                <a:lnTo>
                  <a:pt x="1964" y="20329"/>
                </a:lnTo>
                <a:cubicBezTo>
                  <a:pt x="1719" y="20329"/>
                  <a:pt x="1498" y="20210"/>
                  <a:pt x="1326" y="20018"/>
                </a:cubicBezTo>
                <a:lnTo>
                  <a:pt x="5791" y="14240"/>
                </a:lnTo>
                <a:lnTo>
                  <a:pt x="7477" y="16421"/>
                </a:lnTo>
                <a:cubicBezTo>
                  <a:pt x="7853" y="16907"/>
                  <a:pt x="8344" y="17150"/>
                  <a:pt x="8836" y="17150"/>
                </a:cubicBezTo>
                <a:cubicBezTo>
                  <a:pt x="9329" y="17150"/>
                  <a:pt x="9821" y="16907"/>
                  <a:pt x="10195" y="16421"/>
                </a:cubicBezTo>
                <a:lnTo>
                  <a:pt x="11882" y="14240"/>
                </a:lnTo>
                <a:lnTo>
                  <a:pt x="16347" y="20018"/>
                </a:lnTo>
                <a:cubicBezTo>
                  <a:pt x="16175" y="20210"/>
                  <a:pt x="15954" y="20329"/>
                  <a:pt x="15709" y="20329"/>
                </a:cubicBezTo>
                <a:moveTo>
                  <a:pt x="982" y="8016"/>
                </a:moveTo>
                <a:lnTo>
                  <a:pt x="5097" y="13341"/>
                </a:lnTo>
                <a:lnTo>
                  <a:pt x="982" y="18667"/>
                </a:lnTo>
                <a:cubicBezTo>
                  <a:pt x="982" y="18667"/>
                  <a:pt x="982" y="8016"/>
                  <a:pt x="982" y="8016"/>
                </a:cubicBezTo>
                <a:close/>
                <a:moveTo>
                  <a:pt x="1964" y="6353"/>
                </a:moveTo>
                <a:lnTo>
                  <a:pt x="15709" y="6353"/>
                </a:lnTo>
                <a:cubicBezTo>
                  <a:pt x="15954" y="6353"/>
                  <a:pt x="16175" y="6474"/>
                  <a:pt x="16347" y="6665"/>
                </a:cubicBezTo>
                <a:lnTo>
                  <a:pt x="9502" y="15523"/>
                </a:lnTo>
                <a:cubicBezTo>
                  <a:pt x="9324" y="15752"/>
                  <a:pt x="9088" y="15880"/>
                  <a:pt x="8836" y="15880"/>
                </a:cubicBezTo>
                <a:cubicBezTo>
                  <a:pt x="8585" y="15880"/>
                  <a:pt x="8349" y="15752"/>
                  <a:pt x="8170" y="15523"/>
                </a:cubicBezTo>
                <a:lnTo>
                  <a:pt x="1326" y="6664"/>
                </a:lnTo>
                <a:cubicBezTo>
                  <a:pt x="1498" y="6474"/>
                  <a:pt x="1719" y="6353"/>
                  <a:pt x="1964" y="6353"/>
                </a:cubicBezTo>
                <a:moveTo>
                  <a:pt x="15709" y="5082"/>
                </a:moveTo>
                <a:lnTo>
                  <a:pt x="1964" y="5082"/>
                </a:lnTo>
                <a:cubicBezTo>
                  <a:pt x="879" y="5082"/>
                  <a:pt x="0" y="6220"/>
                  <a:pt x="0" y="7624"/>
                </a:cubicBezTo>
                <a:lnTo>
                  <a:pt x="0" y="19059"/>
                </a:lnTo>
                <a:cubicBezTo>
                  <a:pt x="0" y="20462"/>
                  <a:pt x="879" y="21600"/>
                  <a:pt x="1964" y="21600"/>
                </a:cubicBezTo>
                <a:lnTo>
                  <a:pt x="15709" y="21600"/>
                </a:lnTo>
                <a:cubicBezTo>
                  <a:pt x="16794" y="21600"/>
                  <a:pt x="17673" y="20462"/>
                  <a:pt x="17673" y="19059"/>
                </a:cubicBezTo>
                <a:lnTo>
                  <a:pt x="17673" y="7624"/>
                </a:lnTo>
                <a:cubicBezTo>
                  <a:pt x="17673" y="6220"/>
                  <a:pt x="16794" y="5082"/>
                  <a:pt x="15709" y="5082"/>
                </a:cubicBezTo>
                <a:moveTo>
                  <a:pt x="19636" y="0"/>
                </a:moveTo>
                <a:lnTo>
                  <a:pt x="5891" y="0"/>
                </a:lnTo>
                <a:cubicBezTo>
                  <a:pt x="4806" y="0"/>
                  <a:pt x="3927" y="1138"/>
                  <a:pt x="3927" y="2541"/>
                </a:cubicBezTo>
                <a:lnTo>
                  <a:pt x="3927" y="3176"/>
                </a:lnTo>
                <a:cubicBezTo>
                  <a:pt x="3927" y="3528"/>
                  <a:pt x="4147" y="3812"/>
                  <a:pt x="4418" y="3812"/>
                </a:cubicBezTo>
                <a:cubicBezTo>
                  <a:pt x="4690" y="3812"/>
                  <a:pt x="4909" y="3528"/>
                  <a:pt x="4909" y="3176"/>
                </a:cubicBezTo>
                <a:lnTo>
                  <a:pt x="4909" y="2541"/>
                </a:lnTo>
                <a:cubicBezTo>
                  <a:pt x="4909" y="1840"/>
                  <a:pt x="5348" y="1271"/>
                  <a:pt x="5891" y="1271"/>
                </a:cubicBezTo>
                <a:lnTo>
                  <a:pt x="19636" y="1271"/>
                </a:lnTo>
                <a:cubicBezTo>
                  <a:pt x="20178" y="1271"/>
                  <a:pt x="20618" y="1840"/>
                  <a:pt x="20618" y="2541"/>
                </a:cubicBezTo>
                <a:lnTo>
                  <a:pt x="20618" y="13976"/>
                </a:lnTo>
                <a:cubicBezTo>
                  <a:pt x="20618" y="14678"/>
                  <a:pt x="20178" y="15247"/>
                  <a:pt x="19636" y="15247"/>
                </a:cubicBezTo>
                <a:lnTo>
                  <a:pt x="19145" y="15247"/>
                </a:lnTo>
                <a:cubicBezTo>
                  <a:pt x="18874" y="15247"/>
                  <a:pt x="18655" y="15532"/>
                  <a:pt x="18655" y="15882"/>
                </a:cubicBezTo>
                <a:cubicBezTo>
                  <a:pt x="18655" y="16234"/>
                  <a:pt x="18874" y="16518"/>
                  <a:pt x="19145" y="16518"/>
                </a:cubicBezTo>
                <a:lnTo>
                  <a:pt x="19636" y="16518"/>
                </a:lnTo>
                <a:cubicBezTo>
                  <a:pt x="20721" y="16518"/>
                  <a:pt x="21600" y="15380"/>
                  <a:pt x="21600" y="13976"/>
                </a:cubicBezTo>
                <a:lnTo>
                  <a:pt x="21600" y="2541"/>
                </a:lnTo>
                <a:cubicBezTo>
                  <a:pt x="21600" y="1138"/>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8" name="Shape 2838"/>
          <p:cNvSpPr/>
          <p:nvPr/>
        </p:nvSpPr>
        <p:spPr>
          <a:xfrm>
            <a:off x="3460265" y="251733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9" name="Shape 2839"/>
          <p:cNvSpPr/>
          <p:nvPr/>
        </p:nvSpPr>
        <p:spPr>
          <a:xfrm>
            <a:off x="3860211"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0" name="Shape 2840"/>
          <p:cNvSpPr/>
          <p:nvPr/>
        </p:nvSpPr>
        <p:spPr>
          <a:xfrm>
            <a:off x="4260157"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1" name="Shape 2841"/>
          <p:cNvSpPr/>
          <p:nvPr/>
        </p:nvSpPr>
        <p:spPr>
          <a:xfrm>
            <a:off x="660644" y="291727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3" y="13200"/>
                </a:cubicBezTo>
                <a:lnTo>
                  <a:pt x="20618" y="13200"/>
                </a:lnTo>
                <a:cubicBezTo>
                  <a:pt x="20618" y="13200"/>
                  <a:pt x="20618" y="20400"/>
                  <a:pt x="20618" y="20400"/>
                </a:cubicBezTo>
                <a:close/>
                <a:moveTo>
                  <a:pt x="5703" y="1200"/>
                </a:moveTo>
                <a:lnTo>
                  <a:pt x="15897" y="1200"/>
                </a:lnTo>
                <a:lnTo>
                  <a:pt x="20315" y="12000"/>
                </a:lnTo>
                <a:lnTo>
                  <a:pt x="14236" y="12000"/>
                </a:lnTo>
                <a:cubicBezTo>
                  <a:pt x="13966" y="12000"/>
                  <a:pt x="13745" y="12269"/>
                  <a:pt x="13745" y="12600"/>
                </a:cubicBezTo>
                <a:cubicBezTo>
                  <a:pt x="13745" y="14588"/>
                  <a:pt x="12427" y="16200"/>
                  <a:pt x="10800" y="16200"/>
                </a:cubicBezTo>
                <a:cubicBezTo>
                  <a:pt x="9173" y="16200"/>
                  <a:pt x="7855" y="14588"/>
                  <a:pt x="7855" y="12600"/>
                </a:cubicBezTo>
                <a:cubicBezTo>
                  <a:pt x="7855" y="12269"/>
                  <a:pt x="7634" y="12000"/>
                  <a:pt x="7364" y="12000"/>
                </a:cubicBezTo>
                <a:lnTo>
                  <a:pt x="1285" y="12000"/>
                </a:lnTo>
                <a:cubicBezTo>
                  <a:pt x="1285" y="12000"/>
                  <a:pt x="5703" y="1200"/>
                  <a:pt x="5703" y="1200"/>
                </a:cubicBezTo>
                <a:close/>
                <a:moveTo>
                  <a:pt x="21543" y="12334"/>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4"/>
                </a:lnTo>
                <a:cubicBezTo>
                  <a:pt x="23" y="12416"/>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6"/>
                  <a:pt x="21543" y="12334"/>
                </a:cubicBezTo>
                <a:moveTo>
                  <a:pt x="16691" y="9000"/>
                </a:moveTo>
                <a:cubicBezTo>
                  <a:pt x="16691" y="8669"/>
                  <a:pt x="16471" y="8400"/>
                  <a:pt x="16200" y="8400"/>
                </a:cubicBezTo>
                <a:lnTo>
                  <a:pt x="5400" y="8400"/>
                </a:lnTo>
                <a:cubicBezTo>
                  <a:pt x="5129" y="8400"/>
                  <a:pt x="4909" y="8669"/>
                  <a:pt x="4909" y="9000"/>
                </a:cubicBezTo>
                <a:cubicBezTo>
                  <a:pt x="4909" y="9332"/>
                  <a:pt x="5129" y="9600"/>
                  <a:pt x="5400" y="9600"/>
                </a:cubicBezTo>
                <a:lnTo>
                  <a:pt x="16200" y="9600"/>
                </a:lnTo>
                <a:cubicBezTo>
                  <a:pt x="16471" y="9600"/>
                  <a:pt x="16691" y="9332"/>
                  <a:pt x="16691" y="9000"/>
                </a:cubicBezTo>
                <a:moveTo>
                  <a:pt x="6382" y="7200"/>
                </a:moveTo>
                <a:lnTo>
                  <a:pt x="15218" y="7200"/>
                </a:lnTo>
                <a:cubicBezTo>
                  <a:pt x="15489" y="7200"/>
                  <a:pt x="15709" y="6932"/>
                  <a:pt x="15709" y="6600"/>
                </a:cubicBezTo>
                <a:cubicBezTo>
                  <a:pt x="15709" y="6269"/>
                  <a:pt x="15489" y="6000"/>
                  <a:pt x="15218" y="6000"/>
                </a:cubicBezTo>
                <a:lnTo>
                  <a:pt x="6382" y="6000"/>
                </a:lnTo>
                <a:cubicBezTo>
                  <a:pt x="6111" y="6000"/>
                  <a:pt x="5891" y="6269"/>
                  <a:pt x="5891" y="6600"/>
                </a:cubicBezTo>
                <a:cubicBezTo>
                  <a:pt x="5891" y="6932"/>
                  <a:pt x="6111" y="7200"/>
                  <a:pt x="6382" y="7200"/>
                </a:cubicBezTo>
                <a:moveTo>
                  <a:pt x="7364" y="4800"/>
                </a:moveTo>
                <a:lnTo>
                  <a:pt x="14236" y="4800"/>
                </a:lnTo>
                <a:cubicBezTo>
                  <a:pt x="14507" y="4800"/>
                  <a:pt x="14727" y="4532"/>
                  <a:pt x="14727" y="4200"/>
                </a:cubicBezTo>
                <a:cubicBezTo>
                  <a:pt x="14727" y="3869"/>
                  <a:pt x="14507" y="3600"/>
                  <a:pt x="14236" y="3600"/>
                </a:cubicBezTo>
                <a:lnTo>
                  <a:pt x="7364" y="3600"/>
                </a:lnTo>
                <a:cubicBezTo>
                  <a:pt x="7093" y="3600"/>
                  <a:pt x="6873" y="3869"/>
                  <a:pt x="6873" y="4200"/>
                </a:cubicBezTo>
                <a:cubicBezTo>
                  <a:pt x="6873" y="4532"/>
                  <a:pt x="7093" y="4800"/>
                  <a:pt x="7364"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2" name="Shape 2842"/>
          <p:cNvSpPr/>
          <p:nvPr/>
        </p:nvSpPr>
        <p:spPr>
          <a:xfrm>
            <a:off x="1060590"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1782"/>
                </a:moveTo>
                <a:lnTo>
                  <a:pt x="982" y="11782"/>
                </a:lnTo>
                <a:lnTo>
                  <a:pt x="982" y="6873"/>
                </a:lnTo>
                <a:lnTo>
                  <a:pt x="6907" y="6873"/>
                </a:lnTo>
                <a:cubicBezTo>
                  <a:pt x="7149" y="8810"/>
                  <a:pt x="8798" y="10309"/>
                  <a:pt x="10800" y="10309"/>
                </a:cubicBezTo>
                <a:cubicBezTo>
                  <a:pt x="12802" y="10309"/>
                  <a:pt x="14451" y="8810"/>
                  <a:pt x="14693" y="6873"/>
                </a:cubicBezTo>
                <a:lnTo>
                  <a:pt x="20618" y="6873"/>
                </a:lnTo>
                <a:cubicBezTo>
                  <a:pt x="20618" y="6873"/>
                  <a:pt x="20618" y="11782"/>
                  <a:pt x="20618" y="11782"/>
                </a:cubicBezTo>
                <a:close/>
                <a:moveTo>
                  <a:pt x="20264" y="14727"/>
                </a:moveTo>
                <a:lnTo>
                  <a:pt x="14236" y="14727"/>
                </a:lnTo>
                <a:cubicBezTo>
                  <a:pt x="13966" y="14727"/>
                  <a:pt x="13745" y="14947"/>
                  <a:pt x="13745" y="15218"/>
                </a:cubicBezTo>
                <a:cubicBezTo>
                  <a:pt x="13745" y="16845"/>
                  <a:pt x="12427" y="18164"/>
                  <a:pt x="10800" y="18164"/>
                </a:cubicBezTo>
                <a:cubicBezTo>
                  <a:pt x="9173" y="18164"/>
                  <a:pt x="7855" y="16845"/>
                  <a:pt x="7855" y="15218"/>
                </a:cubicBezTo>
                <a:cubicBezTo>
                  <a:pt x="7855" y="14947"/>
                  <a:pt x="7634" y="14727"/>
                  <a:pt x="7364" y="14727"/>
                </a:cubicBezTo>
                <a:lnTo>
                  <a:pt x="1336" y="14727"/>
                </a:lnTo>
                <a:lnTo>
                  <a:pt x="2682" y="12764"/>
                </a:lnTo>
                <a:lnTo>
                  <a:pt x="18918" y="12764"/>
                </a:lnTo>
                <a:cubicBezTo>
                  <a:pt x="18918" y="12764"/>
                  <a:pt x="20264" y="14727"/>
                  <a:pt x="20264" y="14727"/>
                </a:cubicBezTo>
                <a:close/>
                <a:moveTo>
                  <a:pt x="20618" y="20618"/>
                </a:moveTo>
                <a:lnTo>
                  <a:pt x="982" y="20618"/>
                </a:lnTo>
                <a:lnTo>
                  <a:pt x="982" y="15709"/>
                </a:lnTo>
                <a:lnTo>
                  <a:pt x="6907" y="15709"/>
                </a:lnTo>
                <a:cubicBezTo>
                  <a:pt x="7149" y="17646"/>
                  <a:pt x="8798" y="19145"/>
                  <a:pt x="10800" y="19145"/>
                </a:cubicBezTo>
                <a:cubicBezTo>
                  <a:pt x="12802" y="19145"/>
                  <a:pt x="14451" y="17646"/>
                  <a:pt x="14693" y="15709"/>
                </a:cubicBezTo>
                <a:lnTo>
                  <a:pt x="20618" y="15709"/>
                </a:lnTo>
                <a:cubicBezTo>
                  <a:pt x="20618" y="15709"/>
                  <a:pt x="20618" y="20618"/>
                  <a:pt x="20618" y="20618"/>
                </a:cubicBezTo>
                <a:close/>
                <a:moveTo>
                  <a:pt x="4702" y="982"/>
                </a:moveTo>
                <a:lnTo>
                  <a:pt x="16898" y="982"/>
                </a:lnTo>
                <a:lnTo>
                  <a:pt x="20264" y="5891"/>
                </a:lnTo>
                <a:lnTo>
                  <a:pt x="14236" y="5891"/>
                </a:lnTo>
                <a:cubicBezTo>
                  <a:pt x="13966" y="5891"/>
                  <a:pt x="13745" y="6111"/>
                  <a:pt x="13745" y="6382"/>
                </a:cubicBezTo>
                <a:cubicBezTo>
                  <a:pt x="13745" y="8009"/>
                  <a:pt x="12427" y="9327"/>
                  <a:pt x="10800" y="9327"/>
                </a:cubicBezTo>
                <a:cubicBezTo>
                  <a:pt x="9173" y="9327"/>
                  <a:pt x="7855" y="8009"/>
                  <a:pt x="7855" y="6382"/>
                </a:cubicBezTo>
                <a:cubicBezTo>
                  <a:pt x="7855" y="6111"/>
                  <a:pt x="7634" y="5891"/>
                  <a:pt x="7364" y="5891"/>
                </a:cubicBezTo>
                <a:lnTo>
                  <a:pt x="1336" y="5891"/>
                </a:lnTo>
                <a:cubicBezTo>
                  <a:pt x="1336" y="5891"/>
                  <a:pt x="4702" y="982"/>
                  <a:pt x="4702" y="982"/>
                </a:cubicBezTo>
                <a:close/>
                <a:moveTo>
                  <a:pt x="21600" y="12273"/>
                </a:moveTo>
                <a:lnTo>
                  <a:pt x="21600" y="6382"/>
                </a:lnTo>
                <a:cubicBezTo>
                  <a:pt x="21600" y="6303"/>
                  <a:pt x="21577" y="6231"/>
                  <a:pt x="21543" y="6165"/>
                </a:cubicBezTo>
                <a:lnTo>
                  <a:pt x="21548" y="6162"/>
                </a:lnTo>
                <a:lnTo>
                  <a:pt x="17621" y="272"/>
                </a:lnTo>
                <a:lnTo>
                  <a:pt x="17616" y="274"/>
                </a:lnTo>
                <a:cubicBezTo>
                  <a:pt x="17536" y="113"/>
                  <a:pt x="17374" y="0"/>
                  <a:pt x="17182" y="0"/>
                </a:cubicBezTo>
                <a:lnTo>
                  <a:pt x="4418" y="0"/>
                </a:lnTo>
                <a:cubicBezTo>
                  <a:pt x="4226" y="0"/>
                  <a:pt x="4064" y="113"/>
                  <a:pt x="3984" y="274"/>
                </a:cubicBezTo>
                <a:lnTo>
                  <a:pt x="3979" y="272"/>
                </a:lnTo>
                <a:lnTo>
                  <a:pt x="52" y="6162"/>
                </a:lnTo>
                <a:lnTo>
                  <a:pt x="57" y="6165"/>
                </a:lnTo>
                <a:cubicBezTo>
                  <a:pt x="23" y="6231"/>
                  <a:pt x="0" y="6303"/>
                  <a:pt x="0" y="6382"/>
                </a:cubicBezTo>
                <a:lnTo>
                  <a:pt x="0" y="12273"/>
                </a:lnTo>
                <a:cubicBezTo>
                  <a:pt x="0" y="12544"/>
                  <a:pt x="220" y="12764"/>
                  <a:pt x="491" y="12764"/>
                </a:cubicBezTo>
                <a:lnTo>
                  <a:pt x="1542" y="12764"/>
                </a:lnTo>
                <a:lnTo>
                  <a:pt x="52" y="14999"/>
                </a:lnTo>
                <a:lnTo>
                  <a:pt x="57" y="15001"/>
                </a:lnTo>
                <a:cubicBezTo>
                  <a:pt x="23" y="15067"/>
                  <a:pt x="0" y="15139"/>
                  <a:pt x="0" y="15218"/>
                </a:cubicBezTo>
                <a:lnTo>
                  <a:pt x="0" y="21109"/>
                </a:lnTo>
                <a:cubicBezTo>
                  <a:pt x="0" y="21380"/>
                  <a:pt x="220" y="21600"/>
                  <a:pt x="491" y="21600"/>
                </a:cubicBezTo>
                <a:lnTo>
                  <a:pt x="21109" y="21600"/>
                </a:lnTo>
                <a:cubicBezTo>
                  <a:pt x="21380" y="21600"/>
                  <a:pt x="21600" y="21380"/>
                  <a:pt x="21600" y="21109"/>
                </a:cubicBezTo>
                <a:lnTo>
                  <a:pt x="21600" y="15218"/>
                </a:lnTo>
                <a:cubicBezTo>
                  <a:pt x="21600" y="15139"/>
                  <a:pt x="21577" y="15067"/>
                  <a:pt x="21543" y="15001"/>
                </a:cubicBezTo>
                <a:lnTo>
                  <a:pt x="21548" y="14999"/>
                </a:lnTo>
                <a:lnTo>
                  <a:pt x="20058" y="12764"/>
                </a:lnTo>
                <a:lnTo>
                  <a:pt x="21109" y="12764"/>
                </a:lnTo>
                <a:cubicBezTo>
                  <a:pt x="21380" y="12764"/>
                  <a:pt x="21600" y="12544"/>
                  <a:pt x="216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3" name="Shape 2843"/>
          <p:cNvSpPr/>
          <p:nvPr/>
        </p:nvSpPr>
        <p:spPr>
          <a:xfrm>
            <a:off x="146053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cubicBezTo>
                  <a:pt x="20838" y="10309"/>
                  <a:pt x="20618" y="10529"/>
                  <a:pt x="20618" y="10800"/>
                </a:cubicBezTo>
                <a:cubicBezTo>
                  <a:pt x="20618" y="16223"/>
                  <a:pt x="16223" y="20618"/>
                  <a:pt x="10800" y="20618"/>
                </a:cubicBezTo>
                <a:cubicBezTo>
                  <a:pt x="5377" y="20618"/>
                  <a:pt x="982" y="16223"/>
                  <a:pt x="982" y="10800"/>
                </a:cubicBezTo>
                <a:cubicBezTo>
                  <a:pt x="982" y="5378"/>
                  <a:pt x="5377" y="982"/>
                  <a:pt x="10800" y="982"/>
                </a:cubicBez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6765"/>
                  <a:pt x="4836"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4" name="Shape 2844"/>
          <p:cNvSpPr/>
          <p:nvPr/>
        </p:nvSpPr>
        <p:spPr>
          <a:xfrm>
            <a:off x="18604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982"/>
                </a:move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1071"/>
                  <a:pt x="220" y="11291"/>
                  <a:pt x="491" y="11291"/>
                </a:cubicBezTo>
                <a:cubicBezTo>
                  <a:pt x="762" y="11291"/>
                  <a:pt x="982" y="11071"/>
                  <a:pt x="982" y="10800"/>
                </a:cubicBezTo>
                <a:cubicBezTo>
                  <a:pt x="982" y="5378"/>
                  <a:pt x="5377" y="982"/>
                  <a:pt x="10800" y="982"/>
                </a:cubicBezTo>
                <a:moveTo>
                  <a:pt x="21109" y="10309"/>
                </a:moveTo>
                <a:cubicBezTo>
                  <a:pt x="20838" y="10309"/>
                  <a:pt x="20618" y="10529"/>
                  <a:pt x="20618" y="10800"/>
                </a:cubicBezTo>
                <a:cubicBezTo>
                  <a:pt x="20618" y="16223"/>
                  <a:pt x="16223" y="20618"/>
                  <a:pt x="10800" y="20618"/>
                </a:cubicBezTo>
                <a:cubicBezTo>
                  <a:pt x="7588" y="20618"/>
                  <a:pt x="4740" y="19075"/>
                  <a:pt x="2948" y="16691"/>
                </a:cubicBezTo>
                <a:lnTo>
                  <a:pt x="6873" y="16691"/>
                </a:lnTo>
                <a:cubicBezTo>
                  <a:pt x="7144" y="16691"/>
                  <a:pt x="7364" y="16471"/>
                  <a:pt x="7364" y="16200"/>
                </a:cubicBezTo>
                <a:cubicBezTo>
                  <a:pt x="7364" y="15929"/>
                  <a:pt x="7144" y="15709"/>
                  <a:pt x="6873" y="15709"/>
                </a:cubicBezTo>
                <a:lnTo>
                  <a:pt x="1964" y="15709"/>
                </a:lnTo>
                <a:cubicBezTo>
                  <a:pt x="1693" y="15709"/>
                  <a:pt x="1473" y="15929"/>
                  <a:pt x="1473" y="16200"/>
                </a:cubicBezTo>
                <a:lnTo>
                  <a:pt x="1473" y="21109"/>
                </a:lnTo>
                <a:cubicBezTo>
                  <a:pt x="1473" y="21380"/>
                  <a:pt x="1693" y="21600"/>
                  <a:pt x="1964" y="21600"/>
                </a:cubicBezTo>
                <a:cubicBezTo>
                  <a:pt x="2234" y="21600"/>
                  <a:pt x="2455" y="21380"/>
                  <a:pt x="2455" y="21109"/>
                </a:cubicBezTo>
                <a:lnTo>
                  <a:pt x="2455" y="17639"/>
                </a:lnTo>
                <a:cubicBezTo>
                  <a:pt x="4434" y="20054"/>
                  <a:pt x="7433"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5" name="Shape 2845"/>
          <p:cNvSpPr/>
          <p:nvPr/>
        </p:nvSpPr>
        <p:spPr>
          <a:xfrm>
            <a:off x="2279472"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6" name="Shape 2846"/>
          <p:cNvSpPr/>
          <p:nvPr/>
        </p:nvSpPr>
        <p:spPr>
          <a:xfrm>
            <a:off x="2679418"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1000" y="12273"/>
                </a:moveTo>
                <a:cubicBezTo>
                  <a:pt x="20668"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4768" y="4909"/>
                </a:lnTo>
                <a:lnTo>
                  <a:pt x="11067" y="7937"/>
                </a:lnTo>
                <a:lnTo>
                  <a:pt x="11073" y="7945"/>
                </a:lnTo>
                <a:cubicBezTo>
                  <a:pt x="10912" y="8033"/>
                  <a:pt x="10800" y="8175"/>
                  <a:pt x="10800" y="8345"/>
                </a:cubicBezTo>
                <a:cubicBezTo>
                  <a:pt x="10800" y="8617"/>
                  <a:pt x="11068" y="8836"/>
                  <a:pt x="11400" y="8836"/>
                </a:cubicBezTo>
                <a:cubicBezTo>
                  <a:pt x="11523" y="8836"/>
                  <a:pt x="11631" y="8798"/>
                  <a:pt x="11727" y="8747"/>
                </a:cubicBezTo>
                <a:lnTo>
                  <a:pt x="11733" y="8754"/>
                </a:lnTo>
                <a:lnTo>
                  <a:pt x="11774" y="8721"/>
                </a:lnTo>
                <a:cubicBezTo>
                  <a:pt x="11805" y="8700"/>
                  <a:pt x="11832" y="8677"/>
                  <a:pt x="11858" y="8651"/>
                </a:cubicBezTo>
                <a:lnTo>
                  <a:pt x="16533" y="4827"/>
                </a:lnTo>
                <a:lnTo>
                  <a:pt x="16527" y="4819"/>
                </a:lnTo>
                <a:cubicBezTo>
                  <a:pt x="16688" y="4731"/>
                  <a:pt x="16800" y="4589"/>
                  <a:pt x="16800" y="4418"/>
                </a:cubicBezTo>
                <a:cubicBezTo>
                  <a:pt x="16800" y="4248"/>
                  <a:pt x="16688" y="4106"/>
                  <a:pt x="16527" y="4018"/>
                </a:cubicBezTo>
                <a:lnTo>
                  <a:pt x="16533" y="4010"/>
                </a:lnTo>
                <a:lnTo>
                  <a:pt x="11858" y="185"/>
                </a:lnTo>
                <a:cubicBezTo>
                  <a:pt x="11832" y="159"/>
                  <a:pt x="11805" y="137"/>
                  <a:pt x="11774" y="116"/>
                </a:cubicBezTo>
                <a:lnTo>
                  <a:pt x="11733" y="82"/>
                </a:lnTo>
                <a:lnTo>
                  <a:pt x="11727" y="90"/>
                </a:lnTo>
                <a:cubicBezTo>
                  <a:pt x="11631" y="38"/>
                  <a:pt x="11523" y="0"/>
                  <a:pt x="11400" y="0"/>
                </a:cubicBezTo>
                <a:cubicBezTo>
                  <a:pt x="11068" y="0"/>
                  <a:pt x="10800" y="220"/>
                  <a:pt x="10800" y="491"/>
                </a:cubicBezTo>
                <a:cubicBezTo>
                  <a:pt x="10800" y="662"/>
                  <a:pt x="10912" y="804"/>
                  <a:pt x="11073" y="892"/>
                </a:cubicBezTo>
                <a:lnTo>
                  <a:pt x="11067" y="899"/>
                </a:lnTo>
                <a:lnTo>
                  <a:pt x="14768" y="3927"/>
                </a:lnTo>
                <a:lnTo>
                  <a:pt x="10800" y="3927"/>
                </a:lnTo>
                <a:cubicBezTo>
                  <a:pt x="4835" y="3927"/>
                  <a:pt x="0" y="7884"/>
                  <a:pt x="0" y="12764"/>
                </a:cubicBezTo>
                <a:cubicBezTo>
                  <a:pt x="0" y="17644"/>
                  <a:pt x="4835" y="21600"/>
                  <a:pt x="10800" y="21600"/>
                </a:cubicBezTo>
                <a:cubicBezTo>
                  <a:pt x="16765" y="21600"/>
                  <a:pt x="21600" y="17644"/>
                  <a:pt x="21600" y="12764"/>
                </a:cubicBezTo>
                <a:cubicBezTo>
                  <a:pt x="21600" y="12492"/>
                  <a:pt x="21332"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7" name="Shape 2847"/>
          <p:cNvSpPr/>
          <p:nvPr/>
        </p:nvSpPr>
        <p:spPr>
          <a:xfrm>
            <a:off x="3060320"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8" name="Shape 2848"/>
          <p:cNvSpPr/>
          <p:nvPr/>
        </p:nvSpPr>
        <p:spPr>
          <a:xfrm>
            <a:off x="3460265"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9" name="Shape 2849"/>
          <p:cNvSpPr/>
          <p:nvPr/>
        </p:nvSpPr>
        <p:spPr>
          <a:xfrm>
            <a:off x="3860211" y="2912515"/>
            <a:ext cx="209495" cy="181100"/>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0" name="Shape 2850"/>
          <p:cNvSpPr/>
          <p:nvPr/>
        </p:nvSpPr>
        <p:spPr>
          <a:xfrm>
            <a:off x="426015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91" y="0"/>
                </a:moveTo>
                <a:cubicBezTo>
                  <a:pt x="220" y="0"/>
                  <a:pt x="0" y="220"/>
                  <a:pt x="0" y="491"/>
                </a:cubicBezTo>
                <a:cubicBezTo>
                  <a:pt x="0" y="762"/>
                  <a:pt x="220" y="982"/>
                  <a:pt x="491" y="982"/>
                </a:cubicBezTo>
                <a:cubicBezTo>
                  <a:pt x="11607" y="982"/>
                  <a:pt x="20618" y="9993"/>
                  <a:pt x="20618" y="21109"/>
                </a:cubicBezTo>
                <a:cubicBezTo>
                  <a:pt x="20618" y="21380"/>
                  <a:pt x="20838" y="21600"/>
                  <a:pt x="21109" y="21600"/>
                </a:cubicBezTo>
                <a:cubicBezTo>
                  <a:pt x="21380" y="21600"/>
                  <a:pt x="21600" y="21380"/>
                  <a:pt x="21600" y="21109"/>
                </a:cubicBezTo>
                <a:cubicBezTo>
                  <a:pt x="21600" y="9451"/>
                  <a:pt x="12149" y="0"/>
                  <a:pt x="491" y="0"/>
                </a:cubicBezTo>
                <a:moveTo>
                  <a:pt x="491" y="9818"/>
                </a:moveTo>
                <a:cubicBezTo>
                  <a:pt x="220" y="9818"/>
                  <a:pt x="0" y="10038"/>
                  <a:pt x="0" y="10309"/>
                </a:cubicBezTo>
                <a:cubicBezTo>
                  <a:pt x="0" y="10581"/>
                  <a:pt x="220" y="10800"/>
                  <a:pt x="491" y="10800"/>
                </a:cubicBezTo>
                <a:cubicBezTo>
                  <a:pt x="6184" y="10800"/>
                  <a:pt x="10800" y="15416"/>
                  <a:pt x="10800" y="21109"/>
                </a:cubicBezTo>
                <a:cubicBezTo>
                  <a:pt x="10800" y="21380"/>
                  <a:pt x="11020" y="21600"/>
                  <a:pt x="11291" y="21600"/>
                </a:cubicBezTo>
                <a:cubicBezTo>
                  <a:pt x="11562" y="21600"/>
                  <a:pt x="11782" y="21380"/>
                  <a:pt x="11782" y="21109"/>
                </a:cubicBezTo>
                <a:cubicBezTo>
                  <a:pt x="11782" y="14873"/>
                  <a:pt x="6727" y="9818"/>
                  <a:pt x="491" y="9818"/>
                </a:cubicBezTo>
                <a:moveTo>
                  <a:pt x="491" y="4909"/>
                </a:moveTo>
                <a:cubicBezTo>
                  <a:pt x="220" y="4909"/>
                  <a:pt x="0" y="5129"/>
                  <a:pt x="0" y="5400"/>
                </a:cubicBezTo>
                <a:cubicBezTo>
                  <a:pt x="0" y="5672"/>
                  <a:pt x="220" y="5891"/>
                  <a:pt x="491" y="5891"/>
                </a:cubicBezTo>
                <a:cubicBezTo>
                  <a:pt x="8896" y="5891"/>
                  <a:pt x="15709" y="12705"/>
                  <a:pt x="15709" y="21109"/>
                </a:cubicBezTo>
                <a:cubicBezTo>
                  <a:pt x="15709" y="21380"/>
                  <a:pt x="15929" y="21600"/>
                  <a:pt x="16200" y="21600"/>
                </a:cubicBezTo>
                <a:cubicBezTo>
                  <a:pt x="16471" y="21600"/>
                  <a:pt x="16691" y="21380"/>
                  <a:pt x="16691" y="21109"/>
                </a:cubicBezTo>
                <a:cubicBezTo>
                  <a:pt x="16691" y="12162"/>
                  <a:pt x="9438" y="4909"/>
                  <a:pt x="491" y="4909"/>
                </a:cubicBezTo>
                <a:moveTo>
                  <a:pt x="2945" y="20618"/>
                </a:moveTo>
                <a:cubicBezTo>
                  <a:pt x="1861" y="20618"/>
                  <a:pt x="982" y="19739"/>
                  <a:pt x="982" y="18655"/>
                </a:cubicBezTo>
                <a:cubicBezTo>
                  <a:pt x="982" y="17570"/>
                  <a:pt x="1861" y="16691"/>
                  <a:pt x="2945" y="16691"/>
                </a:cubicBezTo>
                <a:cubicBezTo>
                  <a:pt x="4030" y="16691"/>
                  <a:pt x="4909" y="17570"/>
                  <a:pt x="4909" y="18655"/>
                </a:cubicBezTo>
                <a:cubicBezTo>
                  <a:pt x="4909" y="19739"/>
                  <a:pt x="4030" y="20618"/>
                  <a:pt x="2945" y="20618"/>
                </a:cubicBezTo>
                <a:moveTo>
                  <a:pt x="2945" y="15709"/>
                </a:moveTo>
                <a:cubicBezTo>
                  <a:pt x="1319" y="15709"/>
                  <a:pt x="0" y="17028"/>
                  <a:pt x="0" y="18655"/>
                </a:cubicBezTo>
                <a:cubicBezTo>
                  <a:pt x="0" y="20281"/>
                  <a:pt x="1319" y="21600"/>
                  <a:pt x="2945" y="21600"/>
                </a:cubicBezTo>
                <a:cubicBezTo>
                  <a:pt x="4573" y="21600"/>
                  <a:pt x="5891" y="20281"/>
                  <a:pt x="5891" y="18655"/>
                </a:cubicBezTo>
                <a:cubicBezTo>
                  <a:pt x="5891" y="17028"/>
                  <a:pt x="4573" y="15709"/>
                  <a:pt x="2945"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1" name="Shape 2851"/>
          <p:cNvSpPr/>
          <p:nvPr/>
        </p:nvSpPr>
        <p:spPr>
          <a:xfrm>
            <a:off x="660644"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10309"/>
                </a:moveTo>
                <a:lnTo>
                  <a:pt x="4909" y="10309"/>
                </a:lnTo>
                <a:cubicBezTo>
                  <a:pt x="4638" y="10309"/>
                  <a:pt x="4418" y="10529"/>
                  <a:pt x="4418" y="10800"/>
                </a:cubicBezTo>
                <a:cubicBezTo>
                  <a:pt x="4418" y="11071"/>
                  <a:pt x="4638" y="11291"/>
                  <a:pt x="4909" y="11291"/>
                </a:cubicBezTo>
                <a:lnTo>
                  <a:pt x="5891" y="11291"/>
                </a:lnTo>
                <a:cubicBezTo>
                  <a:pt x="8331" y="11291"/>
                  <a:pt x="10309" y="13269"/>
                  <a:pt x="10309" y="15709"/>
                </a:cubicBezTo>
                <a:lnTo>
                  <a:pt x="10309" y="16691"/>
                </a:lnTo>
                <a:cubicBezTo>
                  <a:pt x="10309" y="16962"/>
                  <a:pt x="10529" y="17182"/>
                  <a:pt x="10800" y="17182"/>
                </a:cubicBezTo>
                <a:cubicBezTo>
                  <a:pt x="11071" y="17182"/>
                  <a:pt x="11291" y="16962"/>
                  <a:pt x="11291" y="16691"/>
                </a:cubicBezTo>
                <a:lnTo>
                  <a:pt x="11291" y="15709"/>
                </a:lnTo>
                <a:cubicBezTo>
                  <a:pt x="11291" y="12727"/>
                  <a:pt x="8873" y="10309"/>
                  <a:pt x="5891" y="10309"/>
                </a:cubicBezTo>
                <a:moveTo>
                  <a:pt x="5891" y="7364"/>
                </a:moveTo>
                <a:lnTo>
                  <a:pt x="4909" y="7364"/>
                </a:lnTo>
                <a:cubicBezTo>
                  <a:pt x="4638" y="7364"/>
                  <a:pt x="4418" y="7583"/>
                  <a:pt x="4418" y="7855"/>
                </a:cubicBezTo>
                <a:cubicBezTo>
                  <a:pt x="4418" y="8126"/>
                  <a:pt x="4638" y="8345"/>
                  <a:pt x="4909" y="8345"/>
                </a:cubicBezTo>
                <a:lnTo>
                  <a:pt x="5891" y="8345"/>
                </a:lnTo>
                <a:cubicBezTo>
                  <a:pt x="9958" y="8345"/>
                  <a:pt x="13255" y="11642"/>
                  <a:pt x="13255" y="15709"/>
                </a:cubicBezTo>
                <a:lnTo>
                  <a:pt x="13255" y="16691"/>
                </a:lnTo>
                <a:cubicBezTo>
                  <a:pt x="13255" y="16962"/>
                  <a:pt x="13475" y="17182"/>
                  <a:pt x="13745" y="17182"/>
                </a:cubicBezTo>
                <a:cubicBezTo>
                  <a:pt x="14016" y="17182"/>
                  <a:pt x="14236" y="16962"/>
                  <a:pt x="14236" y="16691"/>
                </a:cubicBezTo>
                <a:lnTo>
                  <a:pt x="14236" y="15709"/>
                </a:lnTo>
                <a:cubicBezTo>
                  <a:pt x="14236" y="11100"/>
                  <a:pt x="10500" y="7364"/>
                  <a:pt x="5891" y="7364"/>
                </a:cubicBezTo>
                <a:moveTo>
                  <a:pt x="6382" y="16200"/>
                </a:moveTo>
                <a:cubicBezTo>
                  <a:pt x="5840" y="16200"/>
                  <a:pt x="5400" y="15761"/>
                  <a:pt x="5400" y="15218"/>
                </a:cubicBezTo>
                <a:cubicBezTo>
                  <a:pt x="5400" y="14676"/>
                  <a:pt x="5840" y="14236"/>
                  <a:pt x="6382" y="14236"/>
                </a:cubicBezTo>
                <a:cubicBezTo>
                  <a:pt x="6924" y="14236"/>
                  <a:pt x="7364" y="14676"/>
                  <a:pt x="7364" y="15218"/>
                </a:cubicBezTo>
                <a:cubicBezTo>
                  <a:pt x="7364" y="15761"/>
                  <a:pt x="6924" y="16200"/>
                  <a:pt x="6382" y="16200"/>
                </a:cubicBezTo>
                <a:moveTo>
                  <a:pt x="6382" y="13255"/>
                </a:moveTo>
                <a:cubicBezTo>
                  <a:pt x="5297" y="13255"/>
                  <a:pt x="4418" y="14134"/>
                  <a:pt x="4418" y="15218"/>
                </a:cubicBezTo>
                <a:cubicBezTo>
                  <a:pt x="4418" y="16303"/>
                  <a:pt x="5297" y="17182"/>
                  <a:pt x="6382" y="17182"/>
                </a:cubicBezTo>
                <a:cubicBezTo>
                  <a:pt x="7466" y="17182"/>
                  <a:pt x="8345" y="16303"/>
                  <a:pt x="8345" y="15218"/>
                </a:cubicBezTo>
                <a:cubicBezTo>
                  <a:pt x="8345" y="14134"/>
                  <a:pt x="7466" y="13255"/>
                  <a:pt x="6382" y="13255"/>
                </a:cubicBezTo>
                <a:moveTo>
                  <a:pt x="5891" y="4418"/>
                </a:moveTo>
                <a:lnTo>
                  <a:pt x="4909" y="4418"/>
                </a:lnTo>
                <a:cubicBezTo>
                  <a:pt x="4638" y="4418"/>
                  <a:pt x="4418" y="4638"/>
                  <a:pt x="4418" y="4909"/>
                </a:cubicBezTo>
                <a:cubicBezTo>
                  <a:pt x="4418" y="5180"/>
                  <a:pt x="4638" y="5400"/>
                  <a:pt x="4909" y="5400"/>
                </a:cubicBezTo>
                <a:lnTo>
                  <a:pt x="5891" y="5400"/>
                </a:lnTo>
                <a:cubicBezTo>
                  <a:pt x="11585" y="5400"/>
                  <a:pt x="16200" y="10016"/>
                  <a:pt x="16200" y="15709"/>
                </a:cubicBezTo>
                <a:lnTo>
                  <a:pt x="16200" y="16691"/>
                </a:lnTo>
                <a:cubicBezTo>
                  <a:pt x="16200" y="16962"/>
                  <a:pt x="16420" y="17182"/>
                  <a:pt x="16691" y="17182"/>
                </a:cubicBezTo>
                <a:cubicBezTo>
                  <a:pt x="16962" y="17182"/>
                  <a:pt x="17182" y="16962"/>
                  <a:pt x="17182" y="16691"/>
                </a:cubicBezTo>
                <a:lnTo>
                  <a:pt x="17182" y="15709"/>
                </a:lnTo>
                <a:cubicBezTo>
                  <a:pt x="17182" y="9473"/>
                  <a:pt x="12127" y="4418"/>
                  <a:pt x="5891"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2" name="Shape 2852"/>
          <p:cNvSpPr/>
          <p:nvPr/>
        </p:nvSpPr>
        <p:spPr>
          <a:xfrm>
            <a:off x="1070113" y="329817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4244" y="12617"/>
                </a:moveTo>
                <a:cubicBezTo>
                  <a:pt x="14459" y="12872"/>
                  <a:pt x="14634" y="13163"/>
                  <a:pt x="14771" y="13485"/>
                </a:cubicBezTo>
                <a:cubicBezTo>
                  <a:pt x="16295" y="12407"/>
                  <a:pt x="17280" y="10728"/>
                  <a:pt x="17280" y="8836"/>
                </a:cubicBezTo>
                <a:cubicBezTo>
                  <a:pt x="17280" y="5583"/>
                  <a:pt x="14379" y="2945"/>
                  <a:pt x="10800" y="2945"/>
                </a:cubicBezTo>
                <a:cubicBezTo>
                  <a:pt x="7221" y="2945"/>
                  <a:pt x="4320" y="5583"/>
                  <a:pt x="4320" y="8836"/>
                </a:cubicBezTo>
                <a:cubicBezTo>
                  <a:pt x="4320" y="10714"/>
                  <a:pt x="5289" y="12382"/>
                  <a:pt x="6794" y="13461"/>
                </a:cubicBezTo>
                <a:cubicBezTo>
                  <a:pt x="6928" y="13135"/>
                  <a:pt x="7106" y="12845"/>
                  <a:pt x="7323" y="12590"/>
                </a:cubicBezTo>
                <a:cubicBezTo>
                  <a:pt x="6148" y="11689"/>
                  <a:pt x="5400" y="10343"/>
                  <a:pt x="5400" y="8836"/>
                </a:cubicBezTo>
                <a:cubicBezTo>
                  <a:pt x="5400" y="6125"/>
                  <a:pt x="7818" y="3927"/>
                  <a:pt x="10800" y="3927"/>
                </a:cubicBezTo>
                <a:cubicBezTo>
                  <a:pt x="13782" y="3927"/>
                  <a:pt x="16200" y="6125"/>
                  <a:pt x="16200" y="8836"/>
                </a:cubicBezTo>
                <a:cubicBezTo>
                  <a:pt x="16200" y="10358"/>
                  <a:pt x="15439" y="11717"/>
                  <a:pt x="14244" y="12617"/>
                </a:cubicBezTo>
                <a:moveTo>
                  <a:pt x="10800" y="0"/>
                </a:moveTo>
                <a:cubicBezTo>
                  <a:pt x="4836" y="0"/>
                  <a:pt x="0" y="4396"/>
                  <a:pt x="0" y="9818"/>
                </a:cubicBezTo>
                <a:cubicBezTo>
                  <a:pt x="0" y="14007"/>
                  <a:pt x="2891" y="17573"/>
                  <a:pt x="6953" y="18983"/>
                </a:cubicBezTo>
                <a:cubicBezTo>
                  <a:pt x="6874" y="18609"/>
                  <a:pt x="6803" y="18223"/>
                  <a:pt x="6741" y="17840"/>
                </a:cubicBezTo>
                <a:cubicBezTo>
                  <a:pt x="3402" y="16441"/>
                  <a:pt x="1080" y="13379"/>
                  <a:pt x="1080" y="9818"/>
                </a:cubicBezTo>
                <a:cubicBezTo>
                  <a:pt x="1080" y="4938"/>
                  <a:pt x="5432" y="982"/>
                  <a:pt x="10800" y="982"/>
                </a:cubicBezTo>
                <a:cubicBezTo>
                  <a:pt x="16168" y="982"/>
                  <a:pt x="20520" y="4938"/>
                  <a:pt x="20520" y="9818"/>
                </a:cubicBezTo>
                <a:cubicBezTo>
                  <a:pt x="20520" y="13374"/>
                  <a:pt x="18204" y="16431"/>
                  <a:pt x="14874" y="17833"/>
                </a:cubicBezTo>
                <a:cubicBezTo>
                  <a:pt x="14812" y="18216"/>
                  <a:pt x="14740" y="18603"/>
                  <a:pt x="14660" y="18979"/>
                </a:cubicBezTo>
                <a:cubicBezTo>
                  <a:pt x="18716" y="17565"/>
                  <a:pt x="21600" y="14002"/>
                  <a:pt x="21600" y="9818"/>
                </a:cubicBezTo>
                <a:cubicBezTo>
                  <a:pt x="21600" y="4396"/>
                  <a:pt x="16765" y="0"/>
                  <a:pt x="10800" y="0"/>
                </a:cubicBezTo>
                <a:moveTo>
                  <a:pt x="10800" y="7364"/>
                </a:moveTo>
                <a:cubicBezTo>
                  <a:pt x="11695" y="7364"/>
                  <a:pt x="12420" y="8023"/>
                  <a:pt x="12420" y="8836"/>
                </a:cubicBezTo>
                <a:cubicBezTo>
                  <a:pt x="12420" y="9649"/>
                  <a:pt x="11695" y="10309"/>
                  <a:pt x="10800" y="10309"/>
                </a:cubicBezTo>
                <a:cubicBezTo>
                  <a:pt x="9905" y="10309"/>
                  <a:pt x="9180" y="9649"/>
                  <a:pt x="9180" y="8836"/>
                </a:cubicBezTo>
                <a:cubicBezTo>
                  <a:pt x="9180" y="8023"/>
                  <a:pt x="9905" y="7364"/>
                  <a:pt x="10800" y="7364"/>
                </a:cubicBezTo>
                <a:moveTo>
                  <a:pt x="10800" y="11291"/>
                </a:moveTo>
                <a:cubicBezTo>
                  <a:pt x="12292" y="11291"/>
                  <a:pt x="13500" y="10192"/>
                  <a:pt x="13500" y="8836"/>
                </a:cubicBezTo>
                <a:cubicBezTo>
                  <a:pt x="13500" y="7481"/>
                  <a:pt x="12292" y="6382"/>
                  <a:pt x="10800" y="6382"/>
                </a:cubicBezTo>
                <a:cubicBezTo>
                  <a:pt x="9309" y="6382"/>
                  <a:pt x="8100" y="7481"/>
                  <a:pt x="8100" y="8836"/>
                </a:cubicBezTo>
                <a:cubicBezTo>
                  <a:pt x="8100" y="10192"/>
                  <a:pt x="9309" y="11291"/>
                  <a:pt x="10800" y="11291"/>
                </a:cubicBezTo>
                <a:moveTo>
                  <a:pt x="11994" y="20179"/>
                </a:moveTo>
                <a:cubicBezTo>
                  <a:pt x="11855" y="20433"/>
                  <a:pt x="11737" y="20560"/>
                  <a:pt x="11673" y="20618"/>
                </a:cubicBezTo>
                <a:lnTo>
                  <a:pt x="9927" y="20618"/>
                </a:lnTo>
                <a:cubicBezTo>
                  <a:pt x="9862" y="20560"/>
                  <a:pt x="9745" y="20433"/>
                  <a:pt x="9606" y="20179"/>
                </a:cubicBezTo>
                <a:cubicBezTo>
                  <a:pt x="9182" y="19408"/>
                  <a:pt x="8640" y="16626"/>
                  <a:pt x="8640" y="15218"/>
                </a:cubicBezTo>
                <a:cubicBezTo>
                  <a:pt x="8640" y="13768"/>
                  <a:pt x="9205" y="13255"/>
                  <a:pt x="10800" y="13255"/>
                </a:cubicBezTo>
                <a:cubicBezTo>
                  <a:pt x="12395" y="13255"/>
                  <a:pt x="12960" y="13768"/>
                  <a:pt x="12960" y="15218"/>
                </a:cubicBezTo>
                <a:cubicBezTo>
                  <a:pt x="12960" y="16626"/>
                  <a:pt x="12418" y="19408"/>
                  <a:pt x="11994" y="20179"/>
                </a:cubicBezTo>
                <a:moveTo>
                  <a:pt x="10800" y="12273"/>
                </a:moveTo>
                <a:cubicBezTo>
                  <a:pt x="8100" y="12273"/>
                  <a:pt x="7560" y="13745"/>
                  <a:pt x="7560" y="15218"/>
                </a:cubicBezTo>
                <a:cubicBezTo>
                  <a:pt x="7560" y="16691"/>
                  <a:pt x="8100" y="19636"/>
                  <a:pt x="8640" y="20618"/>
                </a:cubicBezTo>
                <a:cubicBezTo>
                  <a:pt x="9180" y="21600"/>
                  <a:pt x="9720" y="21600"/>
                  <a:pt x="9720" y="21600"/>
                </a:cubicBezTo>
                <a:lnTo>
                  <a:pt x="11880" y="21600"/>
                </a:lnTo>
                <a:cubicBezTo>
                  <a:pt x="11880" y="21600"/>
                  <a:pt x="12420" y="21600"/>
                  <a:pt x="12960" y="20618"/>
                </a:cubicBezTo>
                <a:cubicBezTo>
                  <a:pt x="13500" y="19636"/>
                  <a:pt x="14040" y="16691"/>
                  <a:pt x="14040" y="15218"/>
                </a:cubicBezTo>
                <a:cubicBezTo>
                  <a:pt x="14040" y="13745"/>
                  <a:pt x="13500" y="12273"/>
                  <a:pt x="108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3" name="Shape 2853"/>
          <p:cNvSpPr/>
          <p:nvPr/>
        </p:nvSpPr>
        <p:spPr>
          <a:xfrm>
            <a:off x="14795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4" name="Shape 2854"/>
          <p:cNvSpPr/>
          <p:nvPr/>
        </p:nvSpPr>
        <p:spPr>
          <a:xfrm>
            <a:off x="1860482" y="3298176"/>
            <a:ext cx="209447" cy="209450"/>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5" name="Shape 2855"/>
          <p:cNvSpPr/>
          <p:nvPr/>
        </p:nvSpPr>
        <p:spPr>
          <a:xfrm>
            <a:off x="2269950" y="3298176"/>
            <a:ext cx="190402" cy="209450"/>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6" name="Shape 2856"/>
          <p:cNvSpPr/>
          <p:nvPr/>
        </p:nvSpPr>
        <p:spPr>
          <a:xfrm>
            <a:off x="2660373" y="3298177"/>
            <a:ext cx="209598" cy="209514"/>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7" name="Shape 2857"/>
          <p:cNvSpPr/>
          <p:nvPr/>
        </p:nvSpPr>
        <p:spPr>
          <a:xfrm>
            <a:off x="3060320"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8" name="Shape 2858"/>
          <p:cNvSpPr/>
          <p:nvPr/>
        </p:nvSpPr>
        <p:spPr>
          <a:xfrm>
            <a:off x="347930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98" y="4909"/>
                  <a:pt x="1200" y="4030"/>
                  <a:pt x="1200" y="2945"/>
                </a:cubicBezTo>
                <a:cubicBezTo>
                  <a:pt x="1200" y="1861"/>
                  <a:pt x="5498" y="982"/>
                  <a:pt x="10800" y="982"/>
                </a:cubicBezTo>
                <a:cubicBezTo>
                  <a:pt x="16102" y="982"/>
                  <a:pt x="20400" y="1861"/>
                  <a:pt x="20400" y="2945"/>
                </a:cubicBezTo>
                <a:cubicBezTo>
                  <a:pt x="20400" y="4030"/>
                  <a:pt x="16102" y="4909"/>
                  <a:pt x="10800" y="4909"/>
                </a:cubicBezTo>
                <a:moveTo>
                  <a:pt x="20400" y="6873"/>
                </a:moveTo>
                <a:cubicBezTo>
                  <a:pt x="20400" y="7957"/>
                  <a:pt x="16102" y="8836"/>
                  <a:pt x="10800" y="8836"/>
                </a:cubicBezTo>
                <a:cubicBezTo>
                  <a:pt x="5498" y="8836"/>
                  <a:pt x="1200" y="7957"/>
                  <a:pt x="1200" y="6873"/>
                </a:cubicBezTo>
                <a:lnTo>
                  <a:pt x="1200" y="4291"/>
                </a:lnTo>
                <a:cubicBezTo>
                  <a:pt x="2993" y="5240"/>
                  <a:pt x="6615" y="5891"/>
                  <a:pt x="10800" y="5891"/>
                </a:cubicBezTo>
                <a:cubicBezTo>
                  <a:pt x="14986" y="5891"/>
                  <a:pt x="18607" y="5240"/>
                  <a:pt x="20400" y="4291"/>
                </a:cubicBezTo>
                <a:cubicBezTo>
                  <a:pt x="20400" y="4291"/>
                  <a:pt x="20400" y="6873"/>
                  <a:pt x="20400" y="6873"/>
                </a:cubicBezTo>
                <a:close/>
                <a:moveTo>
                  <a:pt x="10800" y="10800"/>
                </a:moveTo>
                <a:cubicBezTo>
                  <a:pt x="5498" y="10800"/>
                  <a:pt x="1200" y="9921"/>
                  <a:pt x="1200" y="8836"/>
                </a:cubicBezTo>
                <a:cubicBezTo>
                  <a:pt x="1200" y="8672"/>
                  <a:pt x="1309" y="8514"/>
                  <a:pt x="1494" y="8362"/>
                </a:cubicBezTo>
                <a:cubicBezTo>
                  <a:pt x="3370" y="9232"/>
                  <a:pt x="6830" y="9818"/>
                  <a:pt x="10800" y="9818"/>
                </a:cubicBezTo>
                <a:cubicBezTo>
                  <a:pt x="14770" y="9818"/>
                  <a:pt x="18230" y="9232"/>
                  <a:pt x="20106" y="8362"/>
                </a:cubicBezTo>
                <a:cubicBezTo>
                  <a:pt x="20291" y="8514"/>
                  <a:pt x="20400" y="8672"/>
                  <a:pt x="20400" y="8836"/>
                </a:cubicBezTo>
                <a:cubicBezTo>
                  <a:pt x="20400" y="9921"/>
                  <a:pt x="16102" y="10800"/>
                  <a:pt x="10800" y="10800"/>
                </a:cubicBezTo>
                <a:moveTo>
                  <a:pt x="20400" y="12764"/>
                </a:moveTo>
                <a:cubicBezTo>
                  <a:pt x="20400" y="13848"/>
                  <a:pt x="16102" y="14727"/>
                  <a:pt x="10800" y="14727"/>
                </a:cubicBezTo>
                <a:cubicBezTo>
                  <a:pt x="5498" y="14727"/>
                  <a:pt x="1200" y="13848"/>
                  <a:pt x="1200" y="12764"/>
                </a:cubicBezTo>
                <a:lnTo>
                  <a:pt x="1200" y="10182"/>
                </a:lnTo>
                <a:cubicBezTo>
                  <a:pt x="2993" y="11131"/>
                  <a:pt x="6615" y="11782"/>
                  <a:pt x="10800" y="11782"/>
                </a:cubicBezTo>
                <a:cubicBezTo>
                  <a:pt x="14986" y="11782"/>
                  <a:pt x="18607" y="11131"/>
                  <a:pt x="20400" y="10182"/>
                </a:cubicBezTo>
                <a:cubicBezTo>
                  <a:pt x="20400" y="10182"/>
                  <a:pt x="20400" y="12764"/>
                  <a:pt x="20400" y="12764"/>
                </a:cubicBezTo>
                <a:close/>
                <a:moveTo>
                  <a:pt x="10800" y="16691"/>
                </a:moveTo>
                <a:cubicBezTo>
                  <a:pt x="5498" y="16691"/>
                  <a:pt x="1200" y="15812"/>
                  <a:pt x="1200" y="14727"/>
                </a:cubicBezTo>
                <a:cubicBezTo>
                  <a:pt x="1200" y="14563"/>
                  <a:pt x="1309" y="14405"/>
                  <a:pt x="1494" y="14253"/>
                </a:cubicBezTo>
                <a:cubicBezTo>
                  <a:pt x="3370" y="15123"/>
                  <a:pt x="6830" y="15709"/>
                  <a:pt x="10800" y="15709"/>
                </a:cubicBezTo>
                <a:cubicBezTo>
                  <a:pt x="14770" y="15709"/>
                  <a:pt x="18230" y="15123"/>
                  <a:pt x="20106" y="14253"/>
                </a:cubicBezTo>
                <a:cubicBezTo>
                  <a:pt x="20291" y="14405"/>
                  <a:pt x="20400" y="14563"/>
                  <a:pt x="20400" y="14727"/>
                </a:cubicBezTo>
                <a:cubicBezTo>
                  <a:pt x="20400" y="15812"/>
                  <a:pt x="16102" y="16691"/>
                  <a:pt x="10800" y="16691"/>
                </a:cubicBezTo>
                <a:moveTo>
                  <a:pt x="20400" y="18655"/>
                </a:moveTo>
                <a:cubicBezTo>
                  <a:pt x="20400" y="19739"/>
                  <a:pt x="16102" y="20618"/>
                  <a:pt x="10800" y="20618"/>
                </a:cubicBezTo>
                <a:cubicBezTo>
                  <a:pt x="5498" y="20618"/>
                  <a:pt x="1200" y="19739"/>
                  <a:pt x="1200" y="18655"/>
                </a:cubicBezTo>
                <a:lnTo>
                  <a:pt x="1200" y="16073"/>
                </a:lnTo>
                <a:cubicBezTo>
                  <a:pt x="2993" y="17022"/>
                  <a:pt x="6615" y="17673"/>
                  <a:pt x="10800" y="17673"/>
                </a:cubicBezTo>
                <a:cubicBezTo>
                  <a:pt x="14986" y="17673"/>
                  <a:pt x="18607" y="17022"/>
                  <a:pt x="20400" y="16073"/>
                </a:cubicBezTo>
                <a:cubicBezTo>
                  <a:pt x="20400" y="16073"/>
                  <a:pt x="20400" y="18655"/>
                  <a:pt x="20400" y="18655"/>
                </a:cubicBezTo>
                <a:close/>
                <a:moveTo>
                  <a:pt x="21600" y="2945"/>
                </a:moveTo>
                <a:cubicBezTo>
                  <a:pt x="21600" y="1319"/>
                  <a:pt x="16765" y="0"/>
                  <a:pt x="10800" y="0"/>
                </a:cubicBezTo>
                <a:cubicBezTo>
                  <a:pt x="4835" y="0"/>
                  <a:pt x="0" y="1319"/>
                  <a:pt x="0" y="2945"/>
                </a:cubicBezTo>
                <a:lnTo>
                  <a:pt x="0" y="6873"/>
                </a:lnTo>
                <a:cubicBezTo>
                  <a:pt x="0" y="7218"/>
                  <a:pt x="229" y="7547"/>
                  <a:pt x="628" y="7855"/>
                </a:cubicBezTo>
                <a:cubicBezTo>
                  <a:pt x="229" y="8162"/>
                  <a:pt x="0" y="8492"/>
                  <a:pt x="0" y="8836"/>
                </a:cubicBezTo>
                <a:lnTo>
                  <a:pt x="0" y="12764"/>
                </a:lnTo>
                <a:cubicBezTo>
                  <a:pt x="0" y="13109"/>
                  <a:pt x="229" y="13438"/>
                  <a:pt x="628" y="13745"/>
                </a:cubicBezTo>
                <a:cubicBezTo>
                  <a:pt x="229" y="14053"/>
                  <a:pt x="0" y="14383"/>
                  <a:pt x="0" y="14727"/>
                </a:cubicBezTo>
                <a:lnTo>
                  <a:pt x="0" y="18655"/>
                </a:lnTo>
                <a:cubicBezTo>
                  <a:pt x="0" y="20281"/>
                  <a:pt x="4835" y="21600"/>
                  <a:pt x="10800" y="21600"/>
                </a:cubicBezTo>
                <a:cubicBezTo>
                  <a:pt x="16765" y="21600"/>
                  <a:pt x="21600" y="20281"/>
                  <a:pt x="21600" y="18655"/>
                </a:cubicBezTo>
                <a:lnTo>
                  <a:pt x="21600" y="14727"/>
                </a:lnTo>
                <a:cubicBezTo>
                  <a:pt x="21600" y="14383"/>
                  <a:pt x="21371" y="14053"/>
                  <a:pt x="20972" y="13745"/>
                </a:cubicBezTo>
                <a:cubicBezTo>
                  <a:pt x="21371" y="13438"/>
                  <a:pt x="21600" y="13109"/>
                  <a:pt x="21600" y="12764"/>
                </a:cubicBezTo>
                <a:lnTo>
                  <a:pt x="21600" y="8836"/>
                </a:lnTo>
                <a:cubicBezTo>
                  <a:pt x="21600" y="8492"/>
                  <a:pt x="21371" y="8162"/>
                  <a:pt x="20972" y="7855"/>
                </a:cubicBezTo>
                <a:cubicBezTo>
                  <a:pt x="21371" y="7547"/>
                  <a:pt x="21600" y="7218"/>
                  <a:pt x="21600" y="6873"/>
                </a:cubicBezTo>
                <a:cubicBezTo>
                  <a:pt x="21600" y="6873"/>
                  <a:pt x="21600" y="2945"/>
                  <a:pt x="2160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9" name="Shape 2859"/>
          <p:cNvSpPr/>
          <p:nvPr/>
        </p:nvSpPr>
        <p:spPr>
          <a:xfrm>
            <a:off x="386021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0" name="Shape 2860"/>
          <p:cNvSpPr/>
          <p:nvPr/>
        </p:nvSpPr>
        <p:spPr>
          <a:xfrm>
            <a:off x="426015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1" name="Shape 2861"/>
          <p:cNvSpPr/>
          <p:nvPr/>
        </p:nvSpPr>
        <p:spPr>
          <a:xfrm>
            <a:off x="468867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19" y="12090"/>
                  <a:pt x="14019" y="12428"/>
                  <a:pt x="14019" y="12428"/>
                </a:cubicBezTo>
                <a:lnTo>
                  <a:pt x="14019" y="12863"/>
                </a:lnTo>
                <a:lnTo>
                  <a:pt x="14628" y="12863"/>
                </a:lnTo>
                <a:lnTo>
                  <a:pt x="14628" y="12428"/>
                </a:lnTo>
                <a:cubicBezTo>
                  <a:pt x="14628" y="12428"/>
                  <a:pt x="14628" y="12090"/>
                  <a:pt x="14324" y="12090"/>
                </a:cubicBezTo>
                <a:moveTo>
                  <a:pt x="15287" y="12380"/>
                </a:moveTo>
                <a:lnTo>
                  <a:pt x="15287" y="13348"/>
                </a:lnTo>
                <a:lnTo>
                  <a:pt x="14019" y="13348"/>
                </a:lnTo>
                <a:lnTo>
                  <a:pt x="14019" y="14072"/>
                </a:lnTo>
                <a:cubicBezTo>
                  <a:pt x="14019" y="14072"/>
                  <a:pt x="14019" y="14411"/>
                  <a:pt x="14324" y="14411"/>
                </a:cubicBezTo>
                <a:cubicBezTo>
                  <a:pt x="14628" y="14411"/>
                  <a:pt x="14628" y="14072"/>
                  <a:pt x="14628" y="14072"/>
                </a:cubicBezTo>
                <a:lnTo>
                  <a:pt x="14628" y="13734"/>
                </a:lnTo>
                <a:lnTo>
                  <a:pt x="15287" y="13734"/>
                </a:lnTo>
                <a:lnTo>
                  <a:pt x="15287" y="14266"/>
                </a:lnTo>
                <a:cubicBezTo>
                  <a:pt x="15287" y="14266"/>
                  <a:pt x="15186" y="14943"/>
                  <a:pt x="14375" y="14943"/>
                </a:cubicBezTo>
                <a:cubicBezTo>
                  <a:pt x="13564"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1"/>
                </a:cubicBezTo>
                <a:lnTo>
                  <a:pt x="11687" y="14895"/>
                </a:lnTo>
                <a:lnTo>
                  <a:pt x="11028" y="14895"/>
                </a:lnTo>
                <a:lnTo>
                  <a:pt x="11028" y="10446"/>
                </a:lnTo>
                <a:lnTo>
                  <a:pt x="11687" y="10446"/>
                </a:lnTo>
                <a:lnTo>
                  <a:pt x="11687" y="11888"/>
                </a:lnTo>
                <a:cubicBezTo>
                  <a:pt x="11788" y="11782"/>
                  <a:pt x="12036" y="11558"/>
                  <a:pt x="12347" y="11558"/>
                </a:cubicBezTo>
                <a:cubicBezTo>
                  <a:pt x="12752" y="11558"/>
                  <a:pt x="12904" y="11896"/>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3" y="11074"/>
                </a:lnTo>
                <a:lnTo>
                  <a:pt x="6363" y="10446"/>
                </a:lnTo>
                <a:lnTo>
                  <a:pt x="8595" y="10446"/>
                </a:lnTo>
                <a:cubicBezTo>
                  <a:pt x="8595" y="10446"/>
                  <a:pt x="8595" y="11074"/>
                  <a:pt x="8595" y="11074"/>
                </a:cubicBezTo>
                <a:close/>
                <a:moveTo>
                  <a:pt x="14527" y="9430"/>
                </a:moveTo>
                <a:cubicBezTo>
                  <a:pt x="14527" y="9430"/>
                  <a:pt x="12667" y="9334"/>
                  <a:pt x="10800" y="9334"/>
                </a:cubicBezTo>
                <a:cubicBezTo>
                  <a:pt x="8940" y="9334"/>
                  <a:pt x="7074" y="9430"/>
                  <a:pt x="7074" y="9430"/>
                </a:cubicBezTo>
                <a:cubicBezTo>
                  <a:pt x="6233" y="9430"/>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5"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0"/>
                  <a:pt x="14527" y="9430"/>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0"/>
                </a:moveTo>
                <a:cubicBezTo>
                  <a:pt x="11860" y="12090"/>
                  <a:pt x="11757" y="12168"/>
                  <a:pt x="11687" y="12243"/>
                </a:cubicBezTo>
                <a:lnTo>
                  <a:pt x="11687" y="14276"/>
                </a:lnTo>
                <a:cubicBezTo>
                  <a:pt x="11751" y="14345"/>
                  <a:pt x="11847" y="14411"/>
                  <a:pt x="11992" y="14411"/>
                </a:cubicBezTo>
                <a:cubicBezTo>
                  <a:pt x="12296" y="14411"/>
                  <a:pt x="12296" y="14072"/>
                  <a:pt x="12296" y="14072"/>
                </a:cubicBezTo>
                <a:lnTo>
                  <a:pt x="12296" y="12428"/>
                </a:lnTo>
                <a:cubicBezTo>
                  <a:pt x="12296" y="12428"/>
                  <a:pt x="12245" y="12090"/>
                  <a:pt x="11992" y="1209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1"/>
                </a:moveTo>
                <a:cubicBezTo>
                  <a:pt x="12802" y="8801"/>
                  <a:pt x="13158" y="8449"/>
                  <a:pt x="13158" y="8449"/>
                </a:cubicBezTo>
                <a:lnTo>
                  <a:pt x="13158" y="8751"/>
                </a:lnTo>
                <a:lnTo>
                  <a:pt x="13766" y="8751"/>
                </a:lnTo>
                <a:lnTo>
                  <a:pt x="13766" y="5878"/>
                </a:lnTo>
                <a:lnTo>
                  <a:pt x="13158" y="5878"/>
                </a:lnTo>
                <a:lnTo>
                  <a:pt x="13158" y="8096"/>
                </a:lnTo>
                <a:cubicBezTo>
                  <a:pt x="13158" y="8096"/>
                  <a:pt x="12955" y="8348"/>
                  <a:pt x="12752" y="8348"/>
                </a:cubicBezTo>
                <a:cubicBezTo>
                  <a:pt x="12549" y="8348"/>
                  <a:pt x="12549" y="8196"/>
                  <a:pt x="12549" y="8196"/>
                </a:cubicBezTo>
                <a:lnTo>
                  <a:pt x="12549" y="5878"/>
                </a:lnTo>
                <a:lnTo>
                  <a:pt x="11941" y="5878"/>
                </a:lnTo>
                <a:lnTo>
                  <a:pt x="11941" y="8398"/>
                </a:lnTo>
                <a:cubicBezTo>
                  <a:pt x="11941" y="8398"/>
                  <a:pt x="11992" y="8801"/>
                  <a:pt x="12397" y="8801"/>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8"/>
                  <a:pt x="10572" y="5878"/>
                </a:cubicBezTo>
                <a:lnTo>
                  <a:pt x="10369" y="5878"/>
                </a:lnTo>
                <a:cubicBezTo>
                  <a:pt x="9921" y="5878"/>
                  <a:pt x="9558" y="6239"/>
                  <a:pt x="9558" y="6684"/>
                </a:cubicBezTo>
                <a:lnTo>
                  <a:pt x="9558" y="7995"/>
                </a:lnTo>
                <a:cubicBezTo>
                  <a:pt x="9558" y="8440"/>
                  <a:pt x="9921" y="8801"/>
                  <a:pt x="10369"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2" name="Shape 2862"/>
          <p:cNvSpPr/>
          <p:nvPr/>
        </p:nvSpPr>
        <p:spPr>
          <a:xfrm>
            <a:off x="508861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3" name="Shape 2863"/>
          <p:cNvSpPr/>
          <p:nvPr/>
        </p:nvSpPr>
        <p:spPr>
          <a:xfrm>
            <a:off x="548856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4" name="Shape 2864"/>
          <p:cNvSpPr/>
          <p:nvPr/>
        </p:nvSpPr>
        <p:spPr>
          <a:xfrm>
            <a:off x="588850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5" name="Shape 2865"/>
          <p:cNvSpPr/>
          <p:nvPr/>
        </p:nvSpPr>
        <p:spPr>
          <a:xfrm>
            <a:off x="6288453"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6" name="Shape 2866"/>
          <p:cNvSpPr/>
          <p:nvPr/>
        </p:nvSpPr>
        <p:spPr>
          <a:xfrm>
            <a:off x="6688399"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591" y="13291"/>
                </a:moveTo>
                <a:cubicBezTo>
                  <a:pt x="11452" y="13214"/>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9" y="13478"/>
                  <a:pt x="9448" y="13667"/>
                </a:cubicBezTo>
                <a:cubicBezTo>
                  <a:pt x="9528" y="13856"/>
                  <a:pt x="9671" y="14034"/>
                  <a:pt x="9879" y="14202"/>
                </a:cubicBezTo>
                <a:cubicBezTo>
                  <a:pt x="10086" y="14370"/>
                  <a:pt x="10336" y="14498"/>
                  <a:pt x="10629" y="14589"/>
                </a:cubicBezTo>
                <a:cubicBezTo>
                  <a:pt x="10922" y="14679"/>
                  <a:pt x="11238" y="14727"/>
                  <a:pt x="11620" y="14727"/>
                </a:cubicBezTo>
                <a:cubicBezTo>
                  <a:pt x="11955" y="14727"/>
                  <a:pt x="12228" y="14693"/>
                  <a:pt x="12517" y="14629"/>
                </a:cubicBezTo>
                <a:cubicBezTo>
                  <a:pt x="12806" y="14566"/>
                  <a:pt x="13221" y="14455"/>
                  <a:pt x="13578" y="14297"/>
                </a:cubicBezTo>
                <a:lnTo>
                  <a:pt x="13583" y="13091"/>
                </a:lnTo>
                <a:cubicBezTo>
                  <a:pt x="13165" y="13349"/>
                  <a:pt x="12648" y="13447"/>
                  <a:pt x="12225" y="13447"/>
                </a:cubicBezTo>
                <a:cubicBezTo>
                  <a:pt x="11987" y="13447"/>
                  <a:pt x="11776" y="13395"/>
                  <a:pt x="11591"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7" name="Shape 2867"/>
          <p:cNvSpPr/>
          <p:nvPr/>
        </p:nvSpPr>
        <p:spPr>
          <a:xfrm>
            <a:off x="7088345"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2"/>
                </a:lnTo>
                <a:cubicBezTo>
                  <a:pt x="13281" y="13032"/>
                  <a:pt x="13386" y="13050"/>
                  <a:pt x="13473" y="13085"/>
                </a:cubicBezTo>
                <a:lnTo>
                  <a:pt x="13579" y="13126"/>
                </a:lnTo>
                <a:lnTo>
                  <a:pt x="13598" y="13012"/>
                </a:lnTo>
                <a:cubicBezTo>
                  <a:pt x="13837" y="11522"/>
                  <a:pt x="14296" y="9525"/>
                  <a:pt x="14542" y="8453"/>
                </a:cubicBezTo>
                <a:cubicBezTo>
                  <a:pt x="14618" y="8121"/>
                  <a:pt x="14675" y="7877"/>
                  <a:pt x="14698" y="7763"/>
                </a:cubicBezTo>
                <a:cubicBezTo>
                  <a:pt x="14745" y="7530"/>
                  <a:pt x="14724" y="7343"/>
                  <a:pt x="14637" y="7206"/>
                </a:cubicBezTo>
                <a:cubicBezTo>
                  <a:pt x="14563" y="7092"/>
                  <a:pt x="14447" y="7018"/>
                  <a:pt x="14291" y="6986"/>
                </a:cubicBezTo>
                <a:moveTo>
                  <a:pt x="13280" y="13606"/>
                </a:moveTo>
                <a:cubicBezTo>
                  <a:pt x="12921" y="13524"/>
                  <a:pt x="12660" y="13682"/>
                  <a:pt x="12569" y="14030"/>
                </a:cubicBezTo>
                <a:cubicBezTo>
                  <a:pt x="12528" y="14187"/>
                  <a:pt x="12550" y="14335"/>
                  <a:pt x="12631" y="14459"/>
                </a:cubicBezTo>
                <a:cubicBezTo>
                  <a:pt x="12706" y="14574"/>
                  <a:pt x="12831" y="14661"/>
                  <a:pt x="12982" y="14701"/>
                </a:cubicBezTo>
                <a:cubicBezTo>
                  <a:pt x="13045" y="14719"/>
                  <a:pt x="13109" y="14728"/>
                  <a:pt x="13172" y="14728"/>
                </a:cubicBezTo>
                <a:cubicBezTo>
                  <a:pt x="13438" y="14728"/>
                  <a:pt x="13639" y="14578"/>
                  <a:pt x="13698" y="14338"/>
                </a:cubicBezTo>
                <a:cubicBezTo>
                  <a:pt x="13741" y="14156"/>
                  <a:pt x="13722" y="13990"/>
                  <a:pt x="13643" y="13857"/>
                </a:cubicBezTo>
                <a:cubicBezTo>
                  <a:pt x="13567" y="13732"/>
                  <a:pt x="13439" y="13644"/>
                  <a:pt x="13280" y="13606"/>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98" y="6884"/>
                </a:moveTo>
                <a:lnTo>
                  <a:pt x="12930" y="6884"/>
                </a:lnTo>
                <a:lnTo>
                  <a:pt x="12906" y="6887"/>
                </a:lnTo>
                <a:cubicBezTo>
                  <a:pt x="12646" y="6961"/>
                  <a:pt x="12244" y="6961"/>
                  <a:pt x="11983" y="6887"/>
                </a:cubicBezTo>
                <a:lnTo>
                  <a:pt x="11902" y="6884"/>
                </a:lnTo>
                <a:lnTo>
                  <a:pt x="9988" y="10156"/>
                </a:lnTo>
                <a:lnTo>
                  <a:pt x="8067" y="6873"/>
                </a:lnTo>
                <a:lnTo>
                  <a:pt x="8000" y="6891"/>
                </a:lnTo>
                <a:cubicBezTo>
                  <a:pt x="7739" y="6962"/>
                  <a:pt x="7347" y="6960"/>
                  <a:pt x="7088" y="6887"/>
                </a:cubicBezTo>
                <a:lnTo>
                  <a:pt x="6878" y="6884"/>
                </a:lnTo>
                <a:lnTo>
                  <a:pt x="9482" y="11392"/>
                </a:lnTo>
                <a:lnTo>
                  <a:pt x="9404" y="14626"/>
                </a:lnTo>
                <a:lnTo>
                  <a:pt x="9407" y="14722"/>
                </a:lnTo>
                <a:lnTo>
                  <a:pt x="9502" y="14722"/>
                </a:lnTo>
                <a:lnTo>
                  <a:pt x="9526" y="14719"/>
                </a:lnTo>
                <a:cubicBezTo>
                  <a:pt x="9786" y="14646"/>
                  <a:pt x="10190" y="14646"/>
                  <a:pt x="10449" y="14719"/>
                </a:cubicBezTo>
                <a:lnTo>
                  <a:pt x="10573" y="14722"/>
                </a:lnTo>
                <a:lnTo>
                  <a:pt x="10512" y="11391"/>
                </a:lnTo>
                <a:cubicBezTo>
                  <a:pt x="10600" y="11229"/>
                  <a:pt x="11150" y="10205"/>
                  <a:pt x="11738" y="9180"/>
                </a:cubicBezTo>
                <a:cubicBezTo>
                  <a:pt x="12342" y="8126"/>
                  <a:pt x="13008" y="7040"/>
                  <a:pt x="13015" y="7029"/>
                </a:cubicBezTo>
                <a:cubicBezTo>
                  <a:pt x="13015" y="7029"/>
                  <a:pt x="13098" y="6884"/>
                  <a:pt x="13098" y="688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8" name="Shape 2868"/>
          <p:cNvSpPr/>
          <p:nvPr/>
        </p:nvSpPr>
        <p:spPr>
          <a:xfrm>
            <a:off x="748829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62" y="5890"/>
                </a:moveTo>
                <a:lnTo>
                  <a:pt x="10786" y="7776"/>
                </a:lnTo>
                <a:lnTo>
                  <a:pt x="13925" y="9725"/>
                </a:lnTo>
                <a:lnTo>
                  <a:pt x="16200" y="7926"/>
                </a:lnTo>
                <a:cubicBezTo>
                  <a:pt x="16200" y="7926"/>
                  <a:pt x="13062" y="5890"/>
                  <a:pt x="13062" y="5890"/>
                </a:cubicBezTo>
                <a:close/>
                <a:moveTo>
                  <a:pt x="5400" y="8027"/>
                </a:moveTo>
                <a:lnTo>
                  <a:pt x="7647" y="9763"/>
                </a:lnTo>
                <a:lnTo>
                  <a:pt x="10786" y="7776"/>
                </a:lnTo>
                <a:lnTo>
                  <a:pt x="8630" y="5891"/>
                </a:lnTo>
                <a:cubicBezTo>
                  <a:pt x="8630" y="5891"/>
                  <a:pt x="5400" y="8027"/>
                  <a:pt x="5400" y="8027"/>
                </a:cubicBezTo>
                <a:close/>
                <a:moveTo>
                  <a:pt x="12965" y="14699"/>
                </a:moveTo>
                <a:lnTo>
                  <a:pt x="12958" y="14707"/>
                </a:lnTo>
                <a:lnTo>
                  <a:pt x="10801" y="13100"/>
                </a:lnTo>
                <a:lnTo>
                  <a:pt x="8731" y="14685"/>
                </a:lnTo>
                <a:lnTo>
                  <a:pt x="8712" y="14715"/>
                </a:lnTo>
                <a:lnTo>
                  <a:pt x="7571" y="14025"/>
                </a:lnTo>
                <a:lnTo>
                  <a:pt x="7571" y="14627"/>
                </a:lnTo>
                <a:lnTo>
                  <a:pt x="10799" y="16692"/>
                </a:lnTo>
                <a:lnTo>
                  <a:pt x="14000" y="14627"/>
                </a:lnTo>
                <a:lnTo>
                  <a:pt x="14000" y="14067"/>
                </a:lnTo>
                <a:lnTo>
                  <a:pt x="12965" y="14699"/>
                </a:lnTo>
                <a:cubicBezTo>
                  <a:pt x="12965" y="14699"/>
                  <a:pt x="12965" y="14699"/>
                  <a:pt x="12965" y="14699"/>
                </a:cubicBezTo>
                <a:close/>
                <a:moveTo>
                  <a:pt x="7642" y="9766"/>
                </a:moveTo>
                <a:lnTo>
                  <a:pt x="5404" y="11577"/>
                </a:lnTo>
                <a:lnTo>
                  <a:pt x="7350" y="12746"/>
                </a:lnTo>
                <a:lnTo>
                  <a:pt x="7351" y="12745"/>
                </a:lnTo>
                <a:lnTo>
                  <a:pt x="7775" y="13002"/>
                </a:lnTo>
                <a:lnTo>
                  <a:pt x="8631" y="13516"/>
                </a:lnTo>
                <a:lnTo>
                  <a:pt x="10063" y="12429"/>
                </a:lnTo>
                <a:lnTo>
                  <a:pt x="10780" y="11880"/>
                </a:lnTo>
                <a:lnTo>
                  <a:pt x="10782" y="11882"/>
                </a:lnTo>
                <a:lnTo>
                  <a:pt x="10786" y="11880"/>
                </a:lnTo>
                <a:lnTo>
                  <a:pt x="10798" y="11888"/>
                </a:lnTo>
                <a:lnTo>
                  <a:pt x="10805" y="11880"/>
                </a:lnTo>
                <a:lnTo>
                  <a:pt x="12509" y="13148"/>
                </a:lnTo>
                <a:lnTo>
                  <a:pt x="13007" y="13515"/>
                </a:lnTo>
                <a:lnTo>
                  <a:pt x="16198" y="11575"/>
                </a:lnTo>
                <a:lnTo>
                  <a:pt x="13925" y="9727"/>
                </a:lnTo>
                <a:lnTo>
                  <a:pt x="10788" y="11715"/>
                </a:lnTo>
                <a:cubicBezTo>
                  <a:pt x="10788" y="11715"/>
                  <a:pt x="7642" y="9766"/>
                  <a:pt x="7642" y="9766"/>
                </a:cubicBezTo>
                <a:close/>
                <a:moveTo>
                  <a:pt x="13925" y="9727"/>
                </a:moveTo>
                <a:lnTo>
                  <a:pt x="13925" y="9725"/>
                </a:lnTo>
                <a:lnTo>
                  <a:pt x="13925" y="9725"/>
                </a:lnTo>
                <a:lnTo>
                  <a:pt x="13924" y="9725"/>
                </a:lnTo>
                <a:cubicBezTo>
                  <a:pt x="13924" y="9725"/>
                  <a:pt x="13925" y="9727"/>
                  <a:pt x="13925" y="97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9" name="Shape 2869"/>
          <p:cNvSpPr/>
          <p:nvPr/>
        </p:nvSpPr>
        <p:spPr>
          <a:xfrm>
            <a:off x="788823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0" name="Shape 2870"/>
          <p:cNvSpPr/>
          <p:nvPr/>
        </p:nvSpPr>
        <p:spPr>
          <a:xfrm>
            <a:off x="82881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7"/>
                </a:lnTo>
                <a:cubicBezTo>
                  <a:pt x="15118" y="9995"/>
                  <a:pt x="15213" y="9425"/>
                  <a:pt x="15213" y="8919"/>
                </a:cubicBezTo>
                <a:cubicBezTo>
                  <a:pt x="15213" y="8812"/>
                  <a:pt x="15201" y="8718"/>
                  <a:pt x="15194" y="8620"/>
                </a:cubicBezTo>
                <a:cubicBezTo>
                  <a:pt x="15521" y="9277"/>
                  <a:pt x="15709" y="10016"/>
                  <a:pt x="15709" y="10800"/>
                </a:cubicBezTo>
                <a:moveTo>
                  <a:pt x="11487"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1" y="8413"/>
                </a:cubicBezTo>
                <a:cubicBezTo>
                  <a:pt x="9351" y="8413"/>
                  <a:pt x="9605" y="8444"/>
                  <a:pt x="9874" y="8460"/>
                </a:cubicBezTo>
                <a:lnTo>
                  <a:pt x="10651" y="10590"/>
                </a:lnTo>
                <a:lnTo>
                  <a:pt x="9559" y="13866"/>
                </a:lnTo>
                <a:lnTo>
                  <a:pt x="7742" y="8460"/>
                </a:lnTo>
                <a:cubicBezTo>
                  <a:pt x="8042" y="8444"/>
                  <a:pt x="8313" y="8413"/>
                  <a:pt x="8313" y="8413"/>
                </a:cubicBezTo>
                <a:cubicBezTo>
                  <a:pt x="8581" y="8380"/>
                  <a:pt x="8550" y="7986"/>
                  <a:pt x="8281" y="8001"/>
                </a:cubicBezTo>
                <a:cubicBezTo>
                  <a:pt x="8281" y="8001"/>
                  <a:pt x="7473" y="8065"/>
                  <a:pt x="6951" y="8065"/>
                </a:cubicBezTo>
                <a:cubicBezTo>
                  <a:pt x="6885" y="8065"/>
                  <a:pt x="6805" y="8063"/>
                  <a:pt x="6726" y="8060"/>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90" y="12162"/>
                </a:cubicBezTo>
                <a:lnTo>
                  <a:pt x="13291" y="13825"/>
                </a:lnTo>
                <a:cubicBezTo>
                  <a:pt x="13291" y="13825"/>
                  <a:pt x="11487" y="8460"/>
                  <a:pt x="11487" y="8460"/>
                </a:cubicBezTo>
                <a:close/>
                <a:moveTo>
                  <a:pt x="10800" y="15709"/>
                </a:moveTo>
                <a:cubicBezTo>
                  <a:pt x="10320" y="15709"/>
                  <a:pt x="9857" y="15637"/>
                  <a:pt x="9417" y="15508"/>
                </a:cubicBezTo>
                <a:lnTo>
                  <a:pt x="10887" y="11237"/>
                </a:lnTo>
                <a:cubicBezTo>
                  <a:pt x="10887" y="11237"/>
                  <a:pt x="12211" y="14864"/>
                  <a:pt x="12426" y="15428"/>
                </a:cubicBezTo>
                <a:cubicBezTo>
                  <a:pt x="11916" y="15607"/>
                  <a:pt x="11370" y="15709"/>
                  <a:pt x="10800" y="15709"/>
                </a:cubicBezTo>
                <a:moveTo>
                  <a:pt x="5891" y="10800"/>
                </a:moveTo>
                <a:cubicBezTo>
                  <a:pt x="5891" y="10118"/>
                  <a:pt x="6030" y="9470"/>
                  <a:pt x="6281" y="8880"/>
                </a:cubicBezTo>
                <a:lnTo>
                  <a:pt x="8578"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4" y="16691"/>
                  <a:pt x="16691" y="14054"/>
                  <a:pt x="16691" y="10800"/>
                </a:cubicBezTo>
                <a:cubicBezTo>
                  <a:pt x="16691" y="7547"/>
                  <a:pt x="14054" y="4909"/>
                  <a:pt x="10800" y="4909"/>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1" name="Shape 2871"/>
          <p:cNvSpPr/>
          <p:nvPr/>
        </p:nvSpPr>
        <p:spPr>
          <a:xfrm>
            <a:off x="468867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36" y="10309"/>
                </a:moveTo>
                <a:cubicBezTo>
                  <a:pt x="13552"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9" y="14322"/>
                  <a:pt x="13226" y="15065"/>
                </a:cubicBezTo>
                <a:moveTo>
                  <a:pt x="10800" y="15709"/>
                </a:moveTo>
                <a:cubicBezTo>
                  <a:pt x="9746" y="15709"/>
                  <a:pt x="8772" y="15374"/>
                  <a:pt x="7971" y="14808"/>
                </a:cubicBezTo>
                <a:cubicBezTo>
                  <a:pt x="8822" y="13429"/>
                  <a:pt x="10108" y="12348"/>
                  <a:pt x="11646" y="11769"/>
                </a:cubicBezTo>
                <a:cubicBezTo>
                  <a:pt x="12027" y="12943"/>
                  <a:pt x="12241" y="14191"/>
                  <a:pt x="12264" y="15487"/>
                </a:cubicBezTo>
                <a:cubicBezTo>
                  <a:pt x="11801" y="15631"/>
                  <a:pt x="11310" y="15709"/>
                  <a:pt x="10800" y="15709"/>
                </a:cubicBezTo>
                <a:moveTo>
                  <a:pt x="5891" y="10800"/>
                </a:moveTo>
                <a:cubicBezTo>
                  <a:pt x="7641" y="10800"/>
                  <a:pt x="9313" y="10470"/>
                  <a:pt x="10852" y="9873"/>
                </a:cubicBezTo>
                <a:cubicBezTo>
                  <a:pt x="11016"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9"/>
                  <a:pt x="10353" y="9000"/>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3"/>
                  <a:pt x="7547" y="16691"/>
                  <a:pt x="10800" y="16691"/>
                </a:cubicBezTo>
                <a:cubicBezTo>
                  <a:pt x="14053" y="16691"/>
                  <a:pt x="16691" y="14053"/>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2" name="Shape 2872"/>
          <p:cNvSpPr/>
          <p:nvPr/>
        </p:nvSpPr>
        <p:spPr>
          <a:xfrm>
            <a:off x="508861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3" name="Shape 2873"/>
          <p:cNvSpPr/>
          <p:nvPr/>
        </p:nvSpPr>
        <p:spPr>
          <a:xfrm>
            <a:off x="548856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4" name="Shape 2874"/>
          <p:cNvSpPr/>
          <p:nvPr/>
        </p:nvSpPr>
        <p:spPr>
          <a:xfrm>
            <a:off x="588850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20" y="12090"/>
                  <a:pt x="14020" y="12429"/>
                  <a:pt x="14020" y="12429"/>
                </a:cubicBezTo>
                <a:lnTo>
                  <a:pt x="14020" y="12863"/>
                </a:lnTo>
                <a:lnTo>
                  <a:pt x="14629" y="12863"/>
                </a:lnTo>
                <a:lnTo>
                  <a:pt x="14629" y="12429"/>
                </a:lnTo>
                <a:cubicBezTo>
                  <a:pt x="14629" y="12429"/>
                  <a:pt x="14629" y="12090"/>
                  <a:pt x="14324" y="12090"/>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4" y="14943"/>
                  <a:pt x="13412" y="14266"/>
                  <a:pt x="13412" y="14266"/>
                </a:cubicBezTo>
                <a:lnTo>
                  <a:pt x="13412" y="12380"/>
                </a:lnTo>
                <a:cubicBezTo>
                  <a:pt x="13412" y="12380"/>
                  <a:pt x="13412" y="11558"/>
                  <a:pt x="14375" y="11558"/>
                </a:cubicBezTo>
                <a:cubicBezTo>
                  <a:pt x="15338" y="11558"/>
                  <a:pt x="15287" y="12380"/>
                  <a:pt x="15287" y="12380"/>
                </a:cubicBezTo>
                <a:moveTo>
                  <a:pt x="12905" y="14169"/>
                </a:moveTo>
                <a:cubicBezTo>
                  <a:pt x="12905" y="14169"/>
                  <a:pt x="12905" y="14943"/>
                  <a:pt x="12347" y="14943"/>
                </a:cubicBezTo>
                <a:cubicBezTo>
                  <a:pt x="12005" y="14943"/>
                  <a:pt x="11798" y="14762"/>
                  <a:pt x="11688" y="14621"/>
                </a:cubicBezTo>
                <a:lnTo>
                  <a:pt x="11688" y="14895"/>
                </a:lnTo>
                <a:lnTo>
                  <a:pt x="11028" y="14895"/>
                </a:lnTo>
                <a:lnTo>
                  <a:pt x="11028" y="10446"/>
                </a:lnTo>
                <a:lnTo>
                  <a:pt x="11688" y="10446"/>
                </a:lnTo>
                <a:lnTo>
                  <a:pt x="11688" y="11888"/>
                </a:lnTo>
                <a:cubicBezTo>
                  <a:pt x="11788" y="11782"/>
                  <a:pt x="12037" y="11558"/>
                  <a:pt x="12347" y="11558"/>
                </a:cubicBezTo>
                <a:cubicBezTo>
                  <a:pt x="12752" y="11558"/>
                  <a:pt x="12905" y="11896"/>
                  <a:pt x="12905" y="12332"/>
                </a:cubicBezTo>
                <a:cubicBezTo>
                  <a:pt x="12905" y="12332"/>
                  <a:pt x="12905" y="14169"/>
                  <a:pt x="12905"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0"/>
                </a:moveTo>
                <a:cubicBezTo>
                  <a:pt x="14527" y="9430"/>
                  <a:pt x="12667" y="9334"/>
                  <a:pt x="10800" y="9334"/>
                </a:cubicBezTo>
                <a:cubicBezTo>
                  <a:pt x="8941" y="9334"/>
                  <a:pt x="7074" y="9430"/>
                  <a:pt x="7074" y="9430"/>
                </a:cubicBezTo>
                <a:cubicBezTo>
                  <a:pt x="6234" y="9430"/>
                  <a:pt x="5552" y="10080"/>
                  <a:pt x="5552" y="10881"/>
                </a:cubicBezTo>
                <a:cubicBezTo>
                  <a:pt x="5552" y="10881"/>
                  <a:pt x="5400" y="11822"/>
                  <a:pt x="5400" y="12767"/>
                </a:cubicBezTo>
                <a:cubicBezTo>
                  <a:pt x="5400" y="13708"/>
                  <a:pt x="5552" y="14652"/>
                  <a:pt x="5552" y="14652"/>
                </a:cubicBezTo>
                <a:cubicBezTo>
                  <a:pt x="5552" y="15454"/>
                  <a:pt x="6234" y="16104"/>
                  <a:pt x="7074" y="16104"/>
                </a:cubicBezTo>
                <a:cubicBezTo>
                  <a:pt x="7074" y="16104"/>
                  <a:pt x="8905" y="16200"/>
                  <a:pt x="10800" y="16200"/>
                </a:cubicBezTo>
                <a:cubicBezTo>
                  <a:pt x="12631" y="16200"/>
                  <a:pt x="14527" y="16104"/>
                  <a:pt x="14527" y="16104"/>
                </a:cubicBezTo>
                <a:cubicBezTo>
                  <a:pt x="15367" y="16104"/>
                  <a:pt x="16049" y="15454"/>
                  <a:pt x="16049" y="14652"/>
                </a:cubicBezTo>
                <a:cubicBezTo>
                  <a:pt x="16049" y="14652"/>
                  <a:pt x="16200" y="13700"/>
                  <a:pt x="16200" y="12767"/>
                </a:cubicBezTo>
                <a:cubicBezTo>
                  <a:pt x="16200" y="11814"/>
                  <a:pt x="16049" y="10881"/>
                  <a:pt x="16049" y="10881"/>
                </a:cubicBezTo>
                <a:cubicBezTo>
                  <a:pt x="16049" y="10080"/>
                  <a:pt x="15367" y="9430"/>
                  <a:pt x="14527" y="9430"/>
                </a:cubicBezTo>
                <a:moveTo>
                  <a:pt x="11992" y="12090"/>
                </a:moveTo>
                <a:cubicBezTo>
                  <a:pt x="11860" y="12090"/>
                  <a:pt x="11757" y="12167"/>
                  <a:pt x="11688" y="12243"/>
                </a:cubicBezTo>
                <a:lnTo>
                  <a:pt x="11688" y="14276"/>
                </a:lnTo>
                <a:cubicBezTo>
                  <a:pt x="11751" y="14345"/>
                  <a:pt x="11848" y="14411"/>
                  <a:pt x="11992" y="14411"/>
                </a:cubicBezTo>
                <a:cubicBezTo>
                  <a:pt x="12296" y="14411"/>
                  <a:pt x="12296" y="14072"/>
                  <a:pt x="12296" y="14072"/>
                </a:cubicBezTo>
                <a:lnTo>
                  <a:pt x="12296" y="12429"/>
                </a:lnTo>
                <a:cubicBezTo>
                  <a:pt x="12296" y="12429"/>
                  <a:pt x="12245" y="12090"/>
                  <a:pt x="11992" y="12090"/>
                </a:cubicBezTo>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0166" y="6634"/>
                </a:moveTo>
                <a:cubicBezTo>
                  <a:pt x="10166" y="6467"/>
                  <a:pt x="10303" y="6332"/>
                  <a:pt x="10471" y="6332"/>
                </a:cubicBezTo>
                <a:cubicBezTo>
                  <a:pt x="10639" y="6332"/>
                  <a:pt x="10775" y="6467"/>
                  <a:pt x="10775" y="6634"/>
                </a:cubicBezTo>
                <a:lnTo>
                  <a:pt x="10775" y="8045"/>
                </a:lnTo>
                <a:cubicBezTo>
                  <a:pt x="10775" y="8212"/>
                  <a:pt x="10639" y="8348"/>
                  <a:pt x="10471" y="8348"/>
                </a:cubicBezTo>
                <a:cubicBezTo>
                  <a:pt x="10303"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7"/>
                  <a:pt x="10572" y="5877"/>
                </a:cubicBezTo>
                <a:lnTo>
                  <a:pt x="10369" y="5877"/>
                </a:lnTo>
                <a:cubicBezTo>
                  <a:pt x="9921" y="5877"/>
                  <a:pt x="9558" y="6239"/>
                  <a:pt x="9558" y="6684"/>
                </a:cubicBezTo>
                <a:lnTo>
                  <a:pt x="9558" y="7995"/>
                </a:lnTo>
                <a:cubicBezTo>
                  <a:pt x="9558" y="8440"/>
                  <a:pt x="9921" y="8801"/>
                  <a:pt x="10369" y="8801"/>
                </a:cubicBezTo>
                <a:moveTo>
                  <a:pt x="12398" y="8801"/>
                </a:moveTo>
                <a:cubicBezTo>
                  <a:pt x="12803" y="8801"/>
                  <a:pt x="13158" y="8449"/>
                  <a:pt x="13158" y="8449"/>
                </a:cubicBezTo>
                <a:lnTo>
                  <a:pt x="13158" y="8751"/>
                </a:lnTo>
                <a:lnTo>
                  <a:pt x="13767" y="8751"/>
                </a:lnTo>
                <a:lnTo>
                  <a:pt x="13767" y="5877"/>
                </a:lnTo>
                <a:lnTo>
                  <a:pt x="13158" y="5877"/>
                </a:lnTo>
                <a:lnTo>
                  <a:pt x="13158" y="8096"/>
                </a:lnTo>
                <a:cubicBezTo>
                  <a:pt x="13158" y="8096"/>
                  <a:pt x="12955" y="8348"/>
                  <a:pt x="12752" y="8348"/>
                </a:cubicBezTo>
                <a:cubicBezTo>
                  <a:pt x="12550" y="8348"/>
                  <a:pt x="12550" y="8197"/>
                  <a:pt x="12550" y="8197"/>
                </a:cubicBezTo>
                <a:lnTo>
                  <a:pt x="12550" y="5877"/>
                </a:lnTo>
                <a:lnTo>
                  <a:pt x="11941" y="5877"/>
                </a:lnTo>
                <a:lnTo>
                  <a:pt x="11941" y="8398"/>
                </a:lnTo>
                <a:cubicBezTo>
                  <a:pt x="11941" y="8398"/>
                  <a:pt x="11992" y="8801"/>
                  <a:pt x="12398"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5" name="Shape 2875"/>
          <p:cNvSpPr/>
          <p:nvPr/>
        </p:nvSpPr>
        <p:spPr>
          <a:xfrm>
            <a:off x="6288453"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672" y="6382"/>
                </a:moveTo>
                <a:cubicBezTo>
                  <a:pt x="10463"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8" y="11643"/>
                </a:cubicBezTo>
                <a:cubicBezTo>
                  <a:pt x="8462" y="11568"/>
                  <a:pt x="8536" y="11424"/>
                  <a:pt x="8519" y="11330"/>
                </a:cubicBezTo>
                <a:cubicBezTo>
                  <a:pt x="8490" y="11170"/>
                  <a:pt x="8318" y="11068"/>
                  <a:pt x="8246" y="10939"/>
                </a:cubicBezTo>
                <a:cubicBezTo>
                  <a:pt x="8099" y="10676"/>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6"/>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8" y="10569"/>
                  <a:pt x="9347" y="10878"/>
                  <a:pt x="9322" y="10986"/>
                </a:cubicBezTo>
                <a:cubicBezTo>
                  <a:pt x="9213" y="11462"/>
                  <a:pt x="9088" y="11974"/>
                  <a:pt x="8953" y="12441"/>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8"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2"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6" name="Shape 2876"/>
          <p:cNvSpPr/>
          <p:nvPr/>
        </p:nvSpPr>
        <p:spPr>
          <a:xfrm>
            <a:off x="6688399"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81" y="6871"/>
                </a:moveTo>
                <a:cubicBezTo>
                  <a:pt x="12915" y="6830"/>
                  <a:pt x="11990" y="7537"/>
                  <a:pt x="11505" y="8992"/>
                </a:cubicBezTo>
                <a:cubicBezTo>
                  <a:pt x="11754" y="8897"/>
                  <a:pt x="11998" y="8849"/>
                  <a:pt x="12232" y="8849"/>
                </a:cubicBezTo>
                <a:cubicBezTo>
                  <a:pt x="12732" y="8849"/>
                  <a:pt x="12952" y="9108"/>
                  <a:pt x="12893" y="9624"/>
                </a:cubicBezTo>
                <a:cubicBezTo>
                  <a:pt x="12863" y="9937"/>
                  <a:pt x="12643" y="10393"/>
                  <a:pt x="12232" y="10991"/>
                </a:cubicBezTo>
                <a:cubicBezTo>
                  <a:pt x="11821" y="11589"/>
                  <a:pt x="11512" y="11888"/>
                  <a:pt x="11307" y="11888"/>
                </a:cubicBezTo>
                <a:cubicBezTo>
                  <a:pt x="11043" y="11888"/>
                  <a:pt x="10800" y="11426"/>
                  <a:pt x="10580" y="10502"/>
                </a:cubicBezTo>
                <a:cubicBezTo>
                  <a:pt x="10506" y="10230"/>
                  <a:pt x="10374" y="9536"/>
                  <a:pt x="10183" y="8421"/>
                </a:cubicBezTo>
                <a:cubicBezTo>
                  <a:pt x="10007" y="7388"/>
                  <a:pt x="9537" y="6904"/>
                  <a:pt x="8773" y="6972"/>
                </a:cubicBezTo>
                <a:cubicBezTo>
                  <a:pt x="8450" y="7000"/>
                  <a:pt x="7966" y="7272"/>
                  <a:pt x="7320" y="7788"/>
                </a:cubicBezTo>
                <a:cubicBezTo>
                  <a:pt x="6849" y="8183"/>
                  <a:pt x="6372" y="8577"/>
                  <a:pt x="5887" y="8972"/>
                </a:cubicBezTo>
                <a:lnTo>
                  <a:pt x="6350" y="9522"/>
                </a:lnTo>
                <a:cubicBezTo>
                  <a:pt x="6790" y="9237"/>
                  <a:pt x="7047" y="9094"/>
                  <a:pt x="7121" y="9094"/>
                </a:cubicBezTo>
                <a:cubicBezTo>
                  <a:pt x="7459" y="9094"/>
                  <a:pt x="7774" y="9583"/>
                  <a:pt x="8068" y="10563"/>
                </a:cubicBezTo>
                <a:cubicBezTo>
                  <a:pt x="8333" y="11461"/>
                  <a:pt x="8597" y="12358"/>
                  <a:pt x="8861" y="13255"/>
                </a:cubicBezTo>
                <a:cubicBezTo>
                  <a:pt x="9258" y="14234"/>
                  <a:pt x="9743" y="14723"/>
                  <a:pt x="10316" y="14723"/>
                </a:cubicBezTo>
                <a:cubicBezTo>
                  <a:pt x="11241" y="14723"/>
                  <a:pt x="12371" y="13921"/>
                  <a:pt x="13709" y="12317"/>
                </a:cubicBezTo>
                <a:cubicBezTo>
                  <a:pt x="15001" y="10780"/>
                  <a:pt x="15669" y="9570"/>
                  <a:pt x="15713" y="8686"/>
                </a:cubicBezTo>
                <a:cubicBezTo>
                  <a:pt x="15772" y="7503"/>
                  <a:pt x="15295" y="6899"/>
                  <a:pt x="14281" y="6871"/>
                </a:cubicBezTo>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7" name="Shape 2877"/>
          <p:cNvSpPr/>
          <p:nvPr/>
        </p:nvSpPr>
        <p:spPr>
          <a:xfrm>
            <a:off x="7088345"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8" name="Shape 2878"/>
          <p:cNvSpPr/>
          <p:nvPr/>
        </p:nvSpPr>
        <p:spPr>
          <a:xfrm>
            <a:off x="748829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9" name="Shape 2879"/>
          <p:cNvSpPr/>
          <p:nvPr/>
        </p:nvSpPr>
        <p:spPr>
          <a:xfrm>
            <a:off x="788823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1592" y="13291"/>
                </a:moveTo>
                <a:cubicBezTo>
                  <a:pt x="11452" y="13213"/>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8" y="13478"/>
                  <a:pt x="9448" y="13666"/>
                </a:cubicBezTo>
                <a:cubicBezTo>
                  <a:pt x="9528" y="13856"/>
                  <a:pt x="9671" y="14034"/>
                  <a:pt x="9879" y="14202"/>
                </a:cubicBezTo>
                <a:cubicBezTo>
                  <a:pt x="10086" y="14370"/>
                  <a:pt x="10336" y="14498"/>
                  <a:pt x="10629" y="14589"/>
                </a:cubicBezTo>
                <a:cubicBezTo>
                  <a:pt x="10922" y="14679"/>
                  <a:pt x="11238" y="14727"/>
                  <a:pt x="11619" y="14727"/>
                </a:cubicBezTo>
                <a:cubicBezTo>
                  <a:pt x="11955" y="14727"/>
                  <a:pt x="12228" y="14693"/>
                  <a:pt x="12517" y="14629"/>
                </a:cubicBezTo>
                <a:cubicBezTo>
                  <a:pt x="12806" y="14565"/>
                  <a:pt x="13221" y="14455"/>
                  <a:pt x="13578" y="14297"/>
                </a:cubicBezTo>
                <a:lnTo>
                  <a:pt x="13583" y="13091"/>
                </a:lnTo>
                <a:cubicBezTo>
                  <a:pt x="13165" y="13349"/>
                  <a:pt x="12648" y="13447"/>
                  <a:pt x="12225" y="13447"/>
                </a:cubicBezTo>
                <a:cubicBezTo>
                  <a:pt x="11987" y="13447"/>
                  <a:pt x="11776" y="13395"/>
                  <a:pt x="11592"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0" name="Shape 2880"/>
          <p:cNvSpPr/>
          <p:nvPr/>
        </p:nvSpPr>
        <p:spPr>
          <a:xfrm>
            <a:off x="82881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1"/>
                </a:lnTo>
                <a:cubicBezTo>
                  <a:pt x="13281" y="13031"/>
                  <a:pt x="13386" y="13050"/>
                  <a:pt x="13473" y="13084"/>
                </a:cubicBezTo>
                <a:lnTo>
                  <a:pt x="13579" y="13126"/>
                </a:lnTo>
                <a:lnTo>
                  <a:pt x="13598" y="13012"/>
                </a:lnTo>
                <a:cubicBezTo>
                  <a:pt x="13837" y="11522"/>
                  <a:pt x="14296" y="9525"/>
                  <a:pt x="14542" y="8453"/>
                </a:cubicBezTo>
                <a:cubicBezTo>
                  <a:pt x="14618" y="8121"/>
                  <a:pt x="14675" y="7877"/>
                  <a:pt x="14698" y="7763"/>
                </a:cubicBezTo>
                <a:cubicBezTo>
                  <a:pt x="14745" y="7530"/>
                  <a:pt x="14724" y="7343"/>
                  <a:pt x="14636" y="7206"/>
                </a:cubicBezTo>
                <a:cubicBezTo>
                  <a:pt x="14563" y="7092"/>
                  <a:pt x="14447" y="7018"/>
                  <a:pt x="14291" y="6986"/>
                </a:cubicBezTo>
                <a:moveTo>
                  <a:pt x="13280" y="13606"/>
                </a:moveTo>
                <a:cubicBezTo>
                  <a:pt x="12921" y="13524"/>
                  <a:pt x="12660" y="13682"/>
                  <a:pt x="12569" y="14030"/>
                </a:cubicBezTo>
                <a:cubicBezTo>
                  <a:pt x="12529" y="14187"/>
                  <a:pt x="12549" y="14335"/>
                  <a:pt x="12630" y="14459"/>
                </a:cubicBezTo>
                <a:cubicBezTo>
                  <a:pt x="12706" y="14574"/>
                  <a:pt x="12831" y="14660"/>
                  <a:pt x="12982" y="14701"/>
                </a:cubicBezTo>
                <a:cubicBezTo>
                  <a:pt x="13045" y="14719"/>
                  <a:pt x="13109" y="14728"/>
                  <a:pt x="13172" y="14728"/>
                </a:cubicBezTo>
                <a:cubicBezTo>
                  <a:pt x="13438" y="14728"/>
                  <a:pt x="13639" y="14578"/>
                  <a:pt x="13698" y="14338"/>
                </a:cubicBezTo>
                <a:cubicBezTo>
                  <a:pt x="13741" y="14155"/>
                  <a:pt x="13722" y="13989"/>
                  <a:pt x="13642" y="13858"/>
                </a:cubicBezTo>
                <a:cubicBezTo>
                  <a:pt x="13567" y="13733"/>
                  <a:pt x="13439" y="13643"/>
                  <a:pt x="13280" y="13606"/>
                </a:cubicBezTo>
                <a:moveTo>
                  <a:pt x="13014" y="7028"/>
                </a:moveTo>
                <a:lnTo>
                  <a:pt x="13098" y="6884"/>
                </a:lnTo>
                <a:lnTo>
                  <a:pt x="12931" y="6884"/>
                </a:lnTo>
                <a:lnTo>
                  <a:pt x="12906" y="6887"/>
                </a:lnTo>
                <a:cubicBezTo>
                  <a:pt x="12646" y="6961"/>
                  <a:pt x="12244" y="6961"/>
                  <a:pt x="11983" y="6887"/>
                </a:cubicBezTo>
                <a:lnTo>
                  <a:pt x="11901" y="6884"/>
                </a:lnTo>
                <a:lnTo>
                  <a:pt x="9988" y="10156"/>
                </a:lnTo>
                <a:lnTo>
                  <a:pt x="8067" y="6872"/>
                </a:lnTo>
                <a:lnTo>
                  <a:pt x="8000" y="6890"/>
                </a:lnTo>
                <a:cubicBezTo>
                  <a:pt x="7739" y="6962"/>
                  <a:pt x="7347" y="6961"/>
                  <a:pt x="7088" y="6887"/>
                </a:cubicBezTo>
                <a:lnTo>
                  <a:pt x="6878" y="6884"/>
                </a:lnTo>
                <a:lnTo>
                  <a:pt x="9482" y="11392"/>
                </a:lnTo>
                <a:lnTo>
                  <a:pt x="9404" y="14626"/>
                </a:lnTo>
                <a:lnTo>
                  <a:pt x="9407" y="14722"/>
                </a:lnTo>
                <a:lnTo>
                  <a:pt x="9502" y="14722"/>
                </a:lnTo>
                <a:lnTo>
                  <a:pt x="9526" y="14719"/>
                </a:lnTo>
                <a:cubicBezTo>
                  <a:pt x="9786" y="14645"/>
                  <a:pt x="10190" y="14645"/>
                  <a:pt x="10449" y="14719"/>
                </a:cubicBezTo>
                <a:lnTo>
                  <a:pt x="10573" y="14722"/>
                </a:lnTo>
                <a:lnTo>
                  <a:pt x="10512" y="11390"/>
                </a:lnTo>
                <a:cubicBezTo>
                  <a:pt x="10600" y="11229"/>
                  <a:pt x="11150" y="10205"/>
                  <a:pt x="11738" y="9180"/>
                </a:cubicBezTo>
                <a:cubicBezTo>
                  <a:pt x="12342" y="8126"/>
                  <a:pt x="13008" y="7040"/>
                  <a:pt x="13014" y="70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1" name="Shape 2881"/>
          <p:cNvSpPr/>
          <p:nvPr/>
        </p:nvSpPr>
        <p:spPr>
          <a:xfrm>
            <a:off x="468867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062" y="5890"/>
                </a:moveTo>
                <a:lnTo>
                  <a:pt x="10786" y="7776"/>
                </a:lnTo>
                <a:lnTo>
                  <a:pt x="13925" y="9725"/>
                </a:lnTo>
                <a:lnTo>
                  <a:pt x="16200" y="7926"/>
                </a:lnTo>
                <a:cubicBezTo>
                  <a:pt x="16200" y="7926"/>
                  <a:pt x="13062" y="5890"/>
                  <a:pt x="13062" y="5890"/>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5400" y="8027"/>
                </a:moveTo>
                <a:lnTo>
                  <a:pt x="7647" y="9763"/>
                </a:lnTo>
                <a:lnTo>
                  <a:pt x="10786" y="7776"/>
                </a:lnTo>
                <a:lnTo>
                  <a:pt x="8630" y="5891"/>
                </a:lnTo>
                <a:cubicBezTo>
                  <a:pt x="8630" y="5891"/>
                  <a:pt x="5400" y="8027"/>
                  <a:pt x="5400" y="8027"/>
                </a:cubicBezTo>
                <a:close/>
                <a:moveTo>
                  <a:pt x="13925" y="9726"/>
                </a:moveTo>
                <a:lnTo>
                  <a:pt x="13925" y="9725"/>
                </a:lnTo>
                <a:lnTo>
                  <a:pt x="13925" y="9725"/>
                </a:lnTo>
                <a:lnTo>
                  <a:pt x="13924" y="9725"/>
                </a:lnTo>
                <a:cubicBezTo>
                  <a:pt x="13924" y="9725"/>
                  <a:pt x="13925" y="9726"/>
                  <a:pt x="13925" y="9726"/>
                </a:cubicBezTo>
                <a:close/>
                <a:moveTo>
                  <a:pt x="12965" y="14699"/>
                </a:moveTo>
                <a:lnTo>
                  <a:pt x="12959" y="14707"/>
                </a:lnTo>
                <a:lnTo>
                  <a:pt x="10801" y="13101"/>
                </a:lnTo>
                <a:lnTo>
                  <a:pt x="8731" y="14685"/>
                </a:lnTo>
                <a:lnTo>
                  <a:pt x="8712" y="14715"/>
                </a:lnTo>
                <a:lnTo>
                  <a:pt x="7571" y="14025"/>
                </a:lnTo>
                <a:lnTo>
                  <a:pt x="7571" y="14627"/>
                </a:lnTo>
                <a:lnTo>
                  <a:pt x="10799" y="16692"/>
                </a:lnTo>
                <a:lnTo>
                  <a:pt x="14001" y="14627"/>
                </a:lnTo>
                <a:lnTo>
                  <a:pt x="14001" y="14067"/>
                </a:lnTo>
                <a:lnTo>
                  <a:pt x="12965" y="14699"/>
                </a:lnTo>
                <a:cubicBezTo>
                  <a:pt x="12965" y="14699"/>
                  <a:pt x="12965" y="14699"/>
                  <a:pt x="12965" y="14699"/>
                </a:cubicBezTo>
                <a:close/>
                <a:moveTo>
                  <a:pt x="7641" y="9766"/>
                </a:moveTo>
                <a:lnTo>
                  <a:pt x="5404" y="11577"/>
                </a:lnTo>
                <a:lnTo>
                  <a:pt x="7350" y="12746"/>
                </a:lnTo>
                <a:lnTo>
                  <a:pt x="7351" y="12745"/>
                </a:lnTo>
                <a:lnTo>
                  <a:pt x="7742" y="12982"/>
                </a:lnTo>
                <a:lnTo>
                  <a:pt x="8631" y="13516"/>
                </a:lnTo>
                <a:lnTo>
                  <a:pt x="10060" y="12431"/>
                </a:lnTo>
                <a:lnTo>
                  <a:pt x="10780" y="11879"/>
                </a:lnTo>
                <a:lnTo>
                  <a:pt x="10783" y="11882"/>
                </a:lnTo>
                <a:lnTo>
                  <a:pt x="10786" y="11880"/>
                </a:lnTo>
                <a:lnTo>
                  <a:pt x="10798" y="11888"/>
                </a:lnTo>
                <a:lnTo>
                  <a:pt x="10804" y="11879"/>
                </a:lnTo>
                <a:lnTo>
                  <a:pt x="12515" y="13153"/>
                </a:lnTo>
                <a:lnTo>
                  <a:pt x="13007" y="13515"/>
                </a:lnTo>
                <a:lnTo>
                  <a:pt x="16199" y="11575"/>
                </a:lnTo>
                <a:lnTo>
                  <a:pt x="13925" y="9726"/>
                </a:lnTo>
                <a:lnTo>
                  <a:pt x="10787" y="11715"/>
                </a:lnTo>
                <a:cubicBezTo>
                  <a:pt x="10787" y="11715"/>
                  <a:pt x="7641" y="9766"/>
                  <a:pt x="7641" y="976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2" name="Shape 2882"/>
          <p:cNvSpPr/>
          <p:nvPr/>
        </p:nvSpPr>
        <p:spPr>
          <a:xfrm>
            <a:off x="5088616"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8"/>
                  <a:pt x="14287" y="14727"/>
                  <a:pt x="13745" y="14727"/>
                </a:cubicBezTo>
                <a:lnTo>
                  <a:pt x="7855" y="14727"/>
                </a:lnTo>
                <a:cubicBezTo>
                  <a:pt x="7313" y="14727"/>
                  <a:pt x="6873" y="14288"/>
                  <a:pt x="6873" y="13745"/>
                </a:cubicBezTo>
                <a:lnTo>
                  <a:pt x="6873" y="10309"/>
                </a:lnTo>
                <a:lnTo>
                  <a:pt x="7904" y="10309"/>
                </a:lnTo>
                <a:cubicBezTo>
                  <a:pt x="7877" y="10470"/>
                  <a:pt x="7855" y="10632"/>
                  <a:pt x="7855" y="10800"/>
                </a:cubicBezTo>
                <a:cubicBezTo>
                  <a:pt x="7855" y="12427"/>
                  <a:pt x="9173" y="13745"/>
                  <a:pt x="10800" y="13745"/>
                </a:cubicBezTo>
                <a:cubicBezTo>
                  <a:pt x="12427"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3" name="Shape 2883"/>
          <p:cNvSpPr/>
          <p:nvPr/>
        </p:nvSpPr>
        <p:spPr>
          <a:xfrm>
            <a:off x="5488562"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6"/>
                </a:lnTo>
                <a:cubicBezTo>
                  <a:pt x="15118" y="9994"/>
                  <a:pt x="15213" y="9425"/>
                  <a:pt x="15213" y="8918"/>
                </a:cubicBezTo>
                <a:cubicBezTo>
                  <a:pt x="15213" y="8811"/>
                  <a:pt x="15201" y="8718"/>
                  <a:pt x="15194" y="8620"/>
                </a:cubicBezTo>
                <a:cubicBezTo>
                  <a:pt x="15521" y="9277"/>
                  <a:pt x="15709" y="10016"/>
                  <a:pt x="15709" y="10800"/>
                </a:cubicBezTo>
                <a:moveTo>
                  <a:pt x="11488"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0" y="8413"/>
                </a:cubicBezTo>
                <a:cubicBezTo>
                  <a:pt x="9350" y="8413"/>
                  <a:pt x="9605" y="8444"/>
                  <a:pt x="9874" y="8460"/>
                </a:cubicBezTo>
                <a:lnTo>
                  <a:pt x="10652" y="10591"/>
                </a:lnTo>
                <a:lnTo>
                  <a:pt x="9560" y="13866"/>
                </a:lnTo>
                <a:lnTo>
                  <a:pt x="7742" y="8460"/>
                </a:lnTo>
                <a:cubicBezTo>
                  <a:pt x="8042" y="8444"/>
                  <a:pt x="8313" y="8413"/>
                  <a:pt x="8313" y="8413"/>
                </a:cubicBezTo>
                <a:cubicBezTo>
                  <a:pt x="8582" y="8380"/>
                  <a:pt x="8550" y="7986"/>
                  <a:pt x="8281" y="8001"/>
                </a:cubicBezTo>
                <a:cubicBezTo>
                  <a:pt x="8281" y="8001"/>
                  <a:pt x="7473" y="8065"/>
                  <a:pt x="6951" y="8065"/>
                </a:cubicBezTo>
                <a:cubicBezTo>
                  <a:pt x="6885" y="8065"/>
                  <a:pt x="6804" y="8063"/>
                  <a:pt x="6727" y="8061"/>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89" y="12162"/>
                </a:cubicBezTo>
                <a:lnTo>
                  <a:pt x="13291" y="13825"/>
                </a:lnTo>
                <a:cubicBezTo>
                  <a:pt x="13291" y="13825"/>
                  <a:pt x="11488" y="8460"/>
                  <a:pt x="11488" y="8460"/>
                </a:cubicBezTo>
                <a:close/>
                <a:moveTo>
                  <a:pt x="10800" y="15709"/>
                </a:moveTo>
                <a:cubicBezTo>
                  <a:pt x="10319" y="15709"/>
                  <a:pt x="9857" y="15637"/>
                  <a:pt x="9418" y="15508"/>
                </a:cubicBezTo>
                <a:lnTo>
                  <a:pt x="10887" y="11236"/>
                </a:lnTo>
                <a:cubicBezTo>
                  <a:pt x="10887" y="11236"/>
                  <a:pt x="12211" y="14865"/>
                  <a:pt x="12425" y="15428"/>
                </a:cubicBezTo>
                <a:cubicBezTo>
                  <a:pt x="11916" y="15607"/>
                  <a:pt x="11371" y="15709"/>
                  <a:pt x="10800" y="15709"/>
                </a:cubicBezTo>
                <a:moveTo>
                  <a:pt x="5891" y="10800"/>
                </a:moveTo>
                <a:cubicBezTo>
                  <a:pt x="5891" y="10118"/>
                  <a:pt x="6030" y="9470"/>
                  <a:pt x="6281" y="8880"/>
                </a:cubicBezTo>
                <a:lnTo>
                  <a:pt x="8579"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4" name="Shape 2884"/>
          <p:cNvSpPr/>
          <p:nvPr/>
        </p:nvSpPr>
        <p:spPr>
          <a:xfrm>
            <a:off x="588850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36" y="10309"/>
                </a:moveTo>
                <a:cubicBezTo>
                  <a:pt x="13551"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8" y="14322"/>
                  <a:pt x="13226" y="15065"/>
                </a:cubicBezTo>
                <a:moveTo>
                  <a:pt x="10800" y="15709"/>
                </a:moveTo>
                <a:cubicBezTo>
                  <a:pt x="9746" y="15709"/>
                  <a:pt x="8772" y="15374"/>
                  <a:pt x="7971" y="14808"/>
                </a:cubicBezTo>
                <a:cubicBezTo>
                  <a:pt x="8822" y="13429"/>
                  <a:pt x="10108" y="12348"/>
                  <a:pt x="11646" y="11768"/>
                </a:cubicBezTo>
                <a:cubicBezTo>
                  <a:pt x="12027" y="12943"/>
                  <a:pt x="12241" y="14191"/>
                  <a:pt x="12264" y="15487"/>
                </a:cubicBezTo>
                <a:cubicBezTo>
                  <a:pt x="11801" y="15631"/>
                  <a:pt x="11310" y="15709"/>
                  <a:pt x="10800" y="15709"/>
                </a:cubicBezTo>
                <a:moveTo>
                  <a:pt x="5891" y="10800"/>
                </a:moveTo>
                <a:cubicBezTo>
                  <a:pt x="7640" y="10800"/>
                  <a:pt x="9312" y="10469"/>
                  <a:pt x="10852" y="9873"/>
                </a:cubicBezTo>
                <a:cubicBezTo>
                  <a:pt x="11015"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8"/>
                  <a:pt x="10353" y="9001"/>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5" name="Shape 2885"/>
          <p:cNvSpPr/>
          <p:nvPr/>
        </p:nvSpPr>
        <p:spPr>
          <a:xfrm>
            <a:off x="6307498"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500" y="13698"/>
                </a:moveTo>
                <a:cubicBezTo>
                  <a:pt x="15500" y="14629"/>
                  <a:pt x="14906" y="15067"/>
                  <a:pt x="13996" y="15061"/>
                </a:cubicBezTo>
                <a:cubicBezTo>
                  <a:pt x="13870" y="15061"/>
                  <a:pt x="13731" y="15061"/>
                  <a:pt x="13646" y="15044"/>
                </a:cubicBezTo>
                <a:lnTo>
                  <a:pt x="13646" y="12497"/>
                </a:lnTo>
                <a:cubicBezTo>
                  <a:pt x="13731" y="12480"/>
                  <a:pt x="13877" y="12463"/>
                  <a:pt x="14101" y="12463"/>
                </a:cubicBezTo>
                <a:cubicBezTo>
                  <a:pt x="14966" y="12463"/>
                  <a:pt x="15507" y="12890"/>
                  <a:pt x="15500" y="13698"/>
                </a:cubicBezTo>
                <a:moveTo>
                  <a:pt x="12636" y="11868"/>
                </a:moveTo>
                <a:lnTo>
                  <a:pt x="12636" y="15691"/>
                </a:lnTo>
                <a:cubicBezTo>
                  <a:pt x="12886" y="15720"/>
                  <a:pt x="13256" y="15748"/>
                  <a:pt x="13778" y="15748"/>
                </a:cubicBezTo>
                <a:cubicBezTo>
                  <a:pt x="14649" y="15748"/>
                  <a:pt x="15362" y="15587"/>
                  <a:pt x="15830" y="15246"/>
                </a:cubicBezTo>
                <a:cubicBezTo>
                  <a:pt x="16260" y="14929"/>
                  <a:pt x="16570" y="14415"/>
                  <a:pt x="16570" y="13670"/>
                </a:cubicBezTo>
                <a:cubicBezTo>
                  <a:pt x="16570" y="12982"/>
                  <a:pt x="16279" y="12503"/>
                  <a:pt x="15817" y="12203"/>
                </a:cubicBezTo>
                <a:cubicBezTo>
                  <a:pt x="15388" y="11919"/>
                  <a:pt x="14840" y="11787"/>
                  <a:pt x="13996" y="11787"/>
                </a:cubicBezTo>
                <a:cubicBezTo>
                  <a:pt x="13487" y="11787"/>
                  <a:pt x="13005" y="11815"/>
                  <a:pt x="12636" y="11868"/>
                </a:cubicBezTo>
                <a:moveTo>
                  <a:pt x="14400" y="5891"/>
                </a:moveTo>
                <a:lnTo>
                  <a:pt x="14400" y="982"/>
                </a:lnTo>
                <a:lnTo>
                  <a:pt x="15000" y="982"/>
                </a:lnTo>
                <a:lnTo>
                  <a:pt x="20400" y="5891"/>
                </a:lnTo>
                <a:cubicBezTo>
                  <a:pt x="20400" y="5891"/>
                  <a:pt x="14400" y="5891"/>
                  <a:pt x="14400" y="5891"/>
                </a:cubicBezTo>
                <a:close/>
                <a:moveTo>
                  <a:pt x="20400" y="19635"/>
                </a:moveTo>
                <a:cubicBezTo>
                  <a:pt x="20400" y="20178"/>
                  <a:pt x="19863" y="20617"/>
                  <a:pt x="19200" y="20617"/>
                </a:cubicBezTo>
                <a:lnTo>
                  <a:pt x="2400" y="20617"/>
                </a:lnTo>
                <a:cubicBezTo>
                  <a:pt x="1738" y="20617"/>
                  <a:pt x="1200" y="20178"/>
                  <a:pt x="1200" y="19635"/>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5"/>
                  <a:pt x="20400" y="19635"/>
                </a:cubicBezTo>
                <a:close/>
                <a:moveTo>
                  <a:pt x="15600" y="0"/>
                </a:moveTo>
                <a:lnTo>
                  <a:pt x="2400" y="0"/>
                </a:lnTo>
                <a:cubicBezTo>
                  <a:pt x="1075" y="0"/>
                  <a:pt x="0" y="878"/>
                  <a:pt x="0" y="1964"/>
                </a:cubicBezTo>
                <a:lnTo>
                  <a:pt x="0" y="19635"/>
                </a:lnTo>
                <a:cubicBezTo>
                  <a:pt x="0" y="20721"/>
                  <a:pt x="1075" y="21600"/>
                  <a:pt x="2400" y="21600"/>
                </a:cubicBezTo>
                <a:lnTo>
                  <a:pt x="19200" y="21600"/>
                </a:lnTo>
                <a:cubicBezTo>
                  <a:pt x="20525" y="21600"/>
                  <a:pt x="21600" y="20721"/>
                  <a:pt x="21600" y="19635"/>
                </a:cubicBezTo>
                <a:lnTo>
                  <a:pt x="21600" y="5400"/>
                </a:lnTo>
                <a:cubicBezTo>
                  <a:pt x="21600" y="5400"/>
                  <a:pt x="15600" y="0"/>
                  <a:pt x="15600" y="0"/>
                </a:cubicBezTo>
                <a:close/>
                <a:moveTo>
                  <a:pt x="6769" y="13658"/>
                </a:moveTo>
                <a:cubicBezTo>
                  <a:pt x="6624" y="13658"/>
                  <a:pt x="6519" y="13652"/>
                  <a:pt x="6433" y="13635"/>
                </a:cubicBezTo>
                <a:lnTo>
                  <a:pt x="6433" y="12486"/>
                </a:lnTo>
                <a:cubicBezTo>
                  <a:pt x="6505" y="12468"/>
                  <a:pt x="6644" y="12451"/>
                  <a:pt x="6848" y="12451"/>
                </a:cubicBezTo>
                <a:cubicBezTo>
                  <a:pt x="7350" y="12451"/>
                  <a:pt x="7634" y="12665"/>
                  <a:pt x="7634" y="13023"/>
                </a:cubicBezTo>
                <a:cubicBezTo>
                  <a:pt x="7634" y="13421"/>
                  <a:pt x="7304" y="13658"/>
                  <a:pt x="6769" y="13658"/>
                </a:cubicBezTo>
                <a:moveTo>
                  <a:pt x="6796" y="11787"/>
                </a:moveTo>
                <a:cubicBezTo>
                  <a:pt x="6182" y="11787"/>
                  <a:pt x="5746" y="11821"/>
                  <a:pt x="5436" y="11868"/>
                </a:cubicBezTo>
                <a:lnTo>
                  <a:pt x="5436" y="15708"/>
                </a:lnTo>
                <a:lnTo>
                  <a:pt x="6433" y="15708"/>
                </a:lnTo>
                <a:lnTo>
                  <a:pt x="6433" y="14316"/>
                </a:lnTo>
                <a:cubicBezTo>
                  <a:pt x="6524" y="14328"/>
                  <a:pt x="6644" y="14334"/>
                  <a:pt x="6776" y="14334"/>
                </a:cubicBezTo>
                <a:cubicBezTo>
                  <a:pt x="7370" y="14334"/>
                  <a:pt x="7878" y="14207"/>
                  <a:pt x="8221" y="13924"/>
                </a:cubicBezTo>
                <a:cubicBezTo>
                  <a:pt x="8485" y="13704"/>
                  <a:pt x="8630" y="13381"/>
                  <a:pt x="8630" y="13000"/>
                </a:cubicBezTo>
                <a:cubicBezTo>
                  <a:pt x="8630" y="12618"/>
                  <a:pt x="8439" y="12296"/>
                  <a:pt x="8155" y="12099"/>
                </a:cubicBezTo>
                <a:cubicBezTo>
                  <a:pt x="7858" y="11891"/>
                  <a:pt x="7416" y="11787"/>
                  <a:pt x="6796" y="11787"/>
                </a:cubicBezTo>
                <a:moveTo>
                  <a:pt x="10765" y="13398"/>
                </a:moveTo>
                <a:cubicBezTo>
                  <a:pt x="10191" y="13208"/>
                  <a:pt x="9940" y="13098"/>
                  <a:pt x="9940" y="12850"/>
                </a:cubicBezTo>
                <a:cubicBezTo>
                  <a:pt x="9940" y="12648"/>
                  <a:pt x="10151" y="12474"/>
                  <a:pt x="10587" y="12474"/>
                </a:cubicBezTo>
                <a:cubicBezTo>
                  <a:pt x="11023" y="12474"/>
                  <a:pt x="11339" y="12583"/>
                  <a:pt x="11517" y="12659"/>
                </a:cubicBezTo>
                <a:lnTo>
                  <a:pt x="11742" y="11949"/>
                </a:lnTo>
                <a:cubicBezTo>
                  <a:pt x="11478" y="11845"/>
                  <a:pt x="11108" y="11752"/>
                  <a:pt x="10607" y="11752"/>
                </a:cubicBezTo>
                <a:cubicBezTo>
                  <a:pt x="9558" y="11752"/>
                  <a:pt x="8924" y="12260"/>
                  <a:pt x="8924" y="12924"/>
                </a:cubicBezTo>
                <a:cubicBezTo>
                  <a:pt x="8924" y="13490"/>
                  <a:pt x="9405" y="13849"/>
                  <a:pt x="10145" y="14074"/>
                </a:cubicBezTo>
                <a:cubicBezTo>
                  <a:pt x="10679" y="14241"/>
                  <a:pt x="10891" y="14380"/>
                  <a:pt x="10891" y="14623"/>
                </a:cubicBezTo>
                <a:cubicBezTo>
                  <a:pt x="10891" y="14877"/>
                  <a:pt x="10646" y="15044"/>
                  <a:pt x="10184" y="15044"/>
                </a:cubicBezTo>
                <a:cubicBezTo>
                  <a:pt x="9755" y="15044"/>
                  <a:pt x="9339" y="14923"/>
                  <a:pt x="9069" y="14802"/>
                </a:cubicBezTo>
                <a:lnTo>
                  <a:pt x="8864" y="15529"/>
                </a:lnTo>
                <a:cubicBezTo>
                  <a:pt x="9115" y="15651"/>
                  <a:pt x="9616" y="15766"/>
                  <a:pt x="10124" y="15766"/>
                </a:cubicBezTo>
                <a:cubicBezTo>
                  <a:pt x="11346" y="15766"/>
                  <a:pt x="11920" y="15211"/>
                  <a:pt x="11920" y="14559"/>
                </a:cubicBezTo>
                <a:cubicBezTo>
                  <a:pt x="11920" y="14010"/>
                  <a:pt x="11551" y="13652"/>
                  <a:pt x="10765" y="1339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6" name="Shape 2886"/>
          <p:cNvSpPr/>
          <p:nvPr/>
        </p:nvSpPr>
        <p:spPr>
          <a:xfrm>
            <a:off x="6707443"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36" y="15709"/>
                </a:moveTo>
                <a:lnTo>
                  <a:pt x="13646" y="15709"/>
                </a:lnTo>
                <a:lnTo>
                  <a:pt x="13646" y="11816"/>
                </a:lnTo>
                <a:lnTo>
                  <a:pt x="12636" y="11816"/>
                </a:lnTo>
                <a:cubicBezTo>
                  <a:pt x="12636" y="11816"/>
                  <a:pt x="12636" y="15709"/>
                  <a:pt x="126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9618" y="14051"/>
                </a:moveTo>
                <a:lnTo>
                  <a:pt x="9881" y="13225"/>
                </a:lnTo>
                <a:cubicBezTo>
                  <a:pt x="9954" y="13000"/>
                  <a:pt x="10020" y="12706"/>
                  <a:pt x="10086" y="12475"/>
                </a:cubicBezTo>
                <a:lnTo>
                  <a:pt x="10099" y="12475"/>
                </a:lnTo>
                <a:cubicBezTo>
                  <a:pt x="10165" y="12706"/>
                  <a:pt x="10245" y="12994"/>
                  <a:pt x="10324" y="13225"/>
                </a:cubicBezTo>
                <a:lnTo>
                  <a:pt x="10601" y="14051"/>
                </a:lnTo>
                <a:cubicBezTo>
                  <a:pt x="10601" y="14051"/>
                  <a:pt x="9618" y="14051"/>
                  <a:pt x="9618" y="14051"/>
                </a:cubicBezTo>
                <a:close/>
                <a:moveTo>
                  <a:pt x="9472" y="11816"/>
                </a:moveTo>
                <a:lnTo>
                  <a:pt x="8113" y="15709"/>
                </a:lnTo>
                <a:lnTo>
                  <a:pt x="9155" y="15709"/>
                </a:lnTo>
                <a:lnTo>
                  <a:pt x="9472" y="14710"/>
                </a:lnTo>
                <a:lnTo>
                  <a:pt x="10746" y="14710"/>
                </a:lnTo>
                <a:lnTo>
                  <a:pt x="11089" y="15709"/>
                </a:lnTo>
                <a:lnTo>
                  <a:pt x="12172" y="15709"/>
                </a:lnTo>
                <a:lnTo>
                  <a:pt x="10792" y="11816"/>
                </a:lnTo>
                <a:cubicBezTo>
                  <a:pt x="10792" y="11816"/>
                  <a:pt x="9472" y="11816"/>
                  <a:pt x="9472" y="118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7" name="Shape 2887"/>
          <p:cNvSpPr/>
          <p:nvPr/>
        </p:nvSpPr>
        <p:spPr>
          <a:xfrm>
            <a:off x="710738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36" y="15709"/>
                </a:moveTo>
                <a:lnTo>
                  <a:pt x="14845" y="15709"/>
                </a:lnTo>
                <a:lnTo>
                  <a:pt x="14845" y="14144"/>
                </a:lnTo>
                <a:lnTo>
                  <a:pt x="16443" y="14144"/>
                </a:lnTo>
                <a:lnTo>
                  <a:pt x="16443" y="13428"/>
                </a:lnTo>
                <a:lnTo>
                  <a:pt x="14845" y="13428"/>
                </a:lnTo>
                <a:lnTo>
                  <a:pt x="14845" y="12538"/>
                </a:lnTo>
                <a:lnTo>
                  <a:pt x="16555" y="12538"/>
                </a:lnTo>
                <a:lnTo>
                  <a:pt x="16555" y="11816"/>
                </a:lnTo>
                <a:lnTo>
                  <a:pt x="13836" y="11816"/>
                </a:lnTo>
                <a:cubicBezTo>
                  <a:pt x="13836" y="11816"/>
                  <a:pt x="13836" y="15709"/>
                  <a:pt x="138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0396" y="15062"/>
                </a:moveTo>
                <a:cubicBezTo>
                  <a:pt x="10270" y="15062"/>
                  <a:pt x="10131" y="15062"/>
                  <a:pt x="10045" y="15045"/>
                </a:cubicBezTo>
                <a:lnTo>
                  <a:pt x="10045" y="12498"/>
                </a:lnTo>
                <a:cubicBezTo>
                  <a:pt x="10131" y="12480"/>
                  <a:pt x="10277" y="12463"/>
                  <a:pt x="10501" y="12463"/>
                </a:cubicBezTo>
                <a:cubicBezTo>
                  <a:pt x="11366" y="12463"/>
                  <a:pt x="11907" y="12891"/>
                  <a:pt x="11900" y="13699"/>
                </a:cubicBezTo>
                <a:cubicBezTo>
                  <a:pt x="11900" y="14629"/>
                  <a:pt x="11306" y="15068"/>
                  <a:pt x="10396" y="15062"/>
                </a:cubicBezTo>
                <a:moveTo>
                  <a:pt x="10396" y="11787"/>
                </a:moveTo>
                <a:cubicBezTo>
                  <a:pt x="9887" y="11787"/>
                  <a:pt x="9405" y="11816"/>
                  <a:pt x="9036" y="11868"/>
                </a:cubicBezTo>
                <a:lnTo>
                  <a:pt x="9036" y="15691"/>
                </a:lnTo>
                <a:cubicBezTo>
                  <a:pt x="9287" y="15720"/>
                  <a:pt x="9656" y="15749"/>
                  <a:pt x="10178" y="15749"/>
                </a:cubicBezTo>
                <a:cubicBezTo>
                  <a:pt x="11048" y="15749"/>
                  <a:pt x="11762" y="15587"/>
                  <a:pt x="12231" y="15246"/>
                </a:cubicBezTo>
                <a:cubicBezTo>
                  <a:pt x="12660" y="14929"/>
                  <a:pt x="12970" y="14415"/>
                  <a:pt x="12970" y="13670"/>
                </a:cubicBezTo>
                <a:cubicBezTo>
                  <a:pt x="12970" y="12983"/>
                  <a:pt x="12680" y="12503"/>
                  <a:pt x="12217" y="12203"/>
                </a:cubicBezTo>
                <a:cubicBezTo>
                  <a:pt x="11788" y="11920"/>
                  <a:pt x="11241" y="11787"/>
                  <a:pt x="10396" y="11787"/>
                </a:cubicBezTo>
                <a:moveTo>
                  <a:pt x="6769" y="13659"/>
                </a:moveTo>
                <a:cubicBezTo>
                  <a:pt x="6623" y="13659"/>
                  <a:pt x="6518" y="13653"/>
                  <a:pt x="6432" y="13636"/>
                </a:cubicBezTo>
                <a:lnTo>
                  <a:pt x="6432" y="12486"/>
                </a:lnTo>
                <a:cubicBezTo>
                  <a:pt x="6505" y="12469"/>
                  <a:pt x="6643" y="12452"/>
                  <a:pt x="6848" y="12452"/>
                </a:cubicBezTo>
                <a:cubicBezTo>
                  <a:pt x="7350" y="12452"/>
                  <a:pt x="7634" y="12665"/>
                  <a:pt x="7634" y="13023"/>
                </a:cubicBezTo>
                <a:cubicBezTo>
                  <a:pt x="7634" y="13422"/>
                  <a:pt x="7304" y="13659"/>
                  <a:pt x="6769" y="13659"/>
                </a:cubicBezTo>
                <a:moveTo>
                  <a:pt x="6796" y="11787"/>
                </a:moveTo>
                <a:cubicBezTo>
                  <a:pt x="6182" y="11787"/>
                  <a:pt x="5746" y="11822"/>
                  <a:pt x="5436" y="11868"/>
                </a:cubicBezTo>
                <a:lnTo>
                  <a:pt x="5436" y="15709"/>
                </a:lnTo>
                <a:lnTo>
                  <a:pt x="6432" y="15709"/>
                </a:lnTo>
                <a:lnTo>
                  <a:pt x="6432" y="14317"/>
                </a:lnTo>
                <a:cubicBezTo>
                  <a:pt x="6525" y="14328"/>
                  <a:pt x="6643" y="14334"/>
                  <a:pt x="6776" y="14334"/>
                </a:cubicBezTo>
                <a:cubicBezTo>
                  <a:pt x="7370" y="14334"/>
                  <a:pt x="7878" y="14207"/>
                  <a:pt x="8221" y="13924"/>
                </a:cubicBezTo>
                <a:cubicBezTo>
                  <a:pt x="8486" y="13705"/>
                  <a:pt x="8631" y="13381"/>
                  <a:pt x="8631" y="13000"/>
                </a:cubicBezTo>
                <a:cubicBezTo>
                  <a:pt x="8631" y="12619"/>
                  <a:pt x="8439" y="12296"/>
                  <a:pt x="8155" y="12099"/>
                </a:cubicBezTo>
                <a:cubicBezTo>
                  <a:pt x="7859" y="11892"/>
                  <a:pt x="7416" y="11787"/>
                  <a:pt x="6796" y="1178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8" name="Shape 2888"/>
          <p:cNvSpPr/>
          <p:nvPr/>
        </p:nvSpPr>
        <p:spPr>
          <a:xfrm>
            <a:off x="7507336"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936" y="15709"/>
                </a:moveTo>
                <a:lnTo>
                  <a:pt x="13945" y="15709"/>
                </a:lnTo>
                <a:lnTo>
                  <a:pt x="13945" y="14144"/>
                </a:lnTo>
                <a:lnTo>
                  <a:pt x="15543" y="14144"/>
                </a:lnTo>
                <a:lnTo>
                  <a:pt x="15543" y="13428"/>
                </a:lnTo>
                <a:lnTo>
                  <a:pt x="13945" y="13428"/>
                </a:lnTo>
                <a:lnTo>
                  <a:pt x="13945" y="12538"/>
                </a:lnTo>
                <a:lnTo>
                  <a:pt x="15655" y="12538"/>
                </a:lnTo>
                <a:lnTo>
                  <a:pt x="15655" y="11816"/>
                </a:lnTo>
                <a:lnTo>
                  <a:pt x="12936" y="11816"/>
                </a:lnTo>
                <a:cubicBezTo>
                  <a:pt x="12936" y="11816"/>
                  <a:pt x="12936" y="15709"/>
                  <a:pt x="129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1136" y="15709"/>
                </a:moveTo>
                <a:lnTo>
                  <a:pt x="12145" y="15709"/>
                </a:lnTo>
                <a:lnTo>
                  <a:pt x="12145" y="11816"/>
                </a:lnTo>
                <a:lnTo>
                  <a:pt x="11136" y="11816"/>
                </a:lnTo>
                <a:cubicBezTo>
                  <a:pt x="11136" y="11816"/>
                  <a:pt x="11136" y="15709"/>
                  <a:pt x="11136" y="15709"/>
                </a:cubicBezTo>
                <a:close/>
                <a:moveTo>
                  <a:pt x="8395" y="14167"/>
                </a:moveTo>
                <a:lnTo>
                  <a:pt x="9082" y="14167"/>
                </a:lnTo>
                <a:lnTo>
                  <a:pt x="9082" y="14981"/>
                </a:lnTo>
                <a:cubicBezTo>
                  <a:pt x="9002" y="15015"/>
                  <a:pt x="8818" y="15039"/>
                  <a:pt x="8586" y="15039"/>
                </a:cubicBezTo>
                <a:cubicBezTo>
                  <a:pt x="7761" y="15039"/>
                  <a:pt x="7187" y="14565"/>
                  <a:pt x="7187" y="13762"/>
                </a:cubicBezTo>
                <a:cubicBezTo>
                  <a:pt x="7187" y="12919"/>
                  <a:pt x="7821" y="12503"/>
                  <a:pt x="8659" y="12503"/>
                </a:cubicBezTo>
                <a:cubicBezTo>
                  <a:pt x="9148" y="12503"/>
                  <a:pt x="9451" y="12579"/>
                  <a:pt x="9696" y="12672"/>
                </a:cubicBezTo>
                <a:lnTo>
                  <a:pt x="9907" y="11966"/>
                </a:lnTo>
                <a:cubicBezTo>
                  <a:pt x="9689" y="11874"/>
                  <a:pt x="9247" y="11776"/>
                  <a:pt x="8672" y="11776"/>
                </a:cubicBezTo>
                <a:cubicBezTo>
                  <a:pt x="7213" y="11776"/>
                  <a:pt x="6138" y="12515"/>
                  <a:pt x="6131" y="13809"/>
                </a:cubicBezTo>
                <a:cubicBezTo>
                  <a:pt x="6124" y="14381"/>
                  <a:pt x="6349" y="14888"/>
                  <a:pt x="6758" y="15223"/>
                </a:cubicBezTo>
                <a:cubicBezTo>
                  <a:pt x="7167" y="15570"/>
                  <a:pt x="7755" y="15749"/>
                  <a:pt x="8566" y="15749"/>
                </a:cubicBezTo>
                <a:cubicBezTo>
                  <a:pt x="9155" y="15749"/>
                  <a:pt x="9742" y="15622"/>
                  <a:pt x="10052" y="15530"/>
                </a:cubicBezTo>
                <a:lnTo>
                  <a:pt x="10052" y="13479"/>
                </a:lnTo>
                <a:lnTo>
                  <a:pt x="8395" y="13479"/>
                </a:lnTo>
                <a:cubicBezTo>
                  <a:pt x="8395" y="13479"/>
                  <a:pt x="8395" y="14167"/>
                  <a:pt x="8395" y="1416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9" name="Shape 2889"/>
          <p:cNvSpPr/>
          <p:nvPr/>
        </p:nvSpPr>
        <p:spPr>
          <a:xfrm>
            <a:off x="79072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069" y="13659"/>
                </a:moveTo>
                <a:cubicBezTo>
                  <a:pt x="9923" y="13659"/>
                  <a:pt x="9818" y="13653"/>
                  <a:pt x="9732" y="13636"/>
                </a:cubicBezTo>
                <a:lnTo>
                  <a:pt x="9732" y="12486"/>
                </a:lnTo>
                <a:cubicBezTo>
                  <a:pt x="9805" y="12469"/>
                  <a:pt x="9943" y="12452"/>
                  <a:pt x="10148" y="12452"/>
                </a:cubicBezTo>
                <a:cubicBezTo>
                  <a:pt x="10650" y="12452"/>
                  <a:pt x="10934" y="12665"/>
                  <a:pt x="10934" y="13023"/>
                </a:cubicBezTo>
                <a:cubicBezTo>
                  <a:pt x="10934" y="13422"/>
                  <a:pt x="10604" y="13659"/>
                  <a:pt x="10069" y="13659"/>
                </a:cubicBezTo>
                <a:moveTo>
                  <a:pt x="10096" y="11787"/>
                </a:moveTo>
                <a:cubicBezTo>
                  <a:pt x="9481" y="11787"/>
                  <a:pt x="9046" y="11822"/>
                  <a:pt x="8736" y="11869"/>
                </a:cubicBezTo>
                <a:lnTo>
                  <a:pt x="8736" y="15709"/>
                </a:lnTo>
                <a:lnTo>
                  <a:pt x="9732" y="15709"/>
                </a:lnTo>
                <a:lnTo>
                  <a:pt x="9732" y="14317"/>
                </a:lnTo>
                <a:cubicBezTo>
                  <a:pt x="9825" y="14328"/>
                  <a:pt x="9943" y="14334"/>
                  <a:pt x="10076" y="14334"/>
                </a:cubicBezTo>
                <a:cubicBezTo>
                  <a:pt x="10670" y="14334"/>
                  <a:pt x="11178" y="14207"/>
                  <a:pt x="11521" y="13924"/>
                </a:cubicBezTo>
                <a:cubicBezTo>
                  <a:pt x="11786" y="13705"/>
                  <a:pt x="11931" y="13382"/>
                  <a:pt x="11931" y="13000"/>
                </a:cubicBezTo>
                <a:cubicBezTo>
                  <a:pt x="11931" y="12619"/>
                  <a:pt x="11739" y="12296"/>
                  <a:pt x="11455" y="12099"/>
                </a:cubicBezTo>
                <a:cubicBezTo>
                  <a:pt x="11159" y="11891"/>
                  <a:pt x="10716" y="11787"/>
                  <a:pt x="10096" y="11787"/>
                </a:cubicBezTo>
                <a:moveTo>
                  <a:pt x="12131" y="13809"/>
                </a:moveTo>
                <a:cubicBezTo>
                  <a:pt x="12124" y="14381"/>
                  <a:pt x="12349" y="14888"/>
                  <a:pt x="12758" y="15224"/>
                </a:cubicBezTo>
                <a:cubicBezTo>
                  <a:pt x="13167" y="15571"/>
                  <a:pt x="13755" y="15749"/>
                  <a:pt x="14566" y="15749"/>
                </a:cubicBezTo>
                <a:cubicBezTo>
                  <a:pt x="15155" y="15749"/>
                  <a:pt x="15742" y="15622"/>
                  <a:pt x="16052" y="15530"/>
                </a:cubicBezTo>
                <a:lnTo>
                  <a:pt x="16052" y="13479"/>
                </a:lnTo>
                <a:lnTo>
                  <a:pt x="14395" y="13479"/>
                </a:lnTo>
                <a:lnTo>
                  <a:pt x="14395" y="14167"/>
                </a:lnTo>
                <a:lnTo>
                  <a:pt x="15081" y="14167"/>
                </a:lnTo>
                <a:lnTo>
                  <a:pt x="15081" y="14981"/>
                </a:lnTo>
                <a:cubicBezTo>
                  <a:pt x="15002" y="15015"/>
                  <a:pt x="14818" y="15039"/>
                  <a:pt x="14586" y="15039"/>
                </a:cubicBezTo>
                <a:cubicBezTo>
                  <a:pt x="13761" y="15039"/>
                  <a:pt x="13187" y="14566"/>
                  <a:pt x="13187" y="13762"/>
                </a:cubicBezTo>
                <a:cubicBezTo>
                  <a:pt x="13187" y="12919"/>
                  <a:pt x="13821" y="12503"/>
                  <a:pt x="14659" y="12503"/>
                </a:cubicBezTo>
                <a:cubicBezTo>
                  <a:pt x="15148" y="12503"/>
                  <a:pt x="15451" y="12579"/>
                  <a:pt x="15696" y="12671"/>
                </a:cubicBezTo>
                <a:lnTo>
                  <a:pt x="15906" y="11966"/>
                </a:lnTo>
                <a:cubicBezTo>
                  <a:pt x="15689" y="11874"/>
                  <a:pt x="15247" y="11776"/>
                  <a:pt x="14672" y="11776"/>
                </a:cubicBezTo>
                <a:cubicBezTo>
                  <a:pt x="13213" y="11776"/>
                  <a:pt x="12138" y="12515"/>
                  <a:pt x="12131" y="13809"/>
                </a:cubicBezTo>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6606" y="14265"/>
                </a:moveTo>
                <a:cubicBezTo>
                  <a:pt x="6606" y="14872"/>
                  <a:pt x="6343" y="15039"/>
                  <a:pt x="5920" y="15039"/>
                </a:cubicBezTo>
                <a:cubicBezTo>
                  <a:pt x="5722" y="15039"/>
                  <a:pt x="5544" y="15010"/>
                  <a:pt x="5406" y="14969"/>
                </a:cubicBezTo>
                <a:lnTo>
                  <a:pt x="5293" y="15680"/>
                </a:lnTo>
                <a:cubicBezTo>
                  <a:pt x="5491" y="15738"/>
                  <a:pt x="5795" y="15773"/>
                  <a:pt x="6026" y="15773"/>
                </a:cubicBezTo>
                <a:cubicBezTo>
                  <a:pt x="7003" y="15773"/>
                  <a:pt x="7610" y="15385"/>
                  <a:pt x="7610" y="14276"/>
                </a:cubicBezTo>
                <a:lnTo>
                  <a:pt x="7610" y="11816"/>
                </a:lnTo>
                <a:lnTo>
                  <a:pt x="6606" y="11816"/>
                </a:lnTo>
                <a:cubicBezTo>
                  <a:pt x="6606" y="11816"/>
                  <a:pt x="6606" y="14265"/>
                  <a:pt x="6606" y="1426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0" name="Shape 2890"/>
          <p:cNvSpPr/>
          <p:nvPr/>
        </p:nvSpPr>
        <p:spPr>
          <a:xfrm>
            <a:off x="8307227"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3031" y="13809"/>
                </a:moveTo>
                <a:cubicBezTo>
                  <a:pt x="13024" y="14381"/>
                  <a:pt x="13249" y="14888"/>
                  <a:pt x="13658" y="15223"/>
                </a:cubicBezTo>
                <a:cubicBezTo>
                  <a:pt x="14067" y="15570"/>
                  <a:pt x="14655" y="15749"/>
                  <a:pt x="15467" y="15749"/>
                </a:cubicBezTo>
                <a:cubicBezTo>
                  <a:pt x="16054" y="15749"/>
                  <a:pt x="16642" y="15622"/>
                  <a:pt x="16952" y="15530"/>
                </a:cubicBezTo>
                <a:lnTo>
                  <a:pt x="16952" y="13479"/>
                </a:lnTo>
                <a:lnTo>
                  <a:pt x="15295" y="13479"/>
                </a:lnTo>
                <a:lnTo>
                  <a:pt x="15295" y="14167"/>
                </a:lnTo>
                <a:lnTo>
                  <a:pt x="15981" y="14167"/>
                </a:lnTo>
                <a:lnTo>
                  <a:pt x="15981" y="14981"/>
                </a:lnTo>
                <a:cubicBezTo>
                  <a:pt x="15902" y="15015"/>
                  <a:pt x="15718" y="15039"/>
                  <a:pt x="15486" y="15039"/>
                </a:cubicBezTo>
                <a:cubicBezTo>
                  <a:pt x="14661" y="15039"/>
                  <a:pt x="14087" y="14565"/>
                  <a:pt x="14087" y="13762"/>
                </a:cubicBezTo>
                <a:cubicBezTo>
                  <a:pt x="14087" y="12919"/>
                  <a:pt x="14721" y="12503"/>
                  <a:pt x="15559" y="12503"/>
                </a:cubicBezTo>
                <a:cubicBezTo>
                  <a:pt x="16048" y="12503"/>
                  <a:pt x="16351" y="12579"/>
                  <a:pt x="16596" y="12671"/>
                </a:cubicBezTo>
                <a:lnTo>
                  <a:pt x="16807" y="11966"/>
                </a:lnTo>
                <a:cubicBezTo>
                  <a:pt x="16589" y="11874"/>
                  <a:pt x="16147" y="11776"/>
                  <a:pt x="15572" y="11776"/>
                </a:cubicBezTo>
                <a:cubicBezTo>
                  <a:pt x="14113" y="11776"/>
                  <a:pt x="13037" y="12515"/>
                  <a:pt x="13031" y="13809"/>
                </a:cubicBezTo>
                <a:moveTo>
                  <a:pt x="6169" y="13659"/>
                </a:moveTo>
                <a:cubicBezTo>
                  <a:pt x="6023" y="13659"/>
                  <a:pt x="5918" y="13653"/>
                  <a:pt x="5832" y="13636"/>
                </a:cubicBezTo>
                <a:lnTo>
                  <a:pt x="5832" y="12486"/>
                </a:lnTo>
                <a:cubicBezTo>
                  <a:pt x="5905" y="12469"/>
                  <a:pt x="6043" y="12452"/>
                  <a:pt x="6248" y="12452"/>
                </a:cubicBezTo>
                <a:cubicBezTo>
                  <a:pt x="6750" y="12452"/>
                  <a:pt x="7034" y="12665"/>
                  <a:pt x="7034" y="13023"/>
                </a:cubicBezTo>
                <a:cubicBezTo>
                  <a:pt x="7034" y="13422"/>
                  <a:pt x="6704" y="13659"/>
                  <a:pt x="6169" y="13659"/>
                </a:cubicBezTo>
                <a:moveTo>
                  <a:pt x="6196" y="11787"/>
                </a:moveTo>
                <a:cubicBezTo>
                  <a:pt x="5582" y="11787"/>
                  <a:pt x="5146" y="11822"/>
                  <a:pt x="4836" y="11868"/>
                </a:cubicBezTo>
                <a:lnTo>
                  <a:pt x="4836" y="15709"/>
                </a:lnTo>
                <a:lnTo>
                  <a:pt x="5832" y="15709"/>
                </a:lnTo>
                <a:lnTo>
                  <a:pt x="5832" y="14317"/>
                </a:lnTo>
                <a:cubicBezTo>
                  <a:pt x="5925" y="14328"/>
                  <a:pt x="6043" y="14334"/>
                  <a:pt x="6176" y="14334"/>
                </a:cubicBezTo>
                <a:cubicBezTo>
                  <a:pt x="6770" y="14334"/>
                  <a:pt x="7278" y="14207"/>
                  <a:pt x="7621" y="13924"/>
                </a:cubicBezTo>
                <a:cubicBezTo>
                  <a:pt x="7886" y="13705"/>
                  <a:pt x="8031" y="13381"/>
                  <a:pt x="8031" y="13000"/>
                </a:cubicBezTo>
                <a:cubicBezTo>
                  <a:pt x="8031" y="12619"/>
                  <a:pt x="7839" y="12296"/>
                  <a:pt x="7555" y="12099"/>
                </a:cubicBezTo>
                <a:cubicBezTo>
                  <a:pt x="7259" y="11892"/>
                  <a:pt x="6816" y="11787"/>
                  <a:pt x="6196" y="11787"/>
                </a:cubicBezTo>
                <a:moveTo>
                  <a:pt x="11195" y="12954"/>
                </a:moveTo>
                <a:cubicBezTo>
                  <a:pt x="11195" y="13537"/>
                  <a:pt x="11215" y="14063"/>
                  <a:pt x="11280" y="14577"/>
                </a:cubicBezTo>
                <a:lnTo>
                  <a:pt x="11261" y="14577"/>
                </a:lnTo>
                <a:cubicBezTo>
                  <a:pt x="11062" y="14138"/>
                  <a:pt x="10799" y="13653"/>
                  <a:pt x="10535" y="13243"/>
                </a:cubicBezTo>
                <a:lnTo>
                  <a:pt x="9611" y="11816"/>
                </a:lnTo>
                <a:lnTo>
                  <a:pt x="8436" y="11816"/>
                </a:lnTo>
                <a:lnTo>
                  <a:pt x="8436" y="15709"/>
                </a:lnTo>
                <a:lnTo>
                  <a:pt x="9360" y="15709"/>
                </a:lnTo>
                <a:lnTo>
                  <a:pt x="9360" y="14536"/>
                </a:lnTo>
                <a:cubicBezTo>
                  <a:pt x="9360" y="13901"/>
                  <a:pt x="9347" y="13352"/>
                  <a:pt x="9320" y="12838"/>
                </a:cubicBezTo>
                <a:lnTo>
                  <a:pt x="9340" y="12833"/>
                </a:lnTo>
                <a:cubicBezTo>
                  <a:pt x="9558" y="13289"/>
                  <a:pt x="9848" y="13791"/>
                  <a:pt x="10112" y="14207"/>
                </a:cubicBezTo>
                <a:lnTo>
                  <a:pt x="11062" y="15709"/>
                </a:lnTo>
                <a:lnTo>
                  <a:pt x="12119" y="15709"/>
                </a:lnTo>
                <a:lnTo>
                  <a:pt x="12119" y="11816"/>
                </a:lnTo>
                <a:lnTo>
                  <a:pt x="11195" y="11816"/>
                </a:lnTo>
                <a:cubicBezTo>
                  <a:pt x="11195" y="11816"/>
                  <a:pt x="11195" y="12954"/>
                  <a:pt x="11195" y="1295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04" name="Shape 2707"/>
          <p:cNvSpPr/>
          <p:nvPr/>
        </p:nvSpPr>
        <p:spPr>
          <a:xfrm>
            <a:off x="4046061" y="589203"/>
            <a:ext cx="106759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E-commerce</a:t>
            </a:r>
          </a:p>
        </p:txBody>
      </p:sp>
      <p:sp>
        <p:nvSpPr>
          <p:cNvPr id="105" name="Shape 2707"/>
          <p:cNvSpPr/>
          <p:nvPr/>
        </p:nvSpPr>
        <p:spPr>
          <a:xfrm>
            <a:off x="4384261" y="2042913"/>
            <a:ext cx="391190"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Web</a:t>
            </a:r>
          </a:p>
        </p:txBody>
      </p:sp>
    </p:spTree>
    <p:extLst>
      <p:ext uri="{BB962C8B-B14F-4D97-AF65-F5344CB8AC3E}">
        <p14:creationId xmlns:p14="http://schemas.microsoft.com/office/powerpoint/2010/main" val="2626926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3" name="Shape 2893"/>
          <p:cNvSpPr/>
          <p:nvPr/>
        </p:nvSpPr>
        <p:spPr>
          <a:xfrm>
            <a:off x="66064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07" y="14380"/>
                </a:moveTo>
                <a:cubicBezTo>
                  <a:pt x="12819" y="14469"/>
                  <a:pt x="12764" y="14592"/>
                  <a:pt x="12764" y="14727"/>
                </a:cubicBezTo>
                <a:cubicBezTo>
                  <a:pt x="12764" y="14999"/>
                  <a:pt x="12984" y="15218"/>
                  <a:pt x="13255" y="15218"/>
                </a:cubicBezTo>
                <a:cubicBezTo>
                  <a:pt x="13390" y="15218"/>
                  <a:pt x="13513" y="15164"/>
                  <a:pt x="13602" y="15074"/>
                </a:cubicBezTo>
                <a:lnTo>
                  <a:pt x="17529" y="11147"/>
                </a:lnTo>
                <a:cubicBezTo>
                  <a:pt x="17618" y="11058"/>
                  <a:pt x="17673" y="10936"/>
                  <a:pt x="17673" y="10800"/>
                </a:cubicBezTo>
                <a:cubicBezTo>
                  <a:pt x="17673" y="10665"/>
                  <a:pt x="17618" y="10542"/>
                  <a:pt x="17529" y="10453"/>
                </a:cubicBezTo>
                <a:lnTo>
                  <a:pt x="13602" y="6526"/>
                </a:lnTo>
                <a:cubicBezTo>
                  <a:pt x="13513" y="6437"/>
                  <a:pt x="13390" y="6382"/>
                  <a:pt x="13255" y="6382"/>
                </a:cubicBezTo>
                <a:cubicBezTo>
                  <a:pt x="12984" y="6382"/>
                  <a:pt x="12764" y="6601"/>
                  <a:pt x="12764" y="6873"/>
                </a:cubicBezTo>
                <a:cubicBezTo>
                  <a:pt x="12764" y="7008"/>
                  <a:pt x="12819" y="7131"/>
                  <a:pt x="12907" y="7220"/>
                </a:cubicBezTo>
                <a:lnTo>
                  <a:pt x="15997" y="10309"/>
                </a:lnTo>
                <a:lnTo>
                  <a:pt x="491" y="10309"/>
                </a:lnTo>
                <a:cubicBezTo>
                  <a:pt x="220" y="10309"/>
                  <a:pt x="0" y="10529"/>
                  <a:pt x="0" y="10800"/>
                </a:cubicBezTo>
                <a:cubicBezTo>
                  <a:pt x="0" y="11071"/>
                  <a:pt x="220" y="11291"/>
                  <a:pt x="491" y="11291"/>
                </a:cubicBezTo>
                <a:lnTo>
                  <a:pt x="15997" y="11291"/>
                </a:lnTo>
                <a:cubicBezTo>
                  <a:pt x="15997" y="11291"/>
                  <a:pt x="12907" y="14380"/>
                  <a:pt x="12907" y="14380"/>
                </a:cubicBezTo>
                <a:close/>
                <a:moveTo>
                  <a:pt x="21109" y="0"/>
                </a:moveTo>
                <a:lnTo>
                  <a:pt x="3436" y="0"/>
                </a:lnTo>
                <a:cubicBezTo>
                  <a:pt x="3166" y="0"/>
                  <a:pt x="2945" y="220"/>
                  <a:pt x="2945" y="491"/>
                </a:cubicBezTo>
                <a:lnTo>
                  <a:pt x="2945" y="7855"/>
                </a:lnTo>
                <a:cubicBezTo>
                  <a:pt x="2945" y="8126"/>
                  <a:pt x="3166" y="8345"/>
                  <a:pt x="3436" y="8345"/>
                </a:cubicBezTo>
                <a:cubicBezTo>
                  <a:pt x="3707" y="8345"/>
                  <a:pt x="3927" y="8126"/>
                  <a:pt x="3927" y="7855"/>
                </a:cubicBezTo>
                <a:lnTo>
                  <a:pt x="3927" y="982"/>
                </a:lnTo>
                <a:lnTo>
                  <a:pt x="20618" y="982"/>
                </a:lnTo>
                <a:lnTo>
                  <a:pt x="20618" y="20618"/>
                </a:lnTo>
                <a:lnTo>
                  <a:pt x="3927" y="20618"/>
                </a:lnTo>
                <a:lnTo>
                  <a:pt x="3927" y="13745"/>
                </a:lnTo>
                <a:cubicBezTo>
                  <a:pt x="3927" y="13475"/>
                  <a:pt x="3707" y="13255"/>
                  <a:pt x="3436" y="13255"/>
                </a:cubicBezTo>
                <a:cubicBezTo>
                  <a:pt x="3166" y="13255"/>
                  <a:pt x="2945" y="13475"/>
                  <a:pt x="2945" y="13745"/>
                </a:cubicBezTo>
                <a:lnTo>
                  <a:pt x="2945" y="21109"/>
                </a:lnTo>
                <a:cubicBezTo>
                  <a:pt x="2945" y="21380"/>
                  <a:pt x="3166" y="21600"/>
                  <a:pt x="3436" y="21600"/>
                </a:cubicBezTo>
                <a:lnTo>
                  <a:pt x="21109" y="21600"/>
                </a:lnTo>
                <a:cubicBezTo>
                  <a:pt x="21380" y="21600"/>
                  <a:pt x="21600" y="21380"/>
                  <a:pt x="21600" y="21109"/>
                </a:cubicBezTo>
                <a:lnTo>
                  <a:pt x="21600" y="491"/>
                </a:lnTo>
                <a:cubicBezTo>
                  <a:pt x="21600" y="220"/>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4" name="Shape 2894"/>
          <p:cNvSpPr/>
          <p:nvPr/>
        </p:nvSpPr>
        <p:spPr>
          <a:xfrm>
            <a:off x="106059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lnTo>
                  <a:pt x="5604" y="10309"/>
                </a:lnTo>
                <a:lnTo>
                  <a:pt x="8693" y="7220"/>
                </a:lnTo>
                <a:cubicBezTo>
                  <a:pt x="8781" y="7131"/>
                  <a:pt x="8836" y="7008"/>
                  <a:pt x="8836" y="6873"/>
                </a:cubicBezTo>
                <a:cubicBezTo>
                  <a:pt x="8836" y="6601"/>
                  <a:pt x="8616" y="6382"/>
                  <a:pt x="8345" y="6382"/>
                </a:cubicBezTo>
                <a:cubicBezTo>
                  <a:pt x="8210" y="6382"/>
                  <a:pt x="8087" y="6437"/>
                  <a:pt x="7998" y="6526"/>
                </a:cubicBezTo>
                <a:lnTo>
                  <a:pt x="4071" y="10453"/>
                </a:lnTo>
                <a:cubicBezTo>
                  <a:pt x="3982" y="10542"/>
                  <a:pt x="3927" y="10665"/>
                  <a:pt x="3927" y="10800"/>
                </a:cubicBezTo>
                <a:cubicBezTo>
                  <a:pt x="3927" y="10936"/>
                  <a:pt x="3982" y="11058"/>
                  <a:pt x="4071" y="11147"/>
                </a:cubicBezTo>
                <a:lnTo>
                  <a:pt x="7998" y="15074"/>
                </a:lnTo>
                <a:cubicBezTo>
                  <a:pt x="8087" y="15164"/>
                  <a:pt x="8210" y="15218"/>
                  <a:pt x="8345" y="15218"/>
                </a:cubicBezTo>
                <a:cubicBezTo>
                  <a:pt x="8616" y="15218"/>
                  <a:pt x="8836" y="14999"/>
                  <a:pt x="8836" y="14727"/>
                </a:cubicBezTo>
                <a:cubicBezTo>
                  <a:pt x="8836" y="14592"/>
                  <a:pt x="8781" y="14469"/>
                  <a:pt x="8693" y="14380"/>
                </a:cubicBezTo>
                <a:lnTo>
                  <a:pt x="5604" y="11291"/>
                </a:lnTo>
                <a:lnTo>
                  <a:pt x="21109" y="11291"/>
                </a:lnTo>
                <a:cubicBezTo>
                  <a:pt x="21380" y="11291"/>
                  <a:pt x="21600" y="11071"/>
                  <a:pt x="21600" y="10800"/>
                </a:cubicBezTo>
                <a:cubicBezTo>
                  <a:pt x="21600" y="10529"/>
                  <a:pt x="21380" y="10309"/>
                  <a:pt x="21109" y="10309"/>
                </a:cubicBezTo>
                <a:moveTo>
                  <a:pt x="18164" y="13255"/>
                </a:moveTo>
                <a:cubicBezTo>
                  <a:pt x="17893" y="13255"/>
                  <a:pt x="17673" y="13475"/>
                  <a:pt x="17673" y="13745"/>
                </a:cubicBezTo>
                <a:lnTo>
                  <a:pt x="17673" y="20618"/>
                </a:lnTo>
                <a:lnTo>
                  <a:pt x="982" y="20618"/>
                </a:lnTo>
                <a:lnTo>
                  <a:pt x="982" y="982"/>
                </a:lnTo>
                <a:lnTo>
                  <a:pt x="17673" y="982"/>
                </a:lnTo>
                <a:lnTo>
                  <a:pt x="17673" y="7855"/>
                </a:lnTo>
                <a:cubicBezTo>
                  <a:pt x="17673" y="8126"/>
                  <a:pt x="17893" y="8345"/>
                  <a:pt x="18164" y="8345"/>
                </a:cubicBezTo>
                <a:cubicBezTo>
                  <a:pt x="18434" y="8345"/>
                  <a:pt x="18655" y="8126"/>
                  <a:pt x="18655" y="7855"/>
                </a:cubicBezTo>
                <a:lnTo>
                  <a:pt x="18655" y="491"/>
                </a:lnTo>
                <a:cubicBezTo>
                  <a:pt x="18655" y="220"/>
                  <a:pt x="18434" y="0"/>
                  <a:pt x="18164" y="0"/>
                </a:cubicBezTo>
                <a:lnTo>
                  <a:pt x="491" y="0"/>
                </a:lnTo>
                <a:cubicBezTo>
                  <a:pt x="220" y="0"/>
                  <a:pt x="0" y="220"/>
                  <a:pt x="0" y="491"/>
                </a:cubicBezTo>
                <a:lnTo>
                  <a:pt x="0" y="21109"/>
                </a:lnTo>
                <a:cubicBezTo>
                  <a:pt x="0" y="21380"/>
                  <a:pt x="220" y="21600"/>
                  <a:pt x="491" y="21600"/>
                </a:cubicBezTo>
                <a:lnTo>
                  <a:pt x="18164" y="21600"/>
                </a:lnTo>
                <a:cubicBezTo>
                  <a:pt x="18434" y="21600"/>
                  <a:pt x="18655" y="21380"/>
                  <a:pt x="18655" y="21109"/>
                </a:cubicBezTo>
                <a:lnTo>
                  <a:pt x="18655" y="13745"/>
                </a:lnTo>
                <a:cubicBezTo>
                  <a:pt x="18655" y="13475"/>
                  <a:pt x="18434" y="13255"/>
                  <a:pt x="18164" y="132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5" name="Shape 2895"/>
          <p:cNvSpPr/>
          <p:nvPr/>
        </p:nvSpPr>
        <p:spPr>
          <a:xfrm>
            <a:off x="1512911"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6" name="Shape 2896"/>
          <p:cNvSpPr/>
          <p:nvPr/>
        </p:nvSpPr>
        <p:spPr>
          <a:xfrm>
            <a:off x="1912856"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1312" y="5053"/>
                </a:moveTo>
                <a:lnTo>
                  <a:pt x="11494" y="144"/>
                </a:lnTo>
                <a:cubicBezTo>
                  <a:pt x="11316" y="55"/>
                  <a:pt x="11071" y="0"/>
                  <a:pt x="10800" y="0"/>
                </a:cubicBezTo>
                <a:cubicBezTo>
                  <a:pt x="10529" y="0"/>
                  <a:pt x="10284" y="55"/>
                  <a:pt x="10106" y="144"/>
                </a:cubicBezTo>
                <a:lnTo>
                  <a:pt x="288" y="5053"/>
                </a:lnTo>
                <a:cubicBezTo>
                  <a:pt x="110" y="5142"/>
                  <a:pt x="0" y="5264"/>
                  <a:pt x="0" y="5400"/>
                </a:cubicBezTo>
                <a:cubicBezTo>
                  <a:pt x="0" y="5671"/>
                  <a:pt x="440" y="5891"/>
                  <a:pt x="982" y="5891"/>
                </a:cubicBezTo>
                <a:cubicBezTo>
                  <a:pt x="1253" y="5891"/>
                  <a:pt x="1498" y="5836"/>
                  <a:pt x="1676" y="5747"/>
                </a:cubicBezTo>
                <a:lnTo>
                  <a:pt x="9818" y="1676"/>
                </a:lnTo>
                <a:lnTo>
                  <a:pt x="9818" y="21109"/>
                </a:lnTo>
                <a:cubicBezTo>
                  <a:pt x="9818" y="21380"/>
                  <a:pt x="10258" y="21600"/>
                  <a:pt x="10800" y="21600"/>
                </a:cubicBezTo>
                <a:cubicBezTo>
                  <a:pt x="11342" y="21600"/>
                  <a:pt x="11782" y="21380"/>
                  <a:pt x="11782" y="21109"/>
                </a:cubicBezTo>
                <a:lnTo>
                  <a:pt x="11782" y="1676"/>
                </a:lnTo>
                <a:lnTo>
                  <a:pt x="19924" y="5747"/>
                </a:lnTo>
                <a:cubicBezTo>
                  <a:pt x="20102" y="5836"/>
                  <a:pt x="20347" y="5891"/>
                  <a:pt x="20618" y="5891"/>
                </a:cubicBezTo>
                <a:cubicBezTo>
                  <a:pt x="21160" y="5891"/>
                  <a:pt x="21600" y="5671"/>
                  <a:pt x="21600" y="5400"/>
                </a:cubicBezTo>
                <a:cubicBezTo>
                  <a:pt x="21600" y="5264"/>
                  <a:pt x="21490" y="5142"/>
                  <a:pt x="21312" y="50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7" name="Shape 2897"/>
          <p:cNvSpPr/>
          <p:nvPr/>
        </p:nvSpPr>
        <p:spPr>
          <a:xfrm>
            <a:off x="2260427"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109" y="9818"/>
                </a:moveTo>
                <a:lnTo>
                  <a:pt x="1676" y="9818"/>
                </a:lnTo>
                <a:lnTo>
                  <a:pt x="5747" y="1676"/>
                </a:lnTo>
                <a:cubicBezTo>
                  <a:pt x="5836" y="1499"/>
                  <a:pt x="5891" y="1253"/>
                  <a:pt x="5891" y="982"/>
                </a:cubicBezTo>
                <a:cubicBezTo>
                  <a:pt x="5891" y="439"/>
                  <a:pt x="5671" y="0"/>
                  <a:pt x="5400" y="0"/>
                </a:cubicBezTo>
                <a:cubicBezTo>
                  <a:pt x="5265" y="0"/>
                  <a:pt x="5142" y="110"/>
                  <a:pt x="5053" y="288"/>
                </a:cubicBezTo>
                <a:lnTo>
                  <a:pt x="144" y="10106"/>
                </a:lnTo>
                <a:cubicBezTo>
                  <a:pt x="55" y="10284"/>
                  <a:pt x="0" y="10530"/>
                  <a:pt x="0" y="10800"/>
                </a:cubicBezTo>
                <a:cubicBezTo>
                  <a:pt x="0" y="11071"/>
                  <a:pt x="55" y="11317"/>
                  <a:pt x="144" y="11494"/>
                </a:cubicBezTo>
                <a:lnTo>
                  <a:pt x="5053" y="21312"/>
                </a:lnTo>
                <a:cubicBezTo>
                  <a:pt x="5142" y="21491"/>
                  <a:pt x="5265" y="21600"/>
                  <a:pt x="5400" y="21600"/>
                </a:cubicBezTo>
                <a:cubicBezTo>
                  <a:pt x="5671" y="21600"/>
                  <a:pt x="5891" y="21161"/>
                  <a:pt x="5891" y="20618"/>
                </a:cubicBezTo>
                <a:cubicBezTo>
                  <a:pt x="5891" y="20348"/>
                  <a:pt x="5836" y="20102"/>
                  <a:pt x="5747" y="19924"/>
                </a:cubicBezTo>
                <a:lnTo>
                  <a:pt x="1676" y="11782"/>
                </a:lnTo>
                <a:lnTo>
                  <a:pt x="21109" y="11782"/>
                </a:lnTo>
                <a:cubicBezTo>
                  <a:pt x="21380" y="11782"/>
                  <a:pt x="21600" y="11343"/>
                  <a:pt x="21600" y="10800"/>
                </a:cubicBezTo>
                <a:cubicBezTo>
                  <a:pt x="21600" y="10257"/>
                  <a:pt x="21380" y="9818"/>
                  <a:pt x="21109"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8" name="Shape 2898"/>
          <p:cNvSpPr/>
          <p:nvPr/>
        </p:nvSpPr>
        <p:spPr>
          <a:xfrm>
            <a:off x="2660374"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9" name="Shape 2899"/>
          <p:cNvSpPr/>
          <p:nvPr/>
        </p:nvSpPr>
        <p:spPr>
          <a:xfrm>
            <a:off x="3069842"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060" y="0"/>
                </a:moveTo>
                <a:cubicBezTo>
                  <a:pt x="20911" y="0"/>
                  <a:pt x="20776" y="121"/>
                  <a:pt x="20678" y="316"/>
                </a:cubicBezTo>
                <a:lnTo>
                  <a:pt x="10800" y="19033"/>
                </a:lnTo>
                <a:lnTo>
                  <a:pt x="922" y="316"/>
                </a:lnTo>
                <a:cubicBezTo>
                  <a:pt x="824" y="121"/>
                  <a:pt x="689" y="0"/>
                  <a:pt x="540" y="0"/>
                </a:cubicBezTo>
                <a:cubicBezTo>
                  <a:pt x="242" y="0"/>
                  <a:pt x="0" y="483"/>
                  <a:pt x="0" y="1080"/>
                </a:cubicBezTo>
                <a:cubicBezTo>
                  <a:pt x="0" y="1378"/>
                  <a:pt x="60" y="1648"/>
                  <a:pt x="158" y="1844"/>
                </a:cubicBezTo>
                <a:lnTo>
                  <a:pt x="10418" y="21284"/>
                </a:lnTo>
                <a:cubicBezTo>
                  <a:pt x="10516" y="21480"/>
                  <a:pt x="10651" y="21600"/>
                  <a:pt x="10800" y="21600"/>
                </a:cubicBezTo>
                <a:cubicBezTo>
                  <a:pt x="10949" y="21600"/>
                  <a:pt x="11084" y="21480"/>
                  <a:pt x="11182" y="21284"/>
                </a:cubicBezTo>
                <a:lnTo>
                  <a:pt x="21442" y="1844"/>
                </a:lnTo>
                <a:cubicBezTo>
                  <a:pt x="21540" y="1648"/>
                  <a:pt x="21600" y="1378"/>
                  <a:pt x="21600" y="1080"/>
                </a:cubicBezTo>
                <a:cubicBezTo>
                  <a:pt x="21600" y="483"/>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0" name="Shape 2900"/>
          <p:cNvSpPr/>
          <p:nvPr/>
        </p:nvSpPr>
        <p:spPr>
          <a:xfrm>
            <a:off x="3469788"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442" y="19756"/>
                </a:moveTo>
                <a:lnTo>
                  <a:pt x="11182" y="316"/>
                </a:lnTo>
                <a:cubicBezTo>
                  <a:pt x="11084" y="121"/>
                  <a:pt x="10949" y="0"/>
                  <a:pt x="10800" y="0"/>
                </a:cubicBezTo>
                <a:cubicBezTo>
                  <a:pt x="10651" y="0"/>
                  <a:pt x="10516" y="121"/>
                  <a:pt x="10418" y="316"/>
                </a:cubicBezTo>
                <a:lnTo>
                  <a:pt x="158" y="19756"/>
                </a:lnTo>
                <a:cubicBezTo>
                  <a:pt x="60" y="19953"/>
                  <a:pt x="0" y="20222"/>
                  <a:pt x="0" y="20520"/>
                </a:cubicBezTo>
                <a:cubicBezTo>
                  <a:pt x="0" y="21117"/>
                  <a:pt x="242" y="21600"/>
                  <a:pt x="540" y="21600"/>
                </a:cubicBezTo>
                <a:cubicBezTo>
                  <a:pt x="689" y="21600"/>
                  <a:pt x="824" y="21480"/>
                  <a:pt x="922" y="21284"/>
                </a:cubicBezTo>
                <a:lnTo>
                  <a:pt x="10800" y="2567"/>
                </a:lnTo>
                <a:lnTo>
                  <a:pt x="20678" y="21284"/>
                </a:lnTo>
                <a:cubicBezTo>
                  <a:pt x="20776" y="21480"/>
                  <a:pt x="20911" y="21600"/>
                  <a:pt x="21060" y="21600"/>
                </a:cubicBezTo>
                <a:cubicBezTo>
                  <a:pt x="21358" y="21600"/>
                  <a:pt x="21600" y="21117"/>
                  <a:pt x="21600" y="20520"/>
                </a:cubicBezTo>
                <a:cubicBezTo>
                  <a:pt x="21600" y="20222"/>
                  <a:pt x="21540" y="19953"/>
                  <a:pt x="21442" y="197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1" name="Shape 2901"/>
          <p:cNvSpPr/>
          <p:nvPr/>
        </p:nvSpPr>
        <p:spPr>
          <a:xfrm>
            <a:off x="3917346"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567" y="10800"/>
                </a:moveTo>
                <a:lnTo>
                  <a:pt x="21284" y="922"/>
                </a:lnTo>
                <a:cubicBezTo>
                  <a:pt x="21480" y="824"/>
                  <a:pt x="21600" y="689"/>
                  <a:pt x="21600" y="540"/>
                </a:cubicBezTo>
                <a:cubicBezTo>
                  <a:pt x="21600" y="242"/>
                  <a:pt x="21117" y="0"/>
                  <a:pt x="20520" y="0"/>
                </a:cubicBezTo>
                <a:cubicBezTo>
                  <a:pt x="20222" y="0"/>
                  <a:pt x="19953" y="61"/>
                  <a:pt x="19756" y="158"/>
                </a:cubicBezTo>
                <a:lnTo>
                  <a:pt x="316" y="10418"/>
                </a:lnTo>
                <a:cubicBezTo>
                  <a:pt x="121" y="10516"/>
                  <a:pt x="0" y="10651"/>
                  <a:pt x="0" y="10800"/>
                </a:cubicBezTo>
                <a:cubicBezTo>
                  <a:pt x="0" y="10949"/>
                  <a:pt x="120" y="11084"/>
                  <a:pt x="316" y="11182"/>
                </a:cubicBezTo>
                <a:lnTo>
                  <a:pt x="19756" y="21442"/>
                </a:lnTo>
                <a:cubicBezTo>
                  <a:pt x="19953" y="21540"/>
                  <a:pt x="20222" y="21600"/>
                  <a:pt x="20520" y="21600"/>
                </a:cubicBezTo>
                <a:cubicBezTo>
                  <a:pt x="21117" y="21600"/>
                  <a:pt x="21600" y="21358"/>
                  <a:pt x="21600" y="21060"/>
                </a:cubicBezTo>
                <a:cubicBezTo>
                  <a:pt x="21600" y="20911"/>
                  <a:pt x="21480" y="20776"/>
                  <a:pt x="21284" y="20678"/>
                </a:cubicBezTo>
                <a:cubicBezTo>
                  <a:pt x="21284" y="20678"/>
                  <a:pt x="2567" y="10800"/>
                  <a:pt x="2567"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2" name="Shape 2902"/>
          <p:cNvSpPr/>
          <p:nvPr/>
        </p:nvSpPr>
        <p:spPr>
          <a:xfrm>
            <a:off x="4317292"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3" name="Shape 2903"/>
          <p:cNvSpPr/>
          <p:nvPr/>
        </p:nvSpPr>
        <p:spPr>
          <a:xfrm>
            <a:off x="66064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6200" y="8836"/>
                </a:moveTo>
                <a:cubicBezTo>
                  <a:pt x="16065" y="8836"/>
                  <a:pt x="15942" y="8891"/>
                  <a:pt x="15852" y="8980"/>
                </a:cubicBezTo>
                <a:lnTo>
                  <a:pt x="10800" y="13574"/>
                </a:lnTo>
                <a:lnTo>
                  <a:pt x="5747" y="8980"/>
                </a:lnTo>
                <a:cubicBezTo>
                  <a:pt x="5658" y="8891"/>
                  <a:pt x="5535" y="8836"/>
                  <a:pt x="5400" y="8836"/>
                </a:cubicBezTo>
                <a:cubicBezTo>
                  <a:pt x="5129" y="8836"/>
                  <a:pt x="4909" y="9056"/>
                  <a:pt x="4909" y="9327"/>
                </a:cubicBezTo>
                <a:cubicBezTo>
                  <a:pt x="4909" y="9463"/>
                  <a:pt x="4964" y="9586"/>
                  <a:pt x="5053" y="9674"/>
                </a:cubicBezTo>
                <a:lnTo>
                  <a:pt x="10453" y="14583"/>
                </a:lnTo>
                <a:cubicBezTo>
                  <a:pt x="10542" y="14673"/>
                  <a:pt x="10665" y="14727"/>
                  <a:pt x="10800" y="14727"/>
                </a:cubicBezTo>
                <a:cubicBezTo>
                  <a:pt x="10935" y="14727"/>
                  <a:pt x="11058" y="14673"/>
                  <a:pt x="11147" y="14583"/>
                </a:cubicBezTo>
                <a:lnTo>
                  <a:pt x="16547" y="9674"/>
                </a:lnTo>
                <a:cubicBezTo>
                  <a:pt x="16636" y="9586"/>
                  <a:pt x="16691" y="9463"/>
                  <a:pt x="16691" y="9327"/>
                </a:cubicBezTo>
                <a:cubicBezTo>
                  <a:pt x="16691" y="9056"/>
                  <a:pt x="16471" y="8836"/>
                  <a:pt x="162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4" name="Shape 2904"/>
          <p:cNvSpPr/>
          <p:nvPr/>
        </p:nvSpPr>
        <p:spPr>
          <a:xfrm>
            <a:off x="106059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147" y="7017"/>
                </a:moveTo>
                <a:cubicBezTo>
                  <a:pt x="11058" y="6927"/>
                  <a:pt x="10935" y="6873"/>
                  <a:pt x="10800" y="6873"/>
                </a:cubicBezTo>
                <a:cubicBezTo>
                  <a:pt x="10665" y="6873"/>
                  <a:pt x="10542" y="6927"/>
                  <a:pt x="10453" y="7017"/>
                </a:cubicBezTo>
                <a:lnTo>
                  <a:pt x="5053" y="11926"/>
                </a:lnTo>
                <a:cubicBezTo>
                  <a:pt x="4964" y="12015"/>
                  <a:pt x="4909" y="12138"/>
                  <a:pt x="4909" y="12273"/>
                </a:cubicBezTo>
                <a:cubicBezTo>
                  <a:pt x="4909" y="12544"/>
                  <a:pt x="5129" y="12764"/>
                  <a:pt x="5400" y="12764"/>
                </a:cubicBezTo>
                <a:cubicBezTo>
                  <a:pt x="5535" y="12764"/>
                  <a:pt x="5658" y="12709"/>
                  <a:pt x="5747" y="12620"/>
                </a:cubicBezTo>
                <a:lnTo>
                  <a:pt x="10800" y="8026"/>
                </a:lnTo>
                <a:lnTo>
                  <a:pt x="15853" y="12620"/>
                </a:lnTo>
                <a:cubicBezTo>
                  <a:pt x="15942" y="12709"/>
                  <a:pt x="16065" y="12764"/>
                  <a:pt x="16200" y="12764"/>
                </a:cubicBezTo>
                <a:cubicBezTo>
                  <a:pt x="16471" y="12764"/>
                  <a:pt x="16691" y="12544"/>
                  <a:pt x="16691" y="12273"/>
                </a:cubicBezTo>
                <a:cubicBezTo>
                  <a:pt x="16691" y="12138"/>
                  <a:pt x="16636" y="12015"/>
                  <a:pt x="16547" y="11926"/>
                </a:cubicBezTo>
                <a:cubicBezTo>
                  <a:pt x="16547" y="11926"/>
                  <a:pt x="11147" y="7017"/>
                  <a:pt x="11147" y="7017"/>
                </a:cubicBezTo>
                <a:close/>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5" name="Shape 2905"/>
          <p:cNvSpPr/>
          <p:nvPr/>
        </p:nvSpPr>
        <p:spPr>
          <a:xfrm>
            <a:off x="146053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764" y="5400"/>
                </a:moveTo>
                <a:cubicBezTo>
                  <a:pt x="12764" y="5129"/>
                  <a:pt x="12544" y="4909"/>
                  <a:pt x="12273" y="4909"/>
                </a:cubicBezTo>
                <a:cubicBezTo>
                  <a:pt x="12137" y="4909"/>
                  <a:pt x="12015" y="4964"/>
                  <a:pt x="11926" y="5053"/>
                </a:cubicBezTo>
                <a:lnTo>
                  <a:pt x="7017" y="10453"/>
                </a:lnTo>
                <a:cubicBezTo>
                  <a:pt x="6928" y="10542"/>
                  <a:pt x="6873" y="10665"/>
                  <a:pt x="6873" y="10800"/>
                </a:cubicBezTo>
                <a:cubicBezTo>
                  <a:pt x="6873" y="10936"/>
                  <a:pt x="6928" y="11058"/>
                  <a:pt x="7017" y="11147"/>
                </a:cubicBezTo>
                <a:lnTo>
                  <a:pt x="11926" y="16547"/>
                </a:lnTo>
                <a:cubicBezTo>
                  <a:pt x="12015" y="16636"/>
                  <a:pt x="12137" y="16691"/>
                  <a:pt x="12273" y="16691"/>
                </a:cubicBezTo>
                <a:cubicBezTo>
                  <a:pt x="12544" y="16691"/>
                  <a:pt x="12764" y="16471"/>
                  <a:pt x="12764" y="16200"/>
                </a:cubicBezTo>
                <a:cubicBezTo>
                  <a:pt x="12764" y="16065"/>
                  <a:pt x="12709" y="15942"/>
                  <a:pt x="12620" y="15853"/>
                </a:cubicBezTo>
                <a:lnTo>
                  <a:pt x="8026" y="10800"/>
                </a:lnTo>
                <a:lnTo>
                  <a:pt x="12620" y="5747"/>
                </a:lnTo>
                <a:cubicBezTo>
                  <a:pt x="12709" y="5658"/>
                  <a:pt x="12764" y="5536"/>
                  <a:pt x="12764"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6" name="Shape 2906"/>
          <p:cNvSpPr/>
          <p:nvPr/>
        </p:nvSpPr>
        <p:spPr>
          <a:xfrm>
            <a:off x="1860482"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7" name="Shape 2907"/>
          <p:cNvSpPr/>
          <p:nvPr/>
        </p:nvSpPr>
        <p:spPr>
          <a:xfrm>
            <a:off x="226042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8" name="Shape 2908"/>
          <p:cNvSpPr/>
          <p:nvPr/>
        </p:nvSpPr>
        <p:spPr>
          <a:xfrm>
            <a:off x="2660374"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800" y="19397"/>
                </a:moveTo>
                <a:lnTo>
                  <a:pt x="1638" y="1800"/>
                </a:lnTo>
                <a:lnTo>
                  <a:pt x="19962" y="1800"/>
                </a:lnTo>
                <a:cubicBezTo>
                  <a:pt x="19962" y="1800"/>
                  <a:pt x="10800" y="19397"/>
                  <a:pt x="10800" y="19397"/>
                </a:cubicBezTo>
                <a:close/>
                <a:moveTo>
                  <a:pt x="21600" y="900"/>
                </a:moveTo>
                <a:cubicBezTo>
                  <a:pt x="21600" y="403"/>
                  <a:pt x="21380" y="0"/>
                  <a:pt x="21109" y="0"/>
                </a:cubicBezTo>
                <a:lnTo>
                  <a:pt x="491" y="0"/>
                </a:lnTo>
                <a:cubicBezTo>
                  <a:pt x="220" y="0"/>
                  <a:pt x="0" y="403"/>
                  <a:pt x="0" y="900"/>
                </a:cubicBezTo>
                <a:cubicBezTo>
                  <a:pt x="0" y="1141"/>
                  <a:pt x="53" y="1357"/>
                  <a:pt x="137" y="1519"/>
                </a:cubicBezTo>
                <a:lnTo>
                  <a:pt x="136" y="1521"/>
                </a:lnTo>
                <a:lnTo>
                  <a:pt x="10445" y="21321"/>
                </a:lnTo>
                <a:lnTo>
                  <a:pt x="10446" y="21319"/>
                </a:lnTo>
                <a:cubicBezTo>
                  <a:pt x="10536" y="21491"/>
                  <a:pt x="10660" y="21600"/>
                  <a:pt x="10800" y="21600"/>
                </a:cubicBezTo>
                <a:cubicBezTo>
                  <a:pt x="10940" y="21600"/>
                  <a:pt x="11064" y="21491"/>
                  <a:pt x="11154" y="21319"/>
                </a:cubicBezTo>
                <a:lnTo>
                  <a:pt x="11155" y="21321"/>
                </a:lnTo>
                <a:lnTo>
                  <a:pt x="21464" y="1521"/>
                </a:lnTo>
                <a:lnTo>
                  <a:pt x="21463" y="1519"/>
                </a:lnTo>
                <a:cubicBezTo>
                  <a:pt x="21547" y="1357"/>
                  <a:pt x="21600" y="1141"/>
                  <a:pt x="21600" y="9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9" name="Shape 2909"/>
          <p:cNvSpPr/>
          <p:nvPr/>
        </p:nvSpPr>
        <p:spPr>
          <a:xfrm>
            <a:off x="3060320"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638" y="19800"/>
                </a:moveTo>
                <a:lnTo>
                  <a:pt x="10800" y="2203"/>
                </a:lnTo>
                <a:lnTo>
                  <a:pt x="19962" y="19800"/>
                </a:lnTo>
                <a:cubicBezTo>
                  <a:pt x="19962" y="19800"/>
                  <a:pt x="1638" y="19800"/>
                  <a:pt x="1638" y="19800"/>
                </a:cubicBezTo>
                <a:close/>
                <a:moveTo>
                  <a:pt x="21463" y="20081"/>
                </a:moveTo>
                <a:lnTo>
                  <a:pt x="21464" y="20079"/>
                </a:lnTo>
                <a:lnTo>
                  <a:pt x="11155" y="279"/>
                </a:lnTo>
                <a:lnTo>
                  <a:pt x="11154" y="282"/>
                </a:lnTo>
                <a:cubicBezTo>
                  <a:pt x="11064" y="109"/>
                  <a:pt x="10940" y="0"/>
                  <a:pt x="10800" y="0"/>
                </a:cubicBezTo>
                <a:cubicBezTo>
                  <a:pt x="10660" y="0"/>
                  <a:pt x="10536" y="109"/>
                  <a:pt x="10446" y="282"/>
                </a:cubicBezTo>
                <a:lnTo>
                  <a:pt x="10445" y="279"/>
                </a:lnTo>
                <a:lnTo>
                  <a:pt x="136" y="20079"/>
                </a:lnTo>
                <a:lnTo>
                  <a:pt x="137" y="20081"/>
                </a:lnTo>
                <a:cubicBezTo>
                  <a:pt x="54" y="20243"/>
                  <a:pt x="0" y="20459"/>
                  <a:pt x="0" y="20700"/>
                </a:cubicBezTo>
                <a:cubicBezTo>
                  <a:pt x="0" y="21197"/>
                  <a:pt x="220" y="21600"/>
                  <a:pt x="491" y="21600"/>
                </a:cubicBezTo>
                <a:lnTo>
                  <a:pt x="21109" y="21600"/>
                </a:lnTo>
                <a:cubicBezTo>
                  <a:pt x="21380" y="21600"/>
                  <a:pt x="21600" y="21197"/>
                  <a:pt x="21600" y="20700"/>
                </a:cubicBezTo>
                <a:cubicBezTo>
                  <a:pt x="21600" y="20459"/>
                  <a:pt x="21547" y="20243"/>
                  <a:pt x="21463" y="200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0" name="Shape 2910"/>
          <p:cNvSpPr/>
          <p:nvPr/>
        </p:nvSpPr>
        <p:spPr>
          <a:xfrm>
            <a:off x="3507877"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9800" y="19962"/>
                </a:moveTo>
                <a:lnTo>
                  <a:pt x="2203" y="10800"/>
                </a:lnTo>
                <a:lnTo>
                  <a:pt x="19800" y="1638"/>
                </a:lnTo>
                <a:cubicBezTo>
                  <a:pt x="19800" y="1638"/>
                  <a:pt x="19800" y="19962"/>
                  <a:pt x="19800" y="19962"/>
                </a:cubicBezTo>
                <a:close/>
                <a:moveTo>
                  <a:pt x="20700" y="0"/>
                </a:moveTo>
                <a:cubicBezTo>
                  <a:pt x="20459" y="0"/>
                  <a:pt x="20243" y="53"/>
                  <a:pt x="20080" y="137"/>
                </a:cubicBezTo>
                <a:lnTo>
                  <a:pt x="20079" y="136"/>
                </a:lnTo>
                <a:lnTo>
                  <a:pt x="279" y="10445"/>
                </a:lnTo>
                <a:lnTo>
                  <a:pt x="281" y="10446"/>
                </a:lnTo>
                <a:cubicBezTo>
                  <a:pt x="109" y="10536"/>
                  <a:pt x="0" y="10660"/>
                  <a:pt x="0" y="10800"/>
                </a:cubicBezTo>
                <a:cubicBezTo>
                  <a:pt x="0" y="10940"/>
                  <a:pt x="109" y="11065"/>
                  <a:pt x="281" y="11154"/>
                </a:cubicBezTo>
                <a:lnTo>
                  <a:pt x="279" y="11155"/>
                </a:lnTo>
                <a:lnTo>
                  <a:pt x="20079" y="21465"/>
                </a:lnTo>
                <a:lnTo>
                  <a:pt x="20080" y="21463"/>
                </a:lnTo>
                <a:cubicBezTo>
                  <a:pt x="20243" y="21547"/>
                  <a:pt x="20459"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1" name="Shape 2911"/>
          <p:cNvSpPr/>
          <p:nvPr/>
        </p:nvSpPr>
        <p:spPr>
          <a:xfrm>
            <a:off x="3907824"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800" y="19962"/>
                </a:moveTo>
                <a:lnTo>
                  <a:pt x="1800" y="1638"/>
                </a:lnTo>
                <a:lnTo>
                  <a:pt x="19397" y="10800"/>
                </a:lnTo>
                <a:cubicBezTo>
                  <a:pt x="19397" y="10800"/>
                  <a:pt x="1800" y="19962"/>
                  <a:pt x="1800" y="19962"/>
                </a:cubicBezTo>
                <a:close/>
                <a:moveTo>
                  <a:pt x="21600" y="10800"/>
                </a:moveTo>
                <a:cubicBezTo>
                  <a:pt x="21600" y="10660"/>
                  <a:pt x="21491" y="10536"/>
                  <a:pt x="21318" y="10446"/>
                </a:cubicBezTo>
                <a:lnTo>
                  <a:pt x="21321" y="10445"/>
                </a:lnTo>
                <a:lnTo>
                  <a:pt x="1521" y="136"/>
                </a:lnTo>
                <a:lnTo>
                  <a:pt x="1519" y="137"/>
                </a:lnTo>
                <a:cubicBezTo>
                  <a:pt x="1357" y="53"/>
                  <a:pt x="1141" y="0"/>
                  <a:pt x="900" y="0"/>
                </a:cubicBezTo>
                <a:cubicBezTo>
                  <a:pt x="403" y="0"/>
                  <a:pt x="0" y="220"/>
                  <a:pt x="0" y="491"/>
                </a:cubicBezTo>
                <a:lnTo>
                  <a:pt x="0" y="21109"/>
                </a:lnTo>
                <a:cubicBezTo>
                  <a:pt x="0" y="21380"/>
                  <a:pt x="403" y="21600"/>
                  <a:pt x="900" y="21600"/>
                </a:cubicBezTo>
                <a:cubicBezTo>
                  <a:pt x="1141" y="21600"/>
                  <a:pt x="1357" y="21547"/>
                  <a:pt x="1519" y="21463"/>
                </a:cubicBezTo>
                <a:lnTo>
                  <a:pt x="1521" y="21465"/>
                </a:lnTo>
                <a:lnTo>
                  <a:pt x="21321" y="11155"/>
                </a:lnTo>
                <a:lnTo>
                  <a:pt x="21318" y="11154"/>
                </a:lnTo>
                <a:cubicBezTo>
                  <a:pt x="21491" y="11065"/>
                  <a:pt x="21600" y="10940"/>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2" name="Shape 2912"/>
          <p:cNvSpPr/>
          <p:nvPr/>
        </p:nvSpPr>
        <p:spPr>
          <a:xfrm>
            <a:off x="426015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3" name="Shape 2913"/>
          <p:cNvSpPr/>
          <p:nvPr/>
        </p:nvSpPr>
        <p:spPr>
          <a:xfrm>
            <a:off x="4660103"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200" y="7855"/>
                </a:moveTo>
                <a:cubicBezTo>
                  <a:pt x="16073" y="7855"/>
                  <a:pt x="15959" y="7905"/>
                  <a:pt x="15873" y="7985"/>
                </a:cubicBezTo>
                <a:lnTo>
                  <a:pt x="15870" y="7982"/>
                </a:lnTo>
                <a:lnTo>
                  <a:pt x="10800" y="12591"/>
                </a:lnTo>
                <a:lnTo>
                  <a:pt x="5730" y="7982"/>
                </a:lnTo>
                <a:lnTo>
                  <a:pt x="5727" y="7985"/>
                </a:lnTo>
                <a:cubicBezTo>
                  <a:pt x="5641" y="7905"/>
                  <a:pt x="5527" y="7855"/>
                  <a:pt x="5400" y="7855"/>
                </a:cubicBezTo>
                <a:cubicBezTo>
                  <a:pt x="5129" y="7855"/>
                  <a:pt x="4909" y="8074"/>
                  <a:pt x="4909" y="8345"/>
                </a:cubicBezTo>
                <a:cubicBezTo>
                  <a:pt x="4909" y="8489"/>
                  <a:pt x="4973" y="8616"/>
                  <a:pt x="5073" y="8706"/>
                </a:cubicBezTo>
                <a:lnTo>
                  <a:pt x="5070" y="8709"/>
                </a:lnTo>
                <a:lnTo>
                  <a:pt x="10470" y="13618"/>
                </a:lnTo>
                <a:lnTo>
                  <a:pt x="10473" y="13615"/>
                </a:lnTo>
                <a:cubicBezTo>
                  <a:pt x="10559" y="13695"/>
                  <a:pt x="10673" y="13745"/>
                  <a:pt x="10800" y="13745"/>
                </a:cubicBezTo>
                <a:cubicBezTo>
                  <a:pt x="10927" y="13745"/>
                  <a:pt x="11041" y="13695"/>
                  <a:pt x="11127" y="13615"/>
                </a:cubicBezTo>
                <a:lnTo>
                  <a:pt x="11130" y="13618"/>
                </a:lnTo>
                <a:lnTo>
                  <a:pt x="16530" y="8709"/>
                </a:lnTo>
                <a:lnTo>
                  <a:pt x="16527" y="8706"/>
                </a:lnTo>
                <a:cubicBezTo>
                  <a:pt x="16627" y="8616"/>
                  <a:pt x="16691" y="8489"/>
                  <a:pt x="16691" y="8345"/>
                </a:cubicBezTo>
                <a:cubicBezTo>
                  <a:pt x="16691" y="8074"/>
                  <a:pt x="16471" y="7855"/>
                  <a:pt x="162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4" name="Shape 2914"/>
          <p:cNvSpPr/>
          <p:nvPr/>
        </p:nvSpPr>
        <p:spPr>
          <a:xfrm>
            <a:off x="5060049"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530" y="12891"/>
                </a:moveTo>
                <a:lnTo>
                  <a:pt x="11130" y="7982"/>
                </a:lnTo>
                <a:lnTo>
                  <a:pt x="11128" y="7985"/>
                </a:lnTo>
                <a:cubicBezTo>
                  <a:pt x="11040" y="7906"/>
                  <a:pt x="10927" y="7855"/>
                  <a:pt x="10800" y="7855"/>
                </a:cubicBezTo>
                <a:cubicBezTo>
                  <a:pt x="10673" y="7855"/>
                  <a:pt x="10559" y="7906"/>
                  <a:pt x="10473" y="7985"/>
                </a:cubicBezTo>
                <a:lnTo>
                  <a:pt x="10469" y="7982"/>
                </a:lnTo>
                <a:lnTo>
                  <a:pt x="5069" y="12891"/>
                </a:lnTo>
                <a:lnTo>
                  <a:pt x="5073" y="12895"/>
                </a:lnTo>
                <a:cubicBezTo>
                  <a:pt x="4973" y="12984"/>
                  <a:pt x="4909" y="13111"/>
                  <a:pt x="4909" y="13255"/>
                </a:cubicBezTo>
                <a:cubicBezTo>
                  <a:pt x="4909" y="13526"/>
                  <a:pt x="5129" y="13745"/>
                  <a:pt x="5400" y="13745"/>
                </a:cubicBezTo>
                <a:cubicBezTo>
                  <a:pt x="5527" y="13745"/>
                  <a:pt x="5640" y="13694"/>
                  <a:pt x="5728" y="13615"/>
                </a:cubicBezTo>
                <a:lnTo>
                  <a:pt x="5730" y="13618"/>
                </a:lnTo>
                <a:lnTo>
                  <a:pt x="10800" y="9009"/>
                </a:lnTo>
                <a:lnTo>
                  <a:pt x="15869" y="13618"/>
                </a:lnTo>
                <a:lnTo>
                  <a:pt x="15873" y="13615"/>
                </a:lnTo>
                <a:cubicBezTo>
                  <a:pt x="15959" y="13694"/>
                  <a:pt x="16073" y="13745"/>
                  <a:pt x="16200" y="13745"/>
                </a:cubicBezTo>
                <a:cubicBezTo>
                  <a:pt x="16471" y="13745"/>
                  <a:pt x="16691" y="13526"/>
                  <a:pt x="16691" y="13255"/>
                </a:cubicBezTo>
                <a:cubicBezTo>
                  <a:pt x="16691" y="13111"/>
                  <a:pt x="16627" y="12984"/>
                  <a:pt x="16527" y="12895"/>
                </a:cubicBezTo>
                <a:cubicBezTo>
                  <a:pt x="16527" y="12895"/>
                  <a:pt x="16530" y="12891"/>
                  <a:pt x="16530" y="12891"/>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5" name="Shape 2915"/>
          <p:cNvSpPr/>
          <p:nvPr/>
        </p:nvSpPr>
        <p:spPr>
          <a:xfrm>
            <a:off x="545999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4909"/>
                </a:moveTo>
                <a:cubicBezTo>
                  <a:pt x="12128" y="4909"/>
                  <a:pt x="12002" y="4974"/>
                  <a:pt x="11912" y="5073"/>
                </a:cubicBezTo>
                <a:lnTo>
                  <a:pt x="11909" y="5070"/>
                </a:lnTo>
                <a:lnTo>
                  <a:pt x="7000" y="10470"/>
                </a:lnTo>
                <a:lnTo>
                  <a:pt x="7003" y="10473"/>
                </a:lnTo>
                <a:cubicBezTo>
                  <a:pt x="6924" y="10559"/>
                  <a:pt x="6873" y="10673"/>
                  <a:pt x="6873" y="10800"/>
                </a:cubicBezTo>
                <a:cubicBezTo>
                  <a:pt x="6873" y="10927"/>
                  <a:pt x="6924" y="11041"/>
                  <a:pt x="7003" y="11127"/>
                </a:cubicBezTo>
                <a:lnTo>
                  <a:pt x="7000" y="11130"/>
                </a:lnTo>
                <a:lnTo>
                  <a:pt x="11909" y="16530"/>
                </a:lnTo>
                <a:lnTo>
                  <a:pt x="11912" y="16527"/>
                </a:lnTo>
                <a:cubicBezTo>
                  <a:pt x="12002" y="16627"/>
                  <a:pt x="12128" y="16691"/>
                  <a:pt x="12273" y="16691"/>
                </a:cubicBezTo>
                <a:cubicBezTo>
                  <a:pt x="12544" y="16691"/>
                  <a:pt x="12764" y="16471"/>
                  <a:pt x="12764" y="16200"/>
                </a:cubicBezTo>
                <a:cubicBezTo>
                  <a:pt x="12764" y="16073"/>
                  <a:pt x="12713" y="15960"/>
                  <a:pt x="12633" y="15873"/>
                </a:cubicBezTo>
                <a:lnTo>
                  <a:pt x="12636" y="15870"/>
                </a:lnTo>
                <a:lnTo>
                  <a:pt x="8027" y="10800"/>
                </a:lnTo>
                <a:lnTo>
                  <a:pt x="12636" y="5730"/>
                </a:lnTo>
                <a:lnTo>
                  <a:pt x="12633" y="5728"/>
                </a:lnTo>
                <a:cubicBezTo>
                  <a:pt x="12713" y="5641"/>
                  <a:pt x="12764" y="5527"/>
                  <a:pt x="12764" y="5400"/>
                </a:cubicBezTo>
                <a:cubicBezTo>
                  <a:pt x="12764" y="5129"/>
                  <a:pt x="12544" y="4909"/>
                  <a:pt x="12273"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6" name="Shape 2916"/>
          <p:cNvSpPr/>
          <p:nvPr/>
        </p:nvSpPr>
        <p:spPr>
          <a:xfrm>
            <a:off x="585994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597" y="10473"/>
                </a:moveTo>
                <a:lnTo>
                  <a:pt x="14600" y="10470"/>
                </a:lnTo>
                <a:lnTo>
                  <a:pt x="9691" y="5070"/>
                </a:lnTo>
                <a:lnTo>
                  <a:pt x="9688" y="5073"/>
                </a:lnTo>
                <a:cubicBezTo>
                  <a:pt x="9598" y="4974"/>
                  <a:pt x="9471" y="4909"/>
                  <a:pt x="9327" y="4909"/>
                </a:cubicBezTo>
                <a:cubicBezTo>
                  <a:pt x="9056" y="4909"/>
                  <a:pt x="8836" y="5129"/>
                  <a:pt x="8836" y="5400"/>
                </a:cubicBezTo>
                <a:cubicBezTo>
                  <a:pt x="8836" y="5527"/>
                  <a:pt x="8887" y="5641"/>
                  <a:pt x="8967" y="5728"/>
                </a:cubicBezTo>
                <a:lnTo>
                  <a:pt x="8964" y="5730"/>
                </a:lnTo>
                <a:lnTo>
                  <a:pt x="13573" y="10800"/>
                </a:lnTo>
                <a:lnTo>
                  <a:pt x="8964" y="15870"/>
                </a:lnTo>
                <a:lnTo>
                  <a:pt x="8967" y="15873"/>
                </a:lnTo>
                <a:cubicBezTo>
                  <a:pt x="8887" y="15960"/>
                  <a:pt x="8836" y="16073"/>
                  <a:pt x="8836" y="16200"/>
                </a:cubicBezTo>
                <a:cubicBezTo>
                  <a:pt x="8836" y="16471"/>
                  <a:pt x="9056" y="16691"/>
                  <a:pt x="9327" y="16691"/>
                </a:cubicBezTo>
                <a:cubicBezTo>
                  <a:pt x="9471" y="16691"/>
                  <a:pt x="9598" y="16627"/>
                  <a:pt x="9688" y="16527"/>
                </a:cubicBezTo>
                <a:lnTo>
                  <a:pt x="9691" y="16530"/>
                </a:lnTo>
                <a:lnTo>
                  <a:pt x="14600" y="11130"/>
                </a:lnTo>
                <a:lnTo>
                  <a:pt x="14597" y="11127"/>
                </a:lnTo>
                <a:cubicBezTo>
                  <a:pt x="14676" y="11041"/>
                  <a:pt x="14727" y="10927"/>
                  <a:pt x="14727" y="10800"/>
                </a:cubicBezTo>
                <a:cubicBezTo>
                  <a:pt x="14727" y="10673"/>
                  <a:pt x="14676" y="10559"/>
                  <a:pt x="14597" y="104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7" name="Shape 2917"/>
          <p:cNvSpPr/>
          <p:nvPr/>
        </p:nvSpPr>
        <p:spPr>
          <a:xfrm>
            <a:off x="6293215"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2459" y="14727"/>
                </a:lnTo>
                <a:lnTo>
                  <a:pt x="8640" y="14727"/>
                </a:lnTo>
                <a:lnTo>
                  <a:pt x="8640" y="1964"/>
                </a:lnTo>
                <a:cubicBezTo>
                  <a:pt x="8640" y="1422"/>
                  <a:pt x="9285" y="982"/>
                  <a:pt x="10080" y="982"/>
                </a:cubicBezTo>
                <a:lnTo>
                  <a:pt x="11520" y="982"/>
                </a:lnTo>
                <a:cubicBezTo>
                  <a:pt x="12315" y="982"/>
                  <a:pt x="12960" y="1422"/>
                  <a:pt x="12960" y="1964"/>
                </a:cubicBezTo>
                <a:lnTo>
                  <a:pt x="12960" y="14727"/>
                </a:lnTo>
                <a:lnTo>
                  <a:pt x="19142" y="14727"/>
                </a:lnTo>
                <a:cubicBezTo>
                  <a:pt x="19142" y="14727"/>
                  <a:pt x="10800" y="20415"/>
                  <a:pt x="10800" y="20415"/>
                </a:cubicBezTo>
                <a:close/>
                <a:moveTo>
                  <a:pt x="20880" y="13745"/>
                </a:moveTo>
                <a:lnTo>
                  <a:pt x="14400" y="13745"/>
                </a:lnTo>
                <a:lnTo>
                  <a:pt x="14400" y="1964"/>
                </a:lnTo>
                <a:cubicBezTo>
                  <a:pt x="14400" y="879"/>
                  <a:pt x="13110" y="0"/>
                  <a:pt x="11520" y="0"/>
                </a:cubicBezTo>
                <a:lnTo>
                  <a:pt x="10080" y="0"/>
                </a:lnTo>
                <a:cubicBezTo>
                  <a:pt x="8490" y="0"/>
                  <a:pt x="7200" y="879"/>
                  <a:pt x="7200" y="1964"/>
                </a:cubicBezTo>
                <a:lnTo>
                  <a:pt x="7200" y="13745"/>
                </a:lnTo>
                <a:lnTo>
                  <a:pt x="720" y="13745"/>
                </a:lnTo>
                <a:cubicBezTo>
                  <a:pt x="323" y="13745"/>
                  <a:pt x="0" y="13966"/>
                  <a:pt x="0" y="14236"/>
                </a:cubicBezTo>
                <a:cubicBezTo>
                  <a:pt x="0" y="14373"/>
                  <a:pt x="81" y="14495"/>
                  <a:pt x="212" y="14584"/>
                </a:cubicBezTo>
                <a:lnTo>
                  <a:pt x="10290" y="21456"/>
                </a:lnTo>
                <a:cubicBezTo>
                  <a:pt x="10421" y="21545"/>
                  <a:pt x="10601" y="21600"/>
                  <a:pt x="10800" y="21600"/>
                </a:cubicBezTo>
                <a:cubicBezTo>
                  <a:pt x="10999" y="21600"/>
                  <a:pt x="11179" y="21545"/>
                  <a:pt x="11310" y="21456"/>
                </a:cubicBezTo>
                <a:lnTo>
                  <a:pt x="21388" y="14584"/>
                </a:lnTo>
                <a:cubicBezTo>
                  <a:pt x="21519" y="14495"/>
                  <a:pt x="21600" y="14373"/>
                  <a:pt x="21600" y="14236"/>
                </a:cubicBezTo>
                <a:cubicBezTo>
                  <a:pt x="21600" y="13966"/>
                  <a:pt x="21277" y="13745"/>
                  <a:pt x="2088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8" name="Shape 2918"/>
          <p:cNvSpPr/>
          <p:nvPr/>
        </p:nvSpPr>
        <p:spPr>
          <a:xfrm>
            <a:off x="6693160"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2960" y="6873"/>
                </a:moveTo>
                <a:lnTo>
                  <a:pt x="12960" y="19636"/>
                </a:lnTo>
                <a:cubicBezTo>
                  <a:pt x="12960" y="20178"/>
                  <a:pt x="12315" y="20618"/>
                  <a:pt x="11520" y="20618"/>
                </a:cubicBezTo>
                <a:lnTo>
                  <a:pt x="10080" y="20618"/>
                </a:lnTo>
                <a:cubicBezTo>
                  <a:pt x="9285" y="20618"/>
                  <a:pt x="8640" y="20178"/>
                  <a:pt x="8640" y="19636"/>
                </a:cubicBezTo>
                <a:lnTo>
                  <a:pt x="8640" y="6873"/>
                </a:lnTo>
                <a:lnTo>
                  <a:pt x="2458" y="6873"/>
                </a:lnTo>
                <a:lnTo>
                  <a:pt x="10800" y="1185"/>
                </a:lnTo>
                <a:lnTo>
                  <a:pt x="19142" y="6873"/>
                </a:lnTo>
                <a:cubicBezTo>
                  <a:pt x="19142" y="6873"/>
                  <a:pt x="12960" y="6873"/>
                  <a:pt x="12960" y="6873"/>
                </a:cubicBezTo>
                <a:close/>
                <a:moveTo>
                  <a:pt x="21389" y="7017"/>
                </a:moveTo>
                <a:lnTo>
                  <a:pt x="11309" y="144"/>
                </a:lnTo>
                <a:cubicBezTo>
                  <a:pt x="11179" y="55"/>
                  <a:pt x="10999" y="0"/>
                  <a:pt x="10800" y="0"/>
                </a:cubicBezTo>
                <a:cubicBezTo>
                  <a:pt x="10601" y="0"/>
                  <a:pt x="10422" y="55"/>
                  <a:pt x="10291" y="144"/>
                </a:cubicBezTo>
                <a:lnTo>
                  <a:pt x="211" y="7017"/>
                </a:lnTo>
                <a:cubicBezTo>
                  <a:pt x="81" y="7106"/>
                  <a:pt x="0" y="7228"/>
                  <a:pt x="0" y="7364"/>
                </a:cubicBezTo>
                <a:cubicBezTo>
                  <a:pt x="0" y="7635"/>
                  <a:pt x="322" y="7855"/>
                  <a:pt x="720" y="7855"/>
                </a:cubicBezTo>
                <a:lnTo>
                  <a:pt x="7200" y="7855"/>
                </a:lnTo>
                <a:lnTo>
                  <a:pt x="7200" y="19636"/>
                </a:lnTo>
                <a:cubicBezTo>
                  <a:pt x="7200" y="20721"/>
                  <a:pt x="8490" y="21600"/>
                  <a:pt x="10080" y="21600"/>
                </a:cubicBezTo>
                <a:lnTo>
                  <a:pt x="11520" y="21600"/>
                </a:lnTo>
                <a:cubicBezTo>
                  <a:pt x="13110" y="21600"/>
                  <a:pt x="14400" y="20721"/>
                  <a:pt x="14400" y="19636"/>
                </a:cubicBezTo>
                <a:lnTo>
                  <a:pt x="14400" y="7855"/>
                </a:lnTo>
                <a:lnTo>
                  <a:pt x="20880" y="7855"/>
                </a:lnTo>
                <a:cubicBezTo>
                  <a:pt x="21278" y="7855"/>
                  <a:pt x="21600" y="7635"/>
                  <a:pt x="21600" y="7364"/>
                </a:cubicBezTo>
                <a:cubicBezTo>
                  <a:pt x="21600" y="7228"/>
                  <a:pt x="21519" y="7106"/>
                  <a:pt x="21389" y="70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9" name="Shape 2919"/>
          <p:cNvSpPr/>
          <p:nvPr/>
        </p:nvSpPr>
        <p:spPr>
          <a:xfrm>
            <a:off x="7059778"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0618" y="11520"/>
                </a:moveTo>
                <a:cubicBezTo>
                  <a:pt x="20618" y="12315"/>
                  <a:pt x="20178" y="12960"/>
                  <a:pt x="19636" y="12960"/>
                </a:cubicBezTo>
                <a:lnTo>
                  <a:pt x="6873" y="12960"/>
                </a:lnTo>
                <a:lnTo>
                  <a:pt x="6873" y="19142"/>
                </a:lnTo>
                <a:lnTo>
                  <a:pt x="1185" y="10800"/>
                </a:lnTo>
                <a:lnTo>
                  <a:pt x="6873" y="2458"/>
                </a:lnTo>
                <a:lnTo>
                  <a:pt x="6873" y="8640"/>
                </a:lnTo>
                <a:lnTo>
                  <a:pt x="19636" y="8640"/>
                </a:lnTo>
                <a:cubicBezTo>
                  <a:pt x="20178" y="8640"/>
                  <a:pt x="20618" y="9285"/>
                  <a:pt x="20618" y="10080"/>
                </a:cubicBezTo>
                <a:cubicBezTo>
                  <a:pt x="20618" y="10080"/>
                  <a:pt x="20618" y="11520"/>
                  <a:pt x="20618" y="11520"/>
                </a:cubicBezTo>
                <a:close/>
                <a:moveTo>
                  <a:pt x="19636" y="7200"/>
                </a:moveTo>
                <a:lnTo>
                  <a:pt x="7855" y="7200"/>
                </a:lnTo>
                <a:lnTo>
                  <a:pt x="7855" y="720"/>
                </a:lnTo>
                <a:cubicBezTo>
                  <a:pt x="7855" y="322"/>
                  <a:pt x="7635" y="0"/>
                  <a:pt x="7364" y="0"/>
                </a:cubicBezTo>
                <a:cubicBezTo>
                  <a:pt x="7228" y="0"/>
                  <a:pt x="7105" y="81"/>
                  <a:pt x="7017" y="212"/>
                </a:cubicBezTo>
                <a:lnTo>
                  <a:pt x="144" y="10291"/>
                </a:lnTo>
                <a:cubicBezTo>
                  <a:pt x="55" y="10422"/>
                  <a:pt x="0" y="10602"/>
                  <a:pt x="0" y="10800"/>
                </a:cubicBezTo>
                <a:cubicBezTo>
                  <a:pt x="0" y="11000"/>
                  <a:pt x="55" y="11180"/>
                  <a:pt x="144" y="11310"/>
                </a:cubicBezTo>
                <a:lnTo>
                  <a:pt x="7017" y="21389"/>
                </a:lnTo>
                <a:cubicBezTo>
                  <a:pt x="7105" y="21520"/>
                  <a:pt x="7228" y="21600"/>
                  <a:pt x="7364" y="21600"/>
                </a:cubicBezTo>
                <a:cubicBezTo>
                  <a:pt x="7635" y="21600"/>
                  <a:pt x="7855" y="21278"/>
                  <a:pt x="7855" y="20880"/>
                </a:cubicBezTo>
                <a:lnTo>
                  <a:pt x="7855" y="14400"/>
                </a:lnTo>
                <a:lnTo>
                  <a:pt x="19636" y="14400"/>
                </a:lnTo>
                <a:cubicBezTo>
                  <a:pt x="20721" y="14400"/>
                  <a:pt x="21600" y="13110"/>
                  <a:pt x="21600" y="11520"/>
                </a:cubicBezTo>
                <a:lnTo>
                  <a:pt x="21600" y="10080"/>
                </a:lnTo>
                <a:cubicBezTo>
                  <a:pt x="21600" y="8490"/>
                  <a:pt x="20721" y="7200"/>
                  <a:pt x="19636"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0" name="Shape 2920"/>
          <p:cNvSpPr/>
          <p:nvPr/>
        </p:nvSpPr>
        <p:spPr>
          <a:xfrm>
            <a:off x="7459723"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14727" y="19142"/>
                </a:moveTo>
                <a:lnTo>
                  <a:pt x="14727" y="12960"/>
                </a:lnTo>
                <a:lnTo>
                  <a:pt x="1964" y="12960"/>
                </a:lnTo>
                <a:cubicBezTo>
                  <a:pt x="1421" y="12960"/>
                  <a:pt x="982" y="12316"/>
                  <a:pt x="982" y="11520"/>
                </a:cubicBezTo>
                <a:lnTo>
                  <a:pt x="982" y="10080"/>
                </a:lnTo>
                <a:cubicBezTo>
                  <a:pt x="982" y="9285"/>
                  <a:pt x="1421" y="8640"/>
                  <a:pt x="1964" y="8640"/>
                </a:cubicBezTo>
                <a:lnTo>
                  <a:pt x="14727" y="8640"/>
                </a:lnTo>
                <a:lnTo>
                  <a:pt x="14727" y="2458"/>
                </a:lnTo>
                <a:lnTo>
                  <a:pt x="20415" y="10800"/>
                </a:lnTo>
                <a:cubicBezTo>
                  <a:pt x="20415" y="10800"/>
                  <a:pt x="14727" y="19142"/>
                  <a:pt x="14727" y="19142"/>
                </a:cubicBezTo>
                <a:close/>
                <a:moveTo>
                  <a:pt x="21456" y="10291"/>
                </a:moveTo>
                <a:lnTo>
                  <a:pt x="14584" y="212"/>
                </a:lnTo>
                <a:cubicBezTo>
                  <a:pt x="14495" y="81"/>
                  <a:pt x="14372" y="0"/>
                  <a:pt x="14236" y="0"/>
                </a:cubicBezTo>
                <a:cubicBezTo>
                  <a:pt x="13965" y="0"/>
                  <a:pt x="13745" y="322"/>
                  <a:pt x="13745" y="720"/>
                </a:cubicBezTo>
                <a:lnTo>
                  <a:pt x="13745" y="7200"/>
                </a:lnTo>
                <a:lnTo>
                  <a:pt x="1964" y="7200"/>
                </a:lnTo>
                <a:cubicBezTo>
                  <a:pt x="879" y="7200"/>
                  <a:pt x="0" y="8490"/>
                  <a:pt x="0" y="10080"/>
                </a:cubicBezTo>
                <a:lnTo>
                  <a:pt x="0" y="11520"/>
                </a:lnTo>
                <a:cubicBezTo>
                  <a:pt x="0" y="13110"/>
                  <a:pt x="879" y="14400"/>
                  <a:pt x="1964" y="14400"/>
                </a:cubicBezTo>
                <a:lnTo>
                  <a:pt x="13745" y="14400"/>
                </a:lnTo>
                <a:lnTo>
                  <a:pt x="13745" y="20880"/>
                </a:lnTo>
                <a:cubicBezTo>
                  <a:pt x="13745" y="21278"/>
                  <a:pt x="13965" y="21600"/>
                  <a:pt x="14236" y="21600"/>
                </a:cubicBezTo>
                <a:cubicBezTo>
                  <a:pt x="14372" y="21600"/>
                  <a:pt x="14495" y="21520"/>
                  <a:pt x="14583" y="21389"/>
                </a:cubicBezTo>
                <a:lnTo>
                  <a:pt x="21456" y="11310"/>
                </a:lnTo>
                <a:cubicBezTo>
                  <a:pt x="21545" y="11180"/>
                  <a:pt x="21600" y="11000"/>
                  <a:pt x="21600" y="10800"/>
                </a:cubicBezTo>
                <a:cubicBezTo>
                  <a:pt x="21600" y="10601"/>
                  <a:pt x="21545" y="10421"/>
                  <a:pt x="21456" y="10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1" name="Shape 2921"/>
          <p:cNvSpPr/>
          <p:nvPr/>
        </p:nvSpPr>
        <p:spPr>
          <a:xfrm>
            <a:off x="7888237" y="1074826"/>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1402" y="5052"/>
                </a:moveTo>
                <a:lnTo>
                  <a:pt x="14652" y="144"/>
                </a:lnTo>
                <a:cubicBezTo>
                  <a:pt x="14530" y="55"/>
                  <a:pt x="14362" y="0"/>
                  <a:pt x="14175" y="0"/>
                </a:cubicBezTo>
                <a:cubicBezTo>
                  <a:pt x="13802" y="0"/>
                  <a:pt x="13500" y="220"/>
                  <a:pt x="13500" y="491"/>
                </a:cubicBezTo>
                <a:cubicBezTo>
                  <a:pt x="13500" y="627"/>
                  <a:pt x="13576" y="749"/>
                  <a:pt x="13698" y="838"/>
                </a:cubicBezTo>
                <a:lnTo>
                  <a:pt x="19296" y="4909"/>
                </a:lnTo>
                <a:lnTo>
                  <a:pt x="675" y="4909"/>
                </a:lnTo>
                <a:cubicBezTo>
                  <a:pt x="302" y="4909"/>
                  <a:pt x="0" y="5129"/>
                  <a:pt x="0" y="5400"/>
                </a:cubicBezTo>
                <a:lnTo>
                  <a:pt x="0" y="21109"/>
                </a:lnTo>
                <a:cubicBezTo>
                  <a:pt x="0" y="21380"/>
                  <a:pt x="302" y="21600"/>
                  <a:pt x="675" y="21600"/>
                </a:cubicBezTo>
                <a:cubicBezTo>
                  <a:pt x="1048" y="21600"/>
                  <a:pt x="1350" y="21380"/>
                  <a:pt x="1350" y="21109"/>
                </a:cubicBezTo>
                <a:lnTo>
                  <a:pt x="1350" y="5891"/>
                </a:lnTo>
                <a:lnTo>
                  <a:pt x="19296" y="5891"/>
                </a:lnTo>
                <a:lnTo>
                  <a:pt x="13698" y="9962"/>
                </a:lnTo>
                <a:cubicBezTo>
                  <a:pt x="13575" y="10051"/>
                  <a:pt x="13500" y="10173"/>
                  <a:pt x="13500" y="10309"/>
                </a:cubicBezTo>
                <a:cubicBezTo>
                  <a:pt x="13500" y="10580"/>
                  <a:pt x="13802" y="10800"/>
                  <a:pt x="14175" y="10800"/>
                </a:cubicBezTo>
                <a:cubicBezTo>
                  <a:pt x="14362" y="10800"/>
                  <a:pt x="14531" y="10745"/>
                  <a:pt x="14653" y="10656"/>
                </a:cubicBezTo>
                <a:lnTo>
                  <a:pt x="21402" y="5747"/>
                </a:lnTo>
                <a:cubicBezTo>
                  <a:pt x="21525" y="5658"/>
                  <a:pt x="21600" y="5536"/>
                  <a:pt x="21600" y="5400"/>
                </a:cubicBezTo>
                <a:cubicBezTo>
                  <a:pt x="21600" y="5264"/>
                  <a:pt x="21524" y="5142"/>
                  <a:pt x="21402" y="50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2" name="Shape 2922"/>
          <p:cNvSpPr/>
          <p:nvPr/>
        </p:nvSpPr>
        <p:spPr>
          <a:xfrm>
            <a:off x="8259615" y="110339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12546"/>
                </a:moveTo>
                <a:lnTo>
                  <a:pt x="16691" y="2304"/>
                </a:lnTo>
                <a:lnTo>
                  <a:pt x="20415" y="7425"/>
                </a:lnTo>
                <a:cubicBezTo>
                  <a:pt x="20415" y="7425"/>
                  <a:pt x="16691" y="12546"/>
                  <a:pt x="16691" y="12546"/>
                </a:cubicBezTo>
                <a:close/>
                <a:moveTo>
                  <a:pt x="21456" y="6948"/>
                </a:moveTo>
                <a:lnTo>
                  <a:pt x="16548" y="198"/>
                </a:lnTo>
                <a:cubicBezTo>
                  <a:pt x="16458" y="76"/>
                  <a:pt x="16336" y="0"/>
                  <a:pt x="16200" y="0"/>
                </a:cubicBezTo>
                <a:cubicBezTo>
                  <a:pt x="15929" y="0"/>
                  <a:pt x="15709" y="302"/>
                  <a:pt x="15709" y="675"/>
                </a:cubicBezTo>
                <a:lnTo>
                  <a:pt x="15709" y="6750"/>
                </a:lnTo>
                <a:lnTo>
                  <a:pt x="491" y="6750"/>
                </a:lnTo>
                <a:cubicBezTo>
                  <a:pt x="220" y="6750"/>
                  <a:pt x="0" y="7052"/>
                  <a:pt x="0" y="7425"/>
                </a:cubicBezTo>
                <a:lnTo>
                  <a:pt x="0" y="20925"/>
                </a:lnTo>
                <a:cubicBezTo>
                  <a:pt x="0" y="21298"/>
                  <a:pt x="220" y="21600"/>
                  <a:pt x="491" y="21600"/>
                </a:cubicBezTo>
                <a:cubicBezTo>
                  <a:pt x="762" y="21600"/>
                  <a:pt x="982" y="21298"/>
                  <a:pt x="982" y="20925"/>
                </a:cubicBezTo>
                <a:lnTo>
                  <a:pt x="982" y="8100"/>
                </a:lnTo>
                <a:lnTo>
                  <a:pt x="15709" y="8100"/>
                </a:lnTo>
                <a:lnTo>
                  <a:pt x="15709" y="14175"/>
                </a:lnTo>
                <a:cubicBezTo>
                  <a:pt x="15709" y="14548"/>
                  <a:pt x="15929" y="14850"/>
                  <a:pt x="16200" y="14850"/>
                </a:cubicBezTo>
                <a:cubicBezTo>
                  <a:pt x="16336" y="14850"/>
                  <a:pt x="16458" y="14775"/>
                  <a:pt x="16547" y="14652"/>
                </a:cubicBezTo>
                <a:lnTo>
                  <a:pt x="21456" y="7903"/>
                </a:lnTo>
                <a:cubicBezTo>
                  <a:pt x="21545" y="7781"/>
                  <a:pt x="21600" y="7612"/>
                  <a:pt x="21600" y="7425"/>
                </a:cubicBezTo>
                <a:cubicBezTo>
                  <a:pt x="21600" y="7238"/>
                  <a:pt x="21545" y="7070"/>
                  <a:pt x="21456" y="6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3" name="Shape 2923"/>
          <p:cNvSpPr/>
          <p:nvPr/>
        </p:nvSpPr>
        <p:spPr>
          <a:xfrm>
            <a:off x="4660103"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4236" y="0"/>
                </a:lnTo>
                <a:cubicBezTo>
                  <a:pt x="13966" y="0"/>
                  <a:pt x="13745" y="220"/>
                  <a:pt x="13745" y="491"/>
                </a:cubicBezTo>
                <a:cubicBezTo>
                  <a:pt x="13745" y="762"/>
                  <a:pt x="13966" y="982"/>
                  <a:pt x="14236" y="982"/>
                </a:cubicBezTo>
                <a:lnTo>
                  <a:pt x="19924" y="982"/>
                </a:lnTo>
                <a:lnTo>
                  <a:pt x="11926" y="8980"/>
                </a:lnTo>
                <a:cubicBezTo>
                  <a:pt x="11837" y="9069"/>
                  <a:pt x="11782" y="9192"/>
                  <a:pt x="11782" y="9327"/>
                </a:cubicBezTo>
                <a:cubicBezTo>
                  <a:pt x="11782" y="9599"/>
                  <a:pt x="12002" y="9818"/>
                  <a:pt x="12273" y="9818"/>
                </a:cubicBezTo>
                <a:cubicBezTo>
                  <a:pt x="12408" y="9818"/>
                  <a:pt x="12531" y="9764"/>
                  <a:pt x="12620" y="9674"/>
                </a:cubicBezTo>
                <a:lnTo>
                  <a:pt x="20618" y="1676"/>
                </a:lnTo>
                <a:lnTo>
                  <a:pt x="20618" y="7364"/>
                </a:lnTo>
                <a:cubicBezTo>
                  <a:pt x="20618" y="7635"/>
                  <a:pt x="20838" y="7855"/>
                  <a:pt x="21109" y="7855"/>
                </a:cubicBezTo>
                <a:cubicBezTo>
                  <a:pt x="21380" y="7855"/>
                  <a:pt x="21600" y="7635"/>
                  <a:pt x="21600" y="7364"/>
                </a:cubicBezTo>
                <a:lnTo>
                  <a:pt x="21600" y="491"/>
                </a:lnTo>
                <a:cubicBezTo>
                  <a:pt x="21600" y="220"/>
                  <a:pt x="21380" y="0"/>
                  <a:pt x="21109" y="0"/>
                </a:cubicBezTo>
                <a:moveTo>
                  <a:pt x="9327" y="11782"/>
                </a:moveTo>
                <a:cubicBezTo>
                  <a:pt x="9192" y="11782"/>
                  <a:pt x="9069" y="11837"/>
                  <a:pt x="8980" y="11926"/>
                </a:cubicBezTo>
                <a:lnTo>
                  <a:pt x="982" y="19924"/>
                </a:lnTo>
                <a:lnTo>
                  <a:pt x="982" y="14236"/>
                </a:lnTo>
                <a:cubicBezTo>
                  <a:pt x="982" y="13966"/>
                  <a:pt x="762" y="13745"/>
                  <a:pt x="491" y="13745"/>
                </a:cubicBezTo>
                <a:cubicBezTo>
                  <a:pt x="220" y="13745"/>
                  <a:pt x="0" y="13966"/>
                  <a:pt x="0" y="14236"/>
                </a:cubicBezTo>
                <a:lnTo>
                  <a:pt x="0" y="21109"/>
                </a:lnTo>
                <a:cubicBezTo>
                  <a:pt x="0" y="21380"/>
                  <a:pt x="220" y="21600"/>
                  <a:pt x="491" y="21600"/>
                </a:cubicBezTo>
                <a:lnTo>
                  <a:pt x="7364" y="21600"/>
                </a:lnTo>
                <a:cubicBezTo>
                  <a:pt x="7634" y="21600"/>
                  <a:pt x="7855" y="21380"/>
                  <a:pt x="7855" y="21109"/>
                </a:cubicBezTo>
                <a:cubicBezTo>
                  <a:pt x="7855" y="20838"/>
                  <a:pt x="7634" y="20618"/>
                  <a:pt x="7364" y="20618"/>
                </a:cubicBezTo>
                <a:lnTo>
                  <a:pt x="1676" y="20618"/>
                </a:lnTo>
                <a:lnTo>
                  <a:pt x="9674" y="12620"/>
                </a:lnTo>
                <a:cubicBezTo>
                  <a:pt x="9763" y="12531"/>
                  <a:pt x="9818" y="12408"/>
                  <a:pt x="9818" y="12273"/>
                </a:cubicBez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4" name="Shape 2924"/>
          <p:cNvSpPr/>
          <p:nvPr/>
        </p:nvSpPr>
        <p:spPr>
          <a:xfrm>
            <a:off x="5060049"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491"/>
                </a:moveTo>
                <a:cubicBezTo>
                  <a:pt x="21600" y="220"/>
                  <a:pt x="21380" y="0"/>
                  <a:pt x="21109" y="0"/>
                </a:cubicBezTo>
                <a:cubicBezTo>
                  <a:pt x="20974" y="0"/>
                  <a:pt x="20851" y="55"/>
                  <a:pt x="20762" y="144"/>
                </a:cubicBezTo>
                <a:lnTo>
                  <a:pt x="12764" y="8142"/>
                </a:lnTo>
                <a:lnTo>
                  <a:pt x="12764" y="2455"/>
                </a:lnTo>
                <a:cubicBezTo>
                  <a:pt x="12764" y="2184"/>
                  <a:pt x="12544" y="1964"/>
                  <a:pt x="12273" y="1964"/>
                </a:cubicBezTo>
                <a:cubicBezTo>
                  <a:pt x="12002" y="1964"/>
                  <a:pt x="11782" y="2184"/>
                  <a:pt x="11782" y="2455"/>
                </a:cubicBezTo>
                <a:lnTo>
                  <a:pt x="11782" y="9327"/>
                </a:lnTo>
                <a:cubicBezTo>
                  <a:pt x="11782" y="9599"/>
                  <a:pt x="12002" y="9818"/>
                  <a:pt x="12273" y="9818"/>
                </a:cubicBezTo>
                <a:lnTo>
                  <a:pt x="19145" y="9818"/>
                </a:lnTo>
                <a:cubicBezTo>
                  <a:pt x="19416" y="9818"/>
                  <a:pt x="19636" y="9599"/>
                  <a:pt x="19636" y="9327"/>
                </a:cubicBezTo>
                <a:cubicBezTo>
                  <a:pt x="19636" y="9056"/>
                  <a:pt x="19416" y="8836"/>
                  <a:pt x="19145" y="8836"/>
                </a:cubicBezTo>
                <a:lnTo>
                  <a:pt x="13458" y="8836"/>
                </a:lnTo>
                <a:lnTo>
                  <a:pt x="21456" y="838"/>
                </a:lnTo>
                <a:cubicBezTo>
                  <a:pt x="21545" y="750"/>
                  <a:pt x="21600" y="627"/>
                  <a:pt x="21600" y="491"/>
                </a:cubicBezTo>
                <a:moveTo>
                  <a:pt x="9327" y="11782"/>
                </a:moveTo>
                <a:lnTo>
                  <a:pt x="2455" y="11782"/>
                </a:lnTo>
                <a:cubicBezTo>
                  <a:pt x="2184" y="11782"/>
                  <a:pt x="1964" y="12002"/>
                  <a:pt x="1964" y="12273"/>
                </a:cubicBezTo>
                <a:cubicBezTo>
                  <a:pt x="1964" y="12544"/>
                  <a:pt x="2184" y="12764"/>
                  <a:pt x="2455" y="12764"/>
                </a:cubicBezTo>
                <a:lnTo>
                  <a:pt x="8142" y="12764"/>
                </a:lnTo>
                <a:lnTo>
                  <a:pt x="144" y="20762"/>
                </a:lnTo>
                <a:cubicBezTo>
                  <a:pt x="55" y="20851"/>
                  <a:pt x="0" y="20973"/>
                  <a:pt x="0" y="21109"/>
                </a:cubicBezTo>
                <a:cubicBezTo>
                  <a:pt x="0" y="21380"/>
                  <a:pt x="220" y="21600"/>
                  <a:pt x="491" y="21600"/>
                </a:cubicBezTo>
                <a:cubicBezTo>
                  <a:pt x="626" y="21600"/>
                  <a:pt x="749" y="21545"/>
                  <a:pt x="838" y="21456"/>
                </a:cubicBezTo>
                <a:lnTo>
                  <a:pt x="8836" y="13458"/>
                </a:lnTo>
                <a:lnTo>
                  <a:pt x="8836" y="19145"/>
                </a:lnTo>
                <a:cubicBezTo>
                  <a:pt x="8836" y="19417"/>
                  <a:pt x="9056" y="19636"/>
                  <a:pt x="9327" y="19636"/>
                </a:cubicBezTo>
                <a:cubicBezTo>
                  <a:pt x="9598" y="19636"/>
                  <a:pt x="9818" y="19417"/>
                  <a:pt x="9818" y="19145"/>
                </a:cubicBezTo>
                <a:lnTo>
                  <a:pt x="9818" y="12273"/>
                </a:ln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5" name="Shape 2925"/>
          <p:cNvSpPr/>
          <p:nvPr/>
        </p:nvSpPr>
        <p:spPr>
          <a:xfrm>
            <a:off x="545999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6200" y="0"/>
                </a:lnTo>
                <a:cubicBezTo>
                  <a:pt x="15929" y="0"/>
                  <a:pt x="15709" y="220"/>
                  <a:pt x="15709" y="491"/>
                </a:cubicBezTo>
                <a:cubicBezTo>
                  <a:pt x="15709" y="762"/>
                  <a:pt x="15929" y="982"/>
                  <a:pt x="16200" y="982"/>
                </a:cubicBezTo>
                <a:lnTo>
                  <a:pt x="19924" y="982"/>
                </a:lnTo>
                <a:lnTo>
                  <a:pt x="6035" y="14871"/>
                </a:lnTo>
                <a:cubicBezTo>
                  <a:pt x="5946" y="14960"/>
                  <a:pt x="5891" y="15083"/>
                  <a:pt x="5891" y="15218"/>
                </a:cubicBezTo>
                <a:cubicBezTo>
                  <a:pt x="5891" y="15489"/>
                  <a:pt x="6111" y="15709"/>
                  <a:pt x="6382" y="15709"/>
                </a:cubicBezTo>
                <a:cubicBezTo>
                  <a:pt x="6517" y="15709"/>
                  <a:pt x="6640" y="15654"/>
                  <a:pt x="6729" y="15565"/>
                </a:cubicBezTo>
                <a:lnTo>
                  <a:pt x="20618" y="1676"/>
                </a:lnTo>
                <a:lnTo>
                  <a:pt x="20618" y="5400"/>
                </a:lnTo>
                <a:cubicBezTo>
                  <a:pt x="20618" y="5671"/>
                  <a:pt x="20838" y="5890"/>
                  <a:pt x="21109" y="5890"/>
                </a:cubicBezTo>
                <a:cubicBezTo>
                  <a:pt x="21380" y="5890"/>
                  <a:pt x="21600" y="5671"/>
                  <a:pt x="21600" y="5400"/>
                </a:cubicBezTo>
                <a:lnTo>
                  <a:pt x="21600" y="491"/>
                </a:lnTo>
                <a:cubicBezTo>
                  <a:pt x="21600" y="220"/>
                  <a:pt x="21380" y="0"/>
                  <a:pt x="21109" y="0"/>
                </a:cubicBezTo>
                <a:moveTo>
                  <a:pt x="17182" y="6873"/>
                </a:moveTo>
                <a:cubicBezTo>
                  <a:pt x="16911" y="6873"/>
                  <a:pt x="16691" y="7092"/>
                  <a:pt x="16691" y="7364"/>
                </a:cubicBezTo>
                <a:lnTo>
                  <a:pt x="16691" y="20618"/>
                </a:lnTo>
                <a:lnTo>
                  <a:pt x="982" y="20618"/>
                </a:lnTo>
                <a:lnTo>
                  <a:pt x="982" y="4909"/>
                </a:lnTo>
                <a:lnTo>
                  <a:pt x="14236" y="4909"/>
                </a:lnTo>
                <a:cubicBezTo>
                  <a:pt x="14507" y="4909"/>
                  <a:pt x="14727" y="4689"/>
                  <a:pt x="14727" y="4418"/>
                </a:cubicBezTo>
                <a:cubicBezTo>
                  <a:pt x="14727" y="4147"/>
                  <a:pt x="14507" y="3927"/>
                  <a:pt x="14236" y="3927"/>
                </a:cubicBezTo>
                <a:lnTo>
                  <a:pt x="491" y="3927"/>
                </a:lnTo>
                <a:cubicBezTo>
                  <a:pt x="220" y="3927"/>
                  <a:pt x="0" y="4147"/>
                  <a:pt x="0" y="4418"/>
                </a:cubicBezTo>
                <a:lnTo>
                  <a:pt x="0" y="21109"/>
                </a:lnTo>
                <a:cubicBezTo>
                  <a:pt x="0" y="21380"/>
                  <a:pt x="220" y="21600"/>
                  <a:pt x="491" y="21600"/>
                </a:cubicBezTo>
                <a:lnTo>
                  <a:pt x="17182" y="21600"/>
                </a:lnTo>
                <a:cubicBezTo>
                  <a:pt x="17453" y="21600"/>
                  <a:pt x="17673" y="21380"/>
                  <a:pt x="17673" y="21109"/>
                </a:cubicBezTo>
                <a:lnTo>
                  <a:pt x="17673" y="7364"/>
                </a:lnTo>
                <a:cubicBezTo>
                  <a:pt x="17673" y="7092"/>
                  <a:pt x="17453" y="6873"/>
                  <a:pt x="17182"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6" name="Shape 2926"/>
          <p:cNvSpPr/>
          <p:nvPr/>
        </p:nvSpPr>
        <p:spPr>
          <a:xfrm>
            <a:off x="585994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7" name="Shape 2927"/>
          <p:cNvSpPr/>
          <p:nvPr/>
        </p:nvSpPr>
        <p:spPr>
          <a:xfrm>
            <a:off x="625988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8" name="Shape 2928"/>
          <p:cNvSpPr/>
          <p:nvPr/>
        </p:nvSpPr>
        <p:spPr>
          <a:xfrm>
            <a:off x="6659831"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873" y="7855"/>
                </a:moveTo>
                <a:lnTo>
                  <a:pt x="6382" y="7855"/>
                </a:lnTo>
                <a:cubicBezTo>
                  <a:pt x="6110" y="7855"/>
                  <a:pt x="5891" y="8075"/>
                  <a:pt x="5891" y="8345"/>
                </a:cubicBezTo>
                <a:lnTo>
                  <a:pt x="5891" y="10176"/>
                </a:lnTo>
                <a:lnTo>
                  <a:pt x="1216" y="5891"/>
                </a:lnTo>
                <a:lnTo>
                  <a:pt x="5891" y="1606"/>
                </a:lnTo>
                <a:lnTo>
                  <a:pt x="5891" y="3436"/>
                </a:lnTo>
                <a:cubicBezTo>
                  <a:pt x="5891" y="3708"/>
                  <a:pt x="6110" y="3927"/>
                  <a:pt x="6382" y="3927"/>
                </a:cubicBezTo>
                <a:lnTo>
                  <a:pt x="6873" y="3927"/>
                </a:lnTo>
                <a:cubicBezTo>
                  <a:pt x="9012" y="4064"/>
                  <a:pt x="16791" y="5193"/>
                  <a:pt x="19651" y="14152"/>
                </a:cubicBezTo>
                <a:cubicBezTo>
                  <a:pt x="16010" y="8756"/>
                  <a:pt x="8876" y="7965"/>
                  <a:pt x="6873" y="7855"/>
                </a:cubicBezTo>
                <a:moveTo>
                  <a:pt x="6873" y="2942"/>
                </a:moveTo>
                <a:lnTo>
                  <a:pt x="6873" y="491"/>
                </a:lnTo>
                <a:cubicBezTo>
                  <a:pt x="6873" y="220"/>
                  <a:pt x="6653" y="0"/>
                  <a:pt x="6382" y="0"/>
                </a:cubicBezTo>
                <a:cubicBezTo>
                  <a:pt x="6246" y="0"/>
                  <a:pt x="6123" y="55"/>
                  <a:pt x="6035" y="144"/>
                </a:cubicBezTo>
                <a:lnTo>
                  <a:pt x="144" y="5544"/>
                </a:lnTo>
                <a:cubicBezTo>
                  <a:pt x="55" y="5633"/>
                  <a:pt x="0" y="5756"/>
                  <a:pt x="0" y="5891"/>
                </a:cubicBezTo>
                <a:cubicBezTo>
                  <a:pt x="0" y="6027"/>
                  <a:pt x="55" y="6150"/>
                  <a:pt x="144" y="6238"/>
                </a:cubicBezTo>
                <a:lnTo>
                  <a:pt x="6035" y="11638"/>
                </a:lnTo>
                <a:cubicBezTo>
                  <a:pt x="6123" y="11727"/>
                  <a:pt x="6246" y="11782"/>
                  <a:pt x="6382" y="11782"/>
                </a:cubicBezTo>
                <a:cubicBezTo>
                  <a:pt x="6653" y="11782"/>
                  <a:pt x="6873" y="11562"/>
                  <a:pt x="6873" y="11291"/>
                </a:cubicBezTo>
                <a:lnTo>
                  <a:pt x="6873" y="8884"/>
                </a:lnTo>
                <a:cubicBezTo>
                  <a:pt x="7916" y="8943"/>
                  <a:pt x="10507" y="9206"/>
                  <a:pt x="13350" y="10404"/>
                </a:cubicBezTo>
                <a:cubicBezTo>
                  <a:pt x="18183" y="12440"/>
                  <a:pt x="20618" y="16042"/>
                  <a:pt x="20618" y="21109"/>
                </a:cubicBezTo>
                <a:cubicBezTo>
                  <a:pt x="20618" y="21380"/>
                  <a:pt x="20838" y="21600"/>
                  <a:pt x="21109" y="21600"/>
                </a:cubicBezTo>
                <a:cubicBezTo>
                  <a:pt x="21380" y="21600"/>
                  <a:pt x="21600" y="21380"/>
                  <a:pt x="21600" y="21109"/>
                </a:cubicBezTo>
                <a:cubicBezTo>
                  <a:pt x="21600" y="4990"/>
                  <a:pt x="9470" y="3150"/>
                  <a:pt x="6873" y="294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9" name="Shape 2929"/>
          <p:cNvSpPr/>
          <p:nvPr/>
        </p:nvSpPr>
        <p:spPr>
          <a:xfrm>
            <a:off x="7059778"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0" name="Shape 2930"/>
          <p:cNvSpPr/>
          <p:nvPr/>
        </p:nvSpPr>
        <p:spPr>
          <a:xfrm>
            <a:off x="7459723" y="1512862"/>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1" name="Shape 2931"/>
          <p:cNvSpPr/>
          <p:nvPr/>
        </p:nvSpPr>
        <p:spPr>
          <a:xfrm>
            <a:off x="7859669" y="1503339"/>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9924" y="4050"/>
                </a:moveTo>
                <a:lnTo>
                  <a:pt x="18798" y="5598"/>
                </a:lnTo>
                <a:cubicBezTo>
                  <a:pt x="18709" y="5720"/>
                  <a:pt x="18655" y="5889"/>
                  <a:pt x="18655" y="6075"/>
                </a:cubicBezTo>
                <a:cubicBezTo>
                  <a:pt x="18655" y="6448"/>
                  <a:pt x="18874" y="6750"/>
                  <a:pt x="19145" y="6750"/>
                </a:cubicBezTo>
                <a:cubicBezTo>
                  <a:pt x="19281" y="6750"/>
                  <a:pt x="19404" y="6674"/>
                  <a:pt x="19493" y="6552"/>
                </a:cubicBezTo>
                <a:lnTo>
                  <a:pt x="21456" y="3853"/>
                </a:lnTo>
                <a:cubicBezTo>
                  <a:pt x="21545" y="3731"/>
                  <a:pt x="21600" y="3562"/>
                  <a:pt x="21600" y="3375"/>
                </a:cubicBezTo>
                <a:cubicBezTo>
                  <a:pt x="21600" y="3189"/>
                  <a:pt x="21545" y="3020"/>
                  <a:pt x="21456" y="2898"/>
                </a:cubicBezTo>
                <a:lnTo>
                  <a:pt x="19493" y="198"/>
                </a:lnTo>
                <a:cubicBezTo>
                  <a:pt x="19403" y="76"/>
                  <a:pt x="19281" y="0"/>
                  <a:pt x="19145" y="0"/>
                </a:cubicBezTo>
                <a:cubicBezTo>
                  <a:pt x="18874" y="0"/>
                  <a:pt x="18655" y="303"/>
                  <a:pt x="18655" y="675"/>
                </a:cubicBezTo>
                <a:cubicBezTo>
                  <a:pt x="18655" y="862"/>
                  <a:pt x="18709" y="1031"/>
                  <a:pt x="18799" y="1153"/>
                </a:cubicBezTo>
                <a:lnTo>
                  <a:pt x="19924" y="2700"/>
                </a:lnTo>
                <a:lnTo>
                  <a:pt x="15218" y="2700"/>
                </a:lnTo>
                <a:cubicBezTo>
                  <a:pt x="15065" y="2700"/>
                  <a:pt x="14933" y="2803"/>
                  <a:pt x="14843" y="2954"/>
                </a:cubicBezTo>
                <a:lnTo>
                  <a:pt x="14838" y="2948"/>
                </a:lnTo>
                <a:lnTo>
                  <a:pt x="6149" y="17550"/>
                </a:lnTo>
                <a:lnTo>
                  <a:pt x="491" y="17550"/>
                </a:lnTo>
                <a:cubicBezTo>
                  <a:pt x="220" y="17550"/>
                  <a:pt x="0" y="17853"/>
                  <a:pt x="0" y="18225"/>
                </a:cubicBezTo>
                <a:cubicBezTo>
                  <a:pt x="0" y="18598"/>
                  <a:pt x="220" y="18900"/>
                  <a:pt x="491" y="18900"/>
                </a:cubicBezTo>
                <a:lnTo>
                  <a:pt x="6382" y="18900"/>
                </a:lnTo>
                <a:cubicBezTo>
                  <a:pt x="6535" y="18900"/>
                  <a:pt x="6667" y="18798"/>
                  <a:pt x="6757" y="18647"/>
                </a:cubicBezTo>
                <a:lnTo>
                  <a:pt x="6762" y="18652"/>
                </a:lnTo>
                <a:lnTo>
                  <a:pt x="15451" y="4050"/>
                </a:lnTo>
                <a:cubicBezTo>
                  <a:pt x="15451" y="4050"/>
                  <a:pt x="19924" y="4050"/>
                  <a:pt x="19924" y="4050"/>
                </a:cubicBezTo>
                <a:close/>
                <a:moveTo>
                  <a:pt x="19493" y="15048"/>
                </a:moveTo>
                <a:cubicBezTo>
                  <a:pt x="19403" y="14926"/>
                  <a:pt x="19281" y="14850"/>
                  <a:pt x="19145" y="14850"/>
                </a:cubicBezTo>
                <a:cubicBezTo>
                  <a:pt x="18874" y="14850"/>
                  <a:pt x="18655" y="15153"/>
                  <a:pt x="18655" y="15525"/>
                </a:cubicBezTo>
                <a:cubicBezTo>
                  <a:pt x="18655" y="15712"/>
                  <a:pt x="18709" y="15880"/>
                  <a:pt x="18798" y="16002"/>
                </a:cubicBezTo>
                <a:lnTo>
                  <a:pt x="19924" y="17550"/>
                </a:lnTo>
                <a:lnTo>
                  <a:pt x="15451" y="17550"/>
                </a:lnTo>
                <a:lnTo>
                  <a:pt x="12386" y="12399"/>
                </a:lnTo>
                <a:lnTo>
                  <a:pt x="11751" y="13465"/>
                </a:lnTo>
                <a:lnTo>
                  <a:pt x="14838" y="18652"/>
                </a:lnTo>
                <a:lnTo>
                  <a:pt x="14843" y="18647"/>
                </a:lnTo>
                <a:cubicBezTo>
                  <a:pt x="14933" y="18798"/>
                  <a:pt x="15065" y="18900"/>
                  <a:pt x="15218" y="18900"/>
                </a:cubicBezTo>
                <a:lnTo>
                  <a:pt x="19924" y="18900"/>
                </a:lnTo>
                <a:lnTo>
                  <a:pt x="18798" y="20448"/>
                </a:lnTo>
                <a:cubicBezTo>
                  <a:pt x="18709" y="20570"/>
                  <a:pt x="18655" y="20739"/>
                  <a:pt x="18655" y="20925"/>
                </a:cubicBezTo>
                <a:cubicBezTo>
                  <a:pt x="18655" y="21298"/>
                  <a:pt x="18874" y="21600"/>
                  <a:pt x="19145" y="21600"/>
                </a:cubicBezTo>
                <a:cubicBezTo>
                  <a:pt x="19281" y="21600"/>
                  <a:pt x="19403" y="21525"/>
                  <a:pt x="19493" y="21402"/>
                </a:cubicBezTo>
                <a:lnTo>
                  <a:pt x="21456" y="18702"/>
                </a:lnTo>
                <a:cubicBezTo>
                  <a:pt x="21545" y="18580"/>
                  <a:pt x="21600" y="18412"/>
                  <a:pt x="21600" y="18225"/>
                </a:cubicBezTo>
                <a:cubicBezTo>
                  <a:pt x="21600" y="18039"/>
                  <a:pt x="21545" y="17870"/>
                  <a:pt x="21456" y="17748"/>
                </a:cubicBezTo>
                <a:cubicBezTo>
                  <a:pt x="21456" y="17748"/>
                  <a:pt x="19493" y="15048"/>
                  <a:pt x="19493" y="15048"/>
                </a:cubicBezTo>
                <a:close/>
                <a:moveTo>
                  <a:pt x="491" y="4050"/>
                </a:moveTo>
                <a:lnTo>
                  <a:pt x="6148" y="4050"/>
                </a:lnTo>
                <a:lnTo>
                  <a:pt x="9214" y="9201"/>
                </a:lnTo>
                <a:lnTo>
                  <a:pt x="9849" y="8136"/>
                </a:lnTo>
                <a:lnTo>
                  <a:pt x="6762" y="2948"/>
                </a:lnTo>
                <a:lnTo>
                  <a:pt x="6756" y="2954"/>
                </a:lnTo>
                <a:cubicBezTo>
                  <a:pt x="6667" y="2803"/>
                  <a:pt x="6535" y="2700"/>
                  <a:pt x="6382" y="2700"/>
                </a:cubicBezTo>
                <a:lnTo>
                  <a:pt x="491" y="2700"/>
                </a:lnTo>
                <a:cubicBezTo>
                  <a:pt x="220" y="2700"/>
                  <a:pt x="0" y="3003"/>
                  <a:pt x="0" y="3375"/>
                </a:cubicBezTo>
                <a:cubicBezTo>
                  <a:pt x="0" y="3748"/>
                  <a:pt x="220" y="4050"/>
                  <a:pt x="491"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2" name="Shape 2932"/>
          <p:cNvSpPr/>
          <p:nvPr/>
        </p:nvSpPr>
        <p:spPr>
          <a:xfrm>
            <a:off x="8259615" y="149381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12000"/>
                </a:moveTo>
                <a:cubicBezTo>
                  <a:pt x="1421" y="12000"/>
                  <a:pt x="982" y="11462"/>
                  <a:pt x="982" y="10800"/>
                </a:cubicBezTo>
                <a:cubicBezTo>
                  <a:pt x="982" y="10138"/>
                  <a:pt x="1421" y="9600"/>
                  <a:pt x="1964" y="9600"/>
                </a:cubicBezTo>
                <a:cubicBezTo>
                  <a:pt x="2505" y="9600"/>
                  <a:pt x="2945" y="10138"/>
                  <a:pt x="2945" y="10800"/>
                </a:cubicBezTo>
                <a:cubicBezTo>
                  <a:pt x="2945" y="11462"/>
                  <a:pt x="2505" y="12000"/>
                  <a:pt x="1964" y="12000"/>
                </a:cubicBezTo>
                <a:moveTo>
                  <a:pt x="21456" y="10376"/>
                </a:moveTo>
                <a:lnTo>
                  <a:pt x="18511" y="6776"/>
                </a:lnTo>
                <a:cubicBezTo>
                  <a:pt x="18422" y="6667"/>
                  <a:pt x="18299" y="6600"/>
                  <a:pt x="18164" y="6600"/>
                </a:cubicBezTo>
                <a:cubicBezTo>
                  <a:pt x="17892" y="6600"/>
                  <a:pt x="17673" y="6869"/>
                  <a:pt x="17673" y="7200"/>
                </a:cubicBezTo>
                <a:cubicBezTo>
                  <a:pt x="17673" y="7366"/>
                  <a:pt x="17728" y="7516"/>
                  <a:pt x="17817" y="7624"/>
                </a:cubicBezTo>
                <a:lnTo>
                  <a:pt x="19924" y="10200"/>
                </a:lnTo>
                <a:lnTo>
                  <a:pt x="8058" y="10200"/>
                </a:lnTo>
                <a:lnTo>
                  <a:pt x="14727" y="2048"/>
                </a:lnTo>
                <a:lnTo>
                  <a:pt x="14727" y="5400"/>
                </a:lnTo>
                <a:cubicBezTo>
                  <a:pt x="14727" y="5732"/>
                  <a:pt x="14947" y="6000"/>
                  <a:pt x="15218" y="6000"/>
                </a:cubicBezTo>
                <a:cubicBezTo>
                  <a:pt x="15489" y="6000"/>
                  <a:pt x="15709" y="5732"/>
                  <a:pt x="15709" y="5400"/>
                </a:cubicBezTo>
                <a:lnTo>
                  <a:pt x="15709" y="600"/>
                </a:lnTo>
                <a:cubicBezTo>
                  <a:pt x="15709" y="269"/>
                  <a:pt x="15489" y="0"/>
                  <a:pt x="15218" y="0"/>
                </a:cubicBezTo>
                <a:lnTo>
                  <a:pt x="11291" y="0"/>
                </a:lnTo>
                <a:cubicBezTo>
                  <a:pt x="11020" y="0"/>
                  <a:pt x="10800" y="269"/>
                  <a:pt x="10800" y="600"/>
                </a:cubicBezTo>
                <a:cubicBezTo>
                  <a:pt x="10800" y="932"/>
                  <a:pt x="11020" y="1200"/>
                  <a:pt x="11291" y="1200"/>
                </a:cubicBezTo>
                <a:lnTo>
                  <a:pt x="14033" y="1200"/>
                </a:lnTo>
                <a:lnTo>
                  <a:pt x="6669" y="10200"/>
                </a:lnTo>
                <a:lnTo>
                  <a:pt x="3858" y="10200"/>
                </a:lnTo>
                <a:cubicBezTo>
                  <a:pt x="3639" y="9167"/>
                  <a:pt x="2877" y="8400"/>
                  <a:pt x="1964" y="8400"/>
                </a:cubicBezTo>
                <a:cubicBezTo>
                  <a:pt x="879" y="8400"/>
                  <a:pt x="0" y="9475"/>
                  <a:pt x="0" y="10800"/>
                </a:cubicBezTo>
                <a:cubicBezTo>
                  <a:pt x="0" y="12125"/>
                  <a:pt x="879" y="13200"/>
                  <a:pt x="1964" y="13200"/>
                </a:cubicBezTo>
                <a:cubicBezTo>
                  <a:pt x="2877" y="13200"/>
                  <a:pt x="3639" y="12434"/>
                  <a:pt x="3858" y="11400"/>
                </a:cubicBezTo>
                <a:lnTo>
                  <a:pt x="6669" y="11400"/>
                </a:lnTo>
                <a:lnTo>
                  <a:pt x="14033" y="20400"/>
                </a:lnTo>
                <a:lnTo>
                  <a:pt x="11291" y="20400"/>
                </a:lnTo>
                <a:cubicBezTo>
                  <a:pt x="11020" y="20400"/>
                  <a:pt x="10800" y="20669"/>
                  <a:pt x="10800" y="21000"/>
                </a:cubicBezTo>
                <a:cubicBezTo>
                  <a:pt x="10800" y="21332"/>
                  <a:pt x="11020" y="21600"/>
                  <a:pt x="11291" y="21600"/>
                </a:cubicBezTo>
                <a:lnTo>
                  <a:pt x="15218" y="21600"/>
                </a:lnTo>
                <a:cubicBezTo>
                  <a:pt x="15489" y="21600"/>
                  <a:pt x="15709" y="21332"/>
                  <a:pt x="15709" y="21000"/>
                </a:cubicBezTo>
                <a:lnTo>
                  <a:pt x="15709" y="16200"/>
                </a:lnTo>
                <a:cubicBezTo>
                  <a:pt x="15709" y="15869"/>
                  <a:pt x="15489" y="15600"/>
                  <a:pt x="15218" y="15600"/>
                </a:cubicBezTo>
                <a:cubicBezTo>
                  <a:pt x="14947" y="15600"/>
                  <a:pt x="14727" y="15869"/>
                  <a:pt x="14727" y="16200"/>
                </a:cubicBezTo>
                <a:lnTo>
                  <a:pt x="14727" y="19552"/>
                </a:lnTo>
                <a:lnTo>
                  <a:pt x="8058" y="11400"/>
                </a:lnTo>
                <a:lnTo>
                  <a:pt x="19924" y="11400"/>
                </a:lnTo>
                <a:lnTo>
                  <a:pt x="17817" y="13976"/>
                </a:lnTo>
                <a:cubicBezTo>
                  <a:pt x="17728" y="14085"/>
                  <a:pt x="17673" y="14235"/>
                  <a:pt x="17673" y="14400"/>
                </a:cubicBezTo>
                <a:cubicBezTo>
                  <a:pt x="17673" y="14732"/>
                  <a:pt x="17892" y="15000"/>
                  <a:pt x="18164" y="15000"/>
                </a:cubicBezTo>
                <a:cubicBezTo>
                  <a:pt x="18299" y="15000"/>
                  <a:pt x="18422" y="14933"/>
                  <a:pt x="18511" y="14824"/>
                </a:cubicBezTo>
                <a:lnTo>
                  <a:pt x="21456" y="11224"/>
                </a:lnTo>
                <a:cubicBezTo>
                  <a:pt x="21545" y="11116"/>
                  <a:pt x="21600" y="10966"/>
                  <a:pt x="21600" y="10800"/>
                </a:cubicBezTo>
                <a:cubicBezTo>
                  <a:pt x="21600" y="10635"/>
                  <a:pt x="21545" y="10485"/>
                  <a:pt x="21456" y="10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4" name="Shape 2934"/>
          <p:cNvSpPr/>
          <p:nvPr/>
        </p:nvSpPr>
        <p:spPr>
          <a:xfrm>
            <a:off x="689212" y="2471921"/>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5" name="Shape 2935"/>
          <p:cNvSpPr/>
          <p:nvPr/>
        </p:nvSpPr>
        <p:spPr>
          <a:xfrm>
            <a:off x="1060589" y="2471921"/>
            <a:ext cx="209345" cy="209375"/>
          </a:xfrm>
          <a:custGeom>
            <a:avLst/>
            <a:gdLst/>
            <a:ahLst/>
            <a:cxnLst>
              <a:cxn ang="0">
                <a:pos x="wd2" y="hd2"/>
              </a:cxn>
              <a:cxn ang="5400000">
                <a:pos x="wd2" y="hd2"/>
              </a:cxn>
              <a:cxn ang="10800000">
                <a:pos x="wd2" y="hd2"/>
              </a:cxn>
              <a:cxn ang="16200000">
                <a:pos x="wd2" y="hd2"/>
              </a:cxn>
            </a:cxnLst>
            <a:rect l="0" t="0" r="r" b="b"/>
            <a:pathLst>
              <a:path w="21531" h="21600" extrusionOk="0">
                <a:moveTo>
                  <a:pt x="6365" y="15409"/>
                </a:moveTo>
                <a:cubicBezTo>
                  <a:pt x="5782" y="14888"/>
                  <a:pt x="4858" y="14006"/>
                  <a:pt x="3935" y="12895"/>
                </a:cubicBezTo>
                <a:cubicBezTo>
                  <a:pt x="2587" y="11273"/>
                  <a:pt x="979" y="8835"/>
                  <a:pt x="979" y="6430"/>
                </a:cubicBezTo>
                <a:cubicBezTo>
                  <a:pt x="979" y="3427"/>
                  <a:pt x="3396" y="982"/>
                  <a:pt x="6366" y="982"/>
                </a:cubicBezTo>
                <a:cubicBezTo>
                  <a:pt x="9336" y="982"/>
                  <a:pt x="11752" y="3427"/>
                  <a:pt x="11752" y="6430"/>
                </a:cubicBezTo>
                <a:cubicBezTo>
                  <a:pt x="11752" y="10208"/>
                  <a:pt x="7888" y="14044"/>
                  <a:pt x="6365" y="15409"/>
                </a:cubicBezTo>
                <a:moveTo>
                  <a:pt x="6366" y="0"/>
                </a:moveTo>
                <a:cubicBezTo>
                  <a:pt x="2850" y="0"/>
                  <a:pt x="0" y="2879"/>
                  <a:pt x="0" y="6430"/>
                </a:cubicBezTo>
                <a:cubicBezTo>
                  <a:pt x="0" y="11655"/>
                  <a:pt x="6366" y="16701"/>
                  <a:pt x="6366" y="16701"/>
                </a:cubicBezTo>
                <a:cubicBezTo>
                  <a:pt x="6366" y="16701"/>
                  <a:pt x="12732" y="11655"/>
                  <a:pt x="12732" y="6430"/>
                </a:cubicBezTo>
                <a:cubicBezTo>
                  <a:pt x="12732" y="2879"/>
                  <a:pt x="9882" y="0"/>
                  <a:pt x="6366" y="0"/>
                </a:cubicBezTo>
                <a:moveTo>
                  <a:pt x="17357" y="19604"/>
                </a:moveTo>
                <a:cubicBezTo>
                  <a:pt x="17127" y="19764"/>
                  <a:pt x="16856" y="19909"/>
                  <a:pt x="16554" y="20033"/>
                </a:cubicBezTo>
                <a:cubicBezTo>
                  <a:pt x="16304" y="20137"/>
                  <a:pt x="16185" y="20424"/>
                  <a:pt x="16288" y="20675"/>
                </a:cubicBezTo>
                <a:cubicBezTo>
                  <a:pt x="16365" y="20865"/>
                  <a:pt x="16548" y="20979"/>
                  <a:pt x="16740" y="20979"/>
                </a:cubicBezTo>
                <a:cubicBezTo>
                  <a:pt x="16802" y="20979"/>
                  <a:pt x="16866" y="20967"/>
                  <a:pt x="16926" y="20942"/>
                </a:cubicBezTo>
                <a:cubicBezTo>
                  <a:pt x="17294" y="20790"/>
                  <a:pt x="17627" y="20611"/>
                  <a:pt x="17915" y="20411"/>
                </a:cubicBezTo>
                <a:cubicBezTo>
                  <a:pt x="18138" y="20256"/>
                  <a:pt x="18193" y="19950"/>
                  <a:pt x="18039" y="19727"/>
                </a:cubicBezTo>
                <a:cubicBezTo>
                  <a:pt x="17885" y="19505"/>
                  <a:pt x="17579" y="19449"/>
                  <a:pt x="17357" y="19604"/>
                </a:cubicBezTo>
                <a:moveTo>
                  <a:pt x="16249" y="13042"/>
                </a:moveTo>
                <a:cubicBezTo>
                  <a:pt x="16109" y="12790"/>
                  <a:pt x="16024" y="12529"/>
                  <a:pt x="15995" y="12265"/>
                </a:cubicBezTo>
                <a:cubicBezTo>
                  <a:pt x="15966" y="11995"/>
                  <a:pt x="15731" y="11801"/>
                  <a:pt x="15456" y="11829"/>
                </a:cubicBezTo>
                <a:cubicBezTo>
                  <a:pt x="15187" y="11859"/>
                  <a:pt x="14992" y="12100"/>
                  <a:pt x="15022" y="12370"/>
                </a:cubicBezTo>
                <a:cubicBezTo>
                  <a:pt x="15064" y="12767"/>
                  <a:pt x="15190" y="13154"/>
                  <a:pt x="15395" y="13522"/>
                </a:cubicBezTo>
                <a:cubicBezTo>
                  <a:pt x="15484" y="13682"/>
                  <a:pt x="15651" y="13773"/>
                  <a:pt x="15822" y="13773"/>
                </a:cubicBezTo>
                <a:cubicBezTo>
                  <a:pt x="15904" y="13773"/>
                  <a:pt x="15985" y="13753"/>
                  <a:pt x="16061" y="13710"/>
                </a:cubicBezTo>
                <a:cubicBezTo>
                  <a:pt x="16297" y="13578"/>
                  <a:pt x="16382" y="13279"/>
                  <a:pt x="16249" y="13042"/>
                </a:cubicBezTo>
                <a:moveTo>
                  <a:pt x="18249" y="15254"/>
                </a:moveTo>
                <a:cubicBezTo>
                  <a:pt x="18041" y="14981"/>
                  <a:pt x="17803" y="14708"/>
                  <a:pt x="17538" y="14439"/>
                </a:cubicBezTo>
                <a:cubicBezTo>
                  <a:pt x="17349" y="14246"/>
                  <a:pt x="17039" y="14244"/>
                  <a:pt x="16845" y="14434"/>
                </a:cubicBezTo>
                <a:cubicBezTo>
                  <a:pt x="16653" y="14624"/>
                  <a:pt x="16651" y="14935"/>
                  <a:pt x="16841" y="15129"/>
                </a:cubicBezTo>
                <a:cubicBezTo>
                  <a:pt x="17076" y="15368"/>
                  <a:pt x="17288" y="15612"/>
                  <a:pt x="17471" y="15851"/>
                </a:cubicBezTo>
                <a:cubicBezTo>
                  <a:pt x="17568" y="15977"/>
                  <a:pt x="17713" y="16043"/>
                  <a:pt x="17860" y="16043"/>
                </a:cubicBezTo>
                <a:cubicBezTo>
                  <a:pt x="17964" y="16043"/>
                  <a:pt x="18068" y="16011"/>
                  <a:pt x="18157" y="15942"/>
                </a:cubicBezTo>
                <a:cubicBezTo>
                  <a:pt x="18373" y="15777"/>
                  <a:pt x="18413" y="15469"/>
                  <a:pt x="18249" y="15254"/>
                </a:cubicBezTo>
                <a:moveTo>
                  <a:pt x="21476" y="5928"/>
                </a:moveTo>
                <a:cubicBezTo>
                  <a:pt x="21352" y="5687"/>
                  <a:pt x="21057" y="5592"/>
                  <a:pt x="20817" y="5717"/>
                </a:cubicBezTo>
                <a:cubicBezTo>
                  <a:pt x="20817" y="5717"/>
                  <a:pt x="20650" y="5803"/>
                  <a:pt x="20371" y="5962"/>
                </a:cubicBezTo>
                <a:cubicBezTo>
                  <a:pt x="20136" y="6096"/>
                  <a:pt x="20054" y="6396"/>
                  <a:pt x="20188" y="6632"/>
                </a:cubicBezTo>
                <a:cubicBezTo>
                  <a:pt x="20278" y="6791"/>
                  <a:pt x="20444" y="6880"/>
                  <a:pt x="20614" y="6880"/>
                </a:cubicBezTo>
                <a:cubicBezTo>
                  <a:pt x="20697" y="6880"/>
                  <a:pt x="20780" y="6859"/>
                  <a:pt x="20856" y="6815"/>
                </a:cubicBezTo>
                <a:cubicBezTo>
                  <a:pt x="21108" y="6672"/>
                  <a:pt x="21261" y="6592"/>
                  <a:pt x="21265" y="6590"/>
                </a:cubicBezTo>
                <a:cubicBezTo>
                  <a:pt x="21506" y="6466"/>
                  <a:pt x="21600" y="6170"/>
                  <a:pt x="21476" y="5928"/>
                </a:cubicBezTo>
                <a:moveTo>
                  <a:pt x="18659" y="16886"/>
                </a:moveTo>
                <a:cubicBezTo>
                  <a:pt x="18395" y="16941"/>
                  <a:pt x="18225" y="17201"/>
                  <a:pt x="18280" y="17467"/>
                </a:cubicBezTo>
                <a:cubicBezTo>
                  <a:pt x="18312" y="17625"/>
                  <a:pt x="18330" y="17781"/>
                  <a:pt x="18330" y="17929"/>
                </a:cubicBezTo>
                <a:cubicBezTo>
                  <a:pt x="18330" y="18050"/>
                  <a:pt x="18318" y="18171"/>
                  <a:pt x="18296" y="18287"/>
                </a:cubicBezTo>
                <a:cubicBezTo>
                  <a:pt x="18244" y="18554"/>
                  <a:pt x="18418" y="18811"/>
                  <a:pt x="18683" y="18862"/>
                </a:cubicBezTo>
                <a:cubicBezTo>
                  <a:pt x="18715" y="18869"/>
                  <a:pt x="18746" y="18871"/>
                  <a:pt x="18777" y="18871"/>
                </a:cubicBezTo>
                <a:cubicBezTo>
                  <a:pt x="19007" y="18871"/>
                  <a:pt x="19212" y="18708"/>
                  <a:pt x="19257" y="18473"/>
                </a:cubicBezTo>
                <a:cubicBezTo>
                  <a:pt x="19292" y="18296"/>
                  <a:pt x="19309" y="18114"/>
                  <a:pt x="19309" y="17929"/>
                </a:cubicBezTo>
                <a:cubicBezTo>
                  <a:pt x="19309" y="17715"/>
                  <a:pt x="19285" y="17492"/>
                  <a:pt x="19239" y="17267"/>
                </a:cubicBezTo>
                <a:cubicBezTo>
                  <a:pt x="19183" y="17001"/>
                  <a:pt x="18923" y="16832"/>
                  <a:pt x="18659" y="16886"/>
                </a:cubicBezTo>
                <a:moveTo>
                  <a:pt x="18590" y="7106"/>
                </a:moveTo>
                <a:cubicBezTo>
                  <a:pt x="18317" y="7303"/>
                  <a:pt x="18035" y="7518"/>
                  <a:pt x="17756" y="7745"/>
                </a:cubicBezTo>
                <a:cubicBezTo>
                  <a:pt x="17546" y="7917"/>
                  <a:pt x="17515" y="8226"/>
                  <a:pt x="17686" y="8436"/>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6"/>
                </a:cubicBezTo>
                <a:moveTo>
                  <a:pt x="14704" y="20512"/>
                </a:moveTo>
                <a:cubicBezTo>
                  <a:pt x="14393" y="20556"/>
                  <a:pt x="14065" y="20590"/>
                  <a:pt x="13729" y="20611"/>
                </a:cubicBezTo>
                <a:cubicBezTo>
                  <a:pt x="13459" y="20629"/>
                  <a:pt x="13254" y="20863"/>
                  <a:pt x="13272" y="21134"/>
                </a:cubicBezTo>
                <a:cubicBezTo>
                  <a:pt x="13289" y="21394"/>
                  <a:pt x="13504" y="21593"/>
                  <a:pt x="13760" y="21593"/>
                </a:cubicBezTo>
                <a:cubicBezTo>
                  <a:pt x="13771" y="21593"/>
                  <a:pt x="13781" y="21592"/>
                  <a:pt x="13792" y="21592"/>
                </a:cubicBezTo>
                <a:cubicBezTo>
                  <a:pt x="14152" y="21568"/>
                  <a:pt x="14506" y="21533"/>
                  <a:pt x="14842" y="21485"/>
                </a:cubicBezTo>
                <a:cubicBezTo>
                  <a:pt x="15110" y="21447"/>
                  <a:pt x="15296" y="21198"/>
                  <a:pt x="15258" y="20929"/>
                </a:cubicBezTo>
                <a:cubicBezTo>
                  <a:pt x="15220" y="20661"/>
                  <a:pt x="14973" y="20472"/>
                  <a:pt x="14704" y="20512"/>
                </a:cubicBezTo>
                <a:moveTo>
                  <a:pt x="8893" y="20109"/>
                </a:moveTo>
                <a:cubicBezTo>
                  <a:pt x="8582" y="19997"/>
                  <a:pt x="8299" y="19866"/>
                  <a:pt x="8052" y="19721"/>
                </a:cubicBezTo>
                <a:cubicBezTo>
                  <a:pt x="7818" y="19582"/>
                  <a:pt x="7519" y="19663"/>
                  <a:pt x="7382" y="19896"/>
                </a:cubicBezTo>
                <a:cubicBezTo>
                  <a:pt x="7244" y="20130"/>
                  <a:pt x="7323" y="20432"/>
                  <a:pt x="7556" y="20568"/>
                </a:cubicBezTo>
                <a:cubicBezTo>
                  <a:pt x="7856" y="20744"/>
                  <a:pt x="8194" y="20901"/>
                  <a:pt x="8562" y="21034"/>
                </a:cubicBezTo>
                <a:cubicBezTo>
                  <a:pt x="8617" y="21053"/>
                  <a:pt x="8672" y="21062"/>
                  <a:pt x="8728" y="21062"/>
                </a:cubicBezTo>
                <a:cubicBezTo>
                  <a:pt x="8928" y="21062"/>
                  <a:pt x="9117" y="20938"/>
                  <a:pt x="9189" y="20737"/>
                </a:cubicBezTo>
                <a:cubicBezTo>
                  <a:pt x="9280" y="20482"/>
                  <a:pt x="9148" y="20200"/>
                  <a:pt x="8893" y="20109"/>
                </a:cubicBezTo>
                <a:moveTo>
                  <a:pt x="11751" y="20618"/>
                </a:moveTo>
                <a:cubicBezTo>
                  <a:pt x="11412" y="20600"/>
                  <a:pt x="11082" y="20572"/>
                  <a:pt x="10771" y="20533"/>
                </a:cubicBezTo>
                <a:cubicBezTo>
                  <a:pt x="10502" y="20493"/>
                  <a:pt x="10258" y="20690"/>
                  <a:pt x="10225" y="20959"/>
                </a:cubicBezTo>
                <a:cubicBezTo>
                  <a:pt x="10191" y="21229"/>
                  <a:pt x="10382" y="21474"/>
                  <a:pt x="10650" y="21507"/>
                </a:cubicBezTo>
                <a:cubicBezTo>
                  <a:pt x="10984" y="21549"/>
                  <a:pt x="11337" y="21580"/>
                  <a:pt x="11699" y="21600"/>
                </a:cubicBezTo>
                <a:cubicBezTo>
                  <a:pt x="11708" y="21600"/>
                  <a:pt x="11716" y="21600"/>
                  <a:pt x="11725" y="21600"/>
                </a:cubicBezTo>
                <a:cubicBezTo>
                  <a:pt x="11984" y="21600"/>
                  <a:pt x="12200" y="21397"/>
                  <a:pt x="12214" y="21135"/>
                </a:cubicBezTo>
                <a:cubicBezTo>
                  <a:pt x="12228" y="20863"/>
                  <a:pt x="12021" y="20632"/>
                  <a:pt x="11751" y="20618"/>
                </a:cubicBezTo>
                <a:moveTo>
                  <a:pt x="6840" y="18180"/>
                </a:moveTo>
                <a:cubicBezTo>
                  <a:pt x="6836" y="17912"/>
                  <a:pt x="6619" y="17696"/>
                  <a:pt x="6351" y="17696"/>
                </a:cubicBezTo>
                <a:cubicBezTo>
                  <a:pt x="6080" y="17696"/>
                  <a:pt x="5861" y="17916"/>
                  <a:pt x="5861" y="18188"/>
                </a:cubicBezTo>
                <a:cubicBezTo>
                  <a:pt x="5861" y="18234"/>
                  <a:pt x="5867" y="18484"/>
                  <a:pt x="5997" y="18834"/>
                </a:cubicBezTo>
                <a:cubicBezTo>
                  <a:pt x="6070" y="19033"/>
                  <a:pt x="6257" y="19155"/>
                  <a:pt x="6456" y="19155"/>
                </a:cubicBezTo>
                <a:cubicBezTo>
                  <a:pt x="6512" y="19155"/>
                  <a:pt x="6570" y="19145"/>
                  <a:pt x="6626" y="19124"/>
                </a:cubicBezTo>
                <a:cubicBezTo>
                  <a:pt x="6880" y="19030"/>
                  <a:pt x="7009" y="18748"/>
                  <a:pt x="6915" y="18493"/>
                </a:cubicBezTo>
                <a:cubicBezTo>
                  <a:pt x="6849"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7" y="9169"/>
                </a:cubicBezTo>
                <a:cubicBezTo>
                  <a:pt x="16709" y="8994"/>
                  <a:pt x="16400" y="9022"/>
                  <a:pt x="16227" y="9230"/>
                </a:cubicBezTo>
                <a:cubicBezTo>
                  <a:pt x="15976" y="9529"/>
                  <a:pt x="15761" y="9832"/>
                  <a:pt x="15587" y="10125"/>
                </a:cubicBezTo>
                <a:cubicBezTo>
                  <a:pt x="15450" y="10359"/>
                  <a:pt x="15527" y="10659"/>
                  <a:pt x="15760" y="10798"/>
                </a:cubicBezTo>
                <a:moveTo>
                  <a:pt x="6366" y="8841"/>
                </a:moveTo>
                <a:cubicBezTo>
                  <a:pt x="5014" y="8841"/>
                  <a:pt x="3917" y="7741"/>
                  <a:pt x="3917" y="6384"/>
                </a:cubicBezTo>
                <a:cubicBezTo>
                  <a:pt x="3917" y="5027"/>
                  <a:pt x="5014" y="3927"/>
                  <a:pt x="6366" y="3927"/>
                </a:cubicBezTo>
                <a:cubicBezTo>
                  <a:pt x="7719" y="3927"/>
                  <a:pt x="8814" y="5027"/>
                  <a:pt x="8814" y="6384"/>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6" name="Shape 2936"/>
          <p:cNvSpPr/>
          <p:nvPr/>
        </p:nvSpPr>
        <p:spPr>
          <a:xfrm>
            <a:off x="1517672" y="2471921"/>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964"/>
                </a:moveTo>
                <a:cubicBezTo>
                  <a:pt x="10800" y="1964"/>
                  <a:pt x="4320" y="1964"/>
                  <a:pt x="4320" y="4909"/>
                </a:cubicBezTo>
                <a:cubicBezTo>
                  <a:pt x="4320" y="5180"/>
                  <a:pt x="4804" y="5400"/>
                  <a:pt x="5400" y="5400"/>
                </a:cubicBezTo>
                <a:cubicBezTo>
                  <a:pt x="5996" y="5400"/>
                  <a:pt x="6480" y="5180"/>
                  <a:pt x="6480" y="4909"/>
                </a:cubicBezTo>
                <a:cubicBezTo>
                  <a:pt x="6480" y="2945"/>
                  <a:pt x="10800" y="2945"/>
                  <a:pt x="10800" y="2945"/>
                </a:cubicBezTo>
                <a:cubicBezTo>
                  <a:pt x="11396" y="2945"/>
                  <a:pt x="11880" y="2726"/>
                  <a:pt x="11880" y="2455"/>
                </a:cubicBezTo>
                <a:cubicBezTo>
                  <a:pt x="11880" y="2183"/>
                  <a:pt x="11396" y="1964"/>
                  <a:pt x="10800" y="1964"/>
                </a:cubicBezTo>
                <a:moveTo>
                  <a:pt x="10800" y="8836"/>
                </a:moveTo>
                <a:cubicBezTo>
                  <a:pt x="6029" y="8836"/>
                  <a:pt x="2160" y="7078"/>
                  <a:pt x="2160" y="4909"/>
                </a:cubicBezTo>
                <a:cubicBezTo>
                  <a:pt x="2160" y="2740"/>
                  <a:pt x="6029" y="982"/>
                  <a:pt x="10800" y="982"/>
                </a:cubicBezTo>
                <a:cubicBezTo>
                  <a:pt x="15571" y="982"/>
                  <a:pt x="19440" y="2740"/>
                  <a:pt x="19440" y="4909"/>
                </a:cubicBezTo>
                <a:cubicBezTo>
                  <a:pt x="19440" y="7078"/>
                  <a:pt x="15571" y="8836"/>
                  <a:pt x="10800" y="8836"/>
                </a:cubicBezTo>
                <a:moveTo>
                  <a:pt x="10800" y="17182"/>
                </a:moveTo>
                <a:lnTo>
                  <a:pt x="8154" y="9664"/>
                </a:lnTo>
                <a:cubicBezTo>
                  <a:pt x="9002" y="9761"/>
                  <a:pt x="9885" y="9818"/>
                  <a:pt x="10800" y="9818"/>
                </a:cubicBezTo>
                <a:cubicBezTo>
                  <a:pt x="11715" y="9818"/>
                  <a:pt x="12598" y="9761"/>
                  <a:pt x="13446" y="9664"/>
                </a:cubicBezTo>
                <a:cubicBezTo>
                  <a:pt x="13446" y="9664"/>
                  <a:pt x="10800" y="17182"/>
                  <a:pt x="10800" y="17182"/>
                </a:cubicBezTo>
                <a:close/>
                <a:moveTo>
                  <a:pt x="10800" y="0"/>
                </a:moveTo>
                <a:cubicBezTo>
                  <a:pt x="4835" y="0"/>
                  <a:pt x="0" y="2199"/>
                  <a:pt x="0" y="4909"/>
                </a:cubicBezTo>
                <a:cubicBezTo>
                  <a:pt x="0" y="6830"/>
                  <a:pt x="2431" y="8487"/>
                  <a:pt x="5966" y="9295"/>
                </a:cubicBezTo>
                <a:lnTo>
                  <a:pt x="10800" y="21600"/>
                </a:lnTo>
                <a:lnTo>
                  <a:pt x="15635" y="9295"/>
                </a:lnTo>
                <a:cubicBezTo>
                  <a:pt x="19169" y="8487"/>
                  <a:pt x="21600" y="6830"/>
                  <a:pt x="21600" y="4909"/>
                </a:cubicBezTo>
                <a:cubicBezTo>
                  <a:pt x="21600" y="219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7" name="Shape 2937"/>
          <p:cNvSpPr/>
          <p:nvPr/>
        </p:nvSpPr>
        <p:spPr>
          <a:xfrm>
            <a:off x="1860482"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8" name="Shape 2938"/>
          <p:cNvSpPr/>
          <p:nvPr/>
        </p:nvSpPr>
        <p:spPr>
          <a:xfrm>
            <a:off x="2260427"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458"/>
                </a:moveTo>
                <a:lnTo>
                  <a:pt x="14727" y="18775"/>
                </a:lnTo>
                <a:lnTo>
                  <a:pt x="14727" y="1142"/>
                </a:lnTo>
                <a:lnTo>
                  <a:pt x="20618" y="2825"/>
                </a:lnTo>
                <a:cubicBezTo>
                  <a:pt x="20618" y="2825"/>
                  <a:pt x="20618" y="20458"/>
                  <a:pt x="20618" y="20458"/>
                </a:cubicBezTo>
                <a:close/>
                <a:moveTo>
                  <a:pt x="13745" y="18775"/>
                </a:moveTo>
                <a:lnTo>
                  <a:pt x="7855" y="20458"/>
                </a:ln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2" y="1990"/>
                </a:moveTo>
                <a:lnTo>
                  <a:pt x="21244" y="1983"/>
                </a:lnTo>
                <a:lnTo>
                  <a:pt x="14371" y="19"/>
                </a:lnTo>
                <a:lnTo>
                  <a:pt x="14369" y="27"/>
                </a:lnTo>
                <a:cubicBezTo>
                  <a:pt x="14326" y="14"/>
                  <a:pt x="14284" y="0"/>
                  <a:pt x="14236" y="0"/>
                </a:cubicBezTo>
                <a:cubicBezTo>
                  <a:pt x="14189" y="0"/>
                  <a:pt x="14147" y="14"/>
                  <a:pt x="14104" y="27"/>
                </a:cubicBezTo>
                <a:lnTo>
                  <a:pt x="14102" y="19"/>
                </a:lnTo>
                <a:lnTo>
                  <a:pt x="7364" y="1944"/>
                </a:lnTo>
                <a:lnTo>
                  <a:pt x="626" y="19"/>
                </a:lnTo>
                <a:lnTo>
                  <a:pt x="623" y="27"/>
                </a:lnTo>
                <a:cubicBezTo>
                  <a:pt x="581" y="14"/>
                  <a:pt x="538" y="0"/>
                  <a:pt x="491" y="0"/>
                </a:cubicBezTo>
                <a:cubicBezTo>
                  <a:pt x="220" y="0"/>
                  <a:pt x="0" y="220"/>
                  <a:pt x="0" y="491"/>
                </a:cubicBezTo>
                <a:lnTo>
                  <a:pt x="0" y="19145"/>
                </a:lnTo>
                <a:cubicBezTo>
                  <a:pt x="0" y="19370"/>
                  <a:pt x="153" y="19551"/>
                  <a:pt x="358" y="19610"/>
                </a:cubicBezTo>
                <a:lnTo>
                  <a:pt x="356" y="19618"/>
                </a:lnTo>
                <a:lnTo>
                  <a:pt x="7229" y="21581"/>
                </a:lnTo>
                <a:lnTo>
                  <a:pt x="7231" y="21573"/>
                </a:lnTo>
                <a:cubicBezTo>
                  <a:pt x="7274" y="21586"/>
                  <a:pt x="7316" y="21600"/>
                  <a:pt x="7364" y="21600"/>
                </a:cubicBezTo>
                <a:cubicBezTo>
                  <a:pt x="7411" y="21600"/>
                  <a:pt x="7454"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2" y="19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9" name="Shape 2939"/>
          <p:cNvSpPr/>
          <p:nvPr/>
        </p:nvSpPr>
        <p:spPr>
          <a:xfrm>
            <a:off x="2660374"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0" name="Shape 2940"/>
          <p:cNvSpPr/>
          <p:nvPr/>
        </p:nvSpPr>
        <p:spPr>
          <a:xfrm>
            <a:off x="3060320"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19"/>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19"/>
                  <a:pt x="16320" y="20344"/>
                  <a:pt x="11291" y="20593"/>
                </a:cubicBezTo>
                <a:moveTo>
                  <a:pt x="10800" y="0"/>
                </a:moveTo>
                <a:cubicBezTo>
                  <a:pt x="10800" y="0"/>
                  <a:pt x="10800" y="0"/>
                  <a:pt x="10800" y="0"/>
                </a:cubicBezTo>
                <a:cubicBezTo>
                  <a:pt x="10800" y="0"/>
                  <a:pt x="10800" y="0"/>
                  <a:pt x="10800" y="0"/>
                </a:cubicBez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1" name="Shape 2941"/>
          <p:cNvSpPr/>
          <p:nvPr/>
        </p:nvSpPr>
        <p:spPr>
          <a:xfrm>
            <a:off x="3460265"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7648"/>
                </a:lnTo>
                <a:cubicBezTo>
                  <a:pt x="14694" y="17407"/>
                  <a:pt x="17408" y="14693"/>
                  <a:pt x="17649" y="11291"/>
                </a:cubicBezTo>
                <a:lnTo>
                  <a:pt x="20594" y="11291"/>
                </a:lnTo>
                <a:cubicBezTo>
                  <a:pt x="20345" y="16319"/>
                  <a:pt x="16320" y="20344"/>
                  <a:pt x="11291" y="20593"/>
                </a:cubicBezTo>
                <a:moveTo>
                  <a:pt x="11291" y="13205"/>
                </a:moveTo>
                <a:cubicBezTo>
                  <a:pt x="12252" y="13010"/>
                  <a:pt x="13005" y="12252"/>
                  <a:pt x="13201" y="11291"/>
                </a:cubicBezTo>
                <a:lnTo>
                  <a:pt x="16667" y="11291"/>
                </a:lnTo>
                <a:cubicBezTo>
                  <a:pt x="16431" y="14152"/>
                  <a:pt x="14152" y="16429"/>
                  <a:pt x="11291" y="16666"/>
                </a:cubicBezTo>
                <a:cubicBezTo>
                  <a:pt x="11291" y="16666"/>
                  <a:pt x="11291" y="13205"/>
                  <a:pt x="11291" y="13205"/>
                </a:cubicBezTo>
                <a:close/>
                <a:moveTo>
                  <a:pt x="11291" y="4934"/>
                </a:moveTo>
                <a:cubicBezTo>
                  <a:pt x="12233" y="5012"/>
                  <a:pt x="13111" y="5315"/>
                  <a:pt x="13875" y="5784"/>
                </a:cubicBezTo>
                <a:cubicBezTo>
                  <a:pt x="13793" y="5967"/>
                  <a:pt x="13745" y="6168"/>
                  <a:pt x="13745" y="6382"/>
                </a:cubicBezTo>
                <a:cubicBezTo>
                  <a:pt x="13745" y="7195"/>
                  <a:pt x="14405" y="7855"/>
                  <a:pt x="15218" y="7855"/>
                </a:cubicBezTo>
                <a:cubicBezTo>
                  <a:pt x="15432" y="7855"/>
                  <a:pt x="15633" y="7807"/>
                  <a:pt x="15816" y="7725"/>
                </a:cubicBezTo>
                <a:cubicBezTo>
                  <a:pt x="16286" y="8489"/>
                  <a:pt x="16589" y="9367"/>
                  <a:pt x="16667" y="10309"/>
                </a:cubicBezTo>
                <a:lnTo>
                  <a:pt x="13201" y="10309"/>
                </a:lnTo>
                <a:cubicBezTo>
                  <a:pt x="13005" y="9348"/>
                  <a:pt x="12252" y="8590"/>
                  <a:pt x="11291" y="8395"/>
                </a:cubicBezTo>
                <a:cubicBezTo>
                  <a:pt x="11291" y="8395"/>
                  <a:pt x="11291" y="4934"/>
                  <a:pt x="11291" y="4934"/>
                </a:cubicBezTo>
                <a:close/>
                <a:moveTo>
                  <a:pt x="11291" y="1007"/>
                </a:moveTo>
                <a:cubicBezTo>
                  <a:pt x="16320" y="1256"/>
                  <a:pt x="20345" y="5281"/>
                  <a:pt x="20594" y="10309"/>
                </a:cubicBezTo>
                <a:lnTo>
                  <a:pt x="17649" y="10309"/>
                </a:lnTo>
                <a:cubicBezTo>
                  <a:pt x="17563" y="9102"/>
                  <a:pt x="17162" y="7985"/>
                  <a:pt x="16534" y="7031"/>
                </a:cubicBezTo>
                <a:cubicBezTo>
                  <a:pt x="16631" y="6835"/>
                  <a:pt x="16691" y="6616"/>
                  <a:pt x="16691" y="6382"/>
                </a:cubicBezTo>
                <a:cubicBezTo>
                  <a:pt x="16691" y="5569"/>
                  <a:pt x="16032" y="4909"/>
                  <a:pt x="15218" y="4909"/>
                </a:cubicBezTo>
                <a:cubicBezTo>
                  <a:pt x="14984" y="4909"/>
                  <a:pt x="14765" y="4969"/>
                  <a:pt x="14568" y="5066"/>
                </a:cubicBezTo>
                <a:cubicBezTo>
                  <a:pt x="13614" y="4439"/>
                  <a:pt x="12498" y="4038"/>
                  <a:pt x="11291" y="3952"/>
                </a:cubicBezTo>
                <a:cubicBezTo>
                  <a:pt x="11291" y="3952"/>
                  <a:pt x="11291" y="1007"/>
                  <a:pt x="11291" y="1007"/>
                </a:cubicBezTo>
                <a:close/>
                <a:moveTo>
                  <a:pt x="10309" y="3949"/>
                </a:moveTo>
                <a:cubicBezTo>
                  <a:pt x="7225" y="4167"/>
                  <a:pt x="4703" y="6417"/>
                  <a:pt x="4078" y="9370"/>
                </a:cubicBezTo>
                <a:cubicBezTo>
                  <a:pt x="3590" y="9486"/>
                  <a:pt x="3196" y="9843"/>
                  <a:pt x="3030" y="10309"/>
                </a:cubicBezTo>
                <a:lnTo>
                  <a:pt x="1006" y="10309"/>
                </a:lnTo>
                <a:cubicBezTo>
                  <a:pt x="1255" y="5281"/>
                  <a:pt x="5280" y="1256"/>
                  <a:pt x="10309" y="1007"/>
                </a:cubicBezTo>
                <a:cubicBezTo>
                  <a:pt x="10309" y="1007"/>
                  <a:pt x="10309" y="3949"/>
                  <a:pt x="10309" y="3949"/>
                </a:cubicBezTo>
                <a:close/>
                <a:moveTo>
                  <a:pt x="10309" y="8395"/>
                </a:moveTo>
                <a:cubicBezTo>
                  <a:pt x="9348" y="8590"/>
                  <a:pt x="8595" y="9348"/>
                  <a:pt x="8399" y="10309"/>
                </a:cubicBezTo>
                <a:lnTo>
                  <a:pt x="5796" y="10309"/>
                </a:lnTo>
                <a:cubicBezTo>
                  <a:pt x="5666" y="9948"/>
                  <a:pt x="5405" y="9649"/>
                  <a:pt x="5062" y="9482"/>
                </a:cubicBezTo>
                <a:cubicBezTo>
                  <a:pt x="5626" y="7018"/>
                  <a:pt x="7730" y="5144"/>
                  <a:pt x="10309" y="4930"/>
                </a:cubicBezTo>
                <a:cubicBezTo>
                  <a:pt x="10309" y="4930"/>
                  <a:pt x="10309" y="8395"/>
                  <a:pt x="10309" y="8395"/>
                </a:cubicBezTo>
                <a:close/>
                <a:moveTo>
                  <a:pt x="10309" y="16670"/>
                </a:moveTo>
                <a:cubicBezTo>
                  <a:pt x="7730" y="16456"/>
                  <a:pt x="5626" y="14582"/>
                  <a:pt x="5062" y="12118"/>
                </a:cubicBezTo>
                <a:cubicBezTo>
                  <a:pt x="5405" y="11951"/>
                  <a:pt x="5666" y="11652"/>
                  <a:pt x="5796" y="11291"/>
                </a:cubicBezTo>
                <a:lnTo>
                  <a:pt x="8399" y="11291"/>
                </a:lnTo>
                <a:cubicBezTo>
                  <a:pt x="8595" y="12252"/>
                  <a:pt x="9348" y="13010"/>
                  <a:pt x="10309" y="13205"/>
                </a:cubicBezTo>
                <a:cubicBezTo>
                  <a:pt x="10309" y="13205"/>
                  <a:pt x="10309" y="16670"/>
                  <a:pt x="10309" y="16670"/>
                </a:cubicBezTo>
                <a:close/>
                <a:moveTo>
                  <a:pt x="10309" y="20593"/>
                </a:moveTo>
                <a:cubicBezTo>
                  <a:pt x="5280" y="20344"/>
                  <a:pt x="1255" y="16319"/>
                  <a:pt x="1006" y="11291"/>
                </a:cubicBezTo>
                <a:lnTo>
                  <a:pt x="3030" y="11291"/>
                </a:lnTo>
                <a:cubicBezTo>
                  <a:pt x="3196" y="11757"/>
                  <a:pt x="3590" y="12114"/>
                  <a:pt x="4078" y="12230"/>
                </a:cubicBezTo>
                <a:cubicBezTo>
                  <a:pt x="4703" y="15183"/>
                  <a:pt x="7225" y="17434"/>
                  <a:pt x="10309" y="17651"/>
                </a:cubicBezTo>
                <a:cubicBezTo>
                  <a:pt x="10309" y="17651"/>
                  <a:pt x="10309" y="20593"/>
                  <a:pt x="10309" y="20593"/>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2" name="Shape 2942"/>
          <p:cNvSpPr/>
          <p:nvPr/>
        </p:nvSpPr>
        <p:spPr>
          <a:xfrm>
            <a:off x="3879256"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2524"/>
                </a:moveTo>
                <a:cubicBezTo>
                  <a:pt x="19362" y="12218"/>
                  <a:pt x="17455" y="11782"/>
                  <a:pt x="15000" y="11782"/>
                </a:cubicBezTo>
                <a:cubicBezTo>
                  <a:pt x="12625" y="11782"/>
                  <a:pt x="11514" y="12089"/>
                  <a:pt x="10534" y="12360"/>
                </a:cubicBezTo>
                <a:cubicBezTo>
                  <a:pt x="9751" y="12577"/>
                  <a:pt x="9076" y="12764"/>
                  <a:pt x="7800" y="12764"/>
                </a:cubicBezTo>
                <a:cubicBezTo>
                  <a:pt x="6097" y="12764"/>
                  <a:pt x="5268" y="12537"/>
                  <a:pt x="4390" y="12298"/>
                </a:cubicBezTo>
                <a:cubicBezTo>
                  <a:pt x="3564" y="12073"/>
                  <a:pt x="2709" y="11842"/>
                  <a:pt x="1200" y="11792"/>
                </a:cubicBezTo>
                <a:lnTo>
                  <a:pt x="1200" y="992"/>
                </a:lnTo>
                <a:cubicBezTo>
                  <a:pt x="2511" y="1038"/>
                  <a:pt x="3242" y="1238"/>
                  <a:pt x="4010" y="1448"/>
                </a:cubicBezTo>
                <a:cubicBezTo>
                  <a:pt x="4941" y="1701"/>
                  <a:pt x="5903" y="1964"/>
                  <a:pt x="7800" y="1964"/>
                </a:cubicBezTo>
                <a:cubicBezTo>
                  <a:pt x="9273" y="1964"/>
                  <a:pt x="10109" y="1733"/>
                  <a:pt x="10918" y="1508"/>
                </a:cubicBezTo>
                <a:cubicBezTo>
                  <a:pt x="11854" y="1250"/>
                  <a:pt x="12823" y="982"/>
                  <a:pt x="15000" y="982"/>
                </a:cubicBezTo>
                <a:cubicBezTo>
                  <a:pt x="17661" y="982"/>
                  <a:pt x="19648" y="1545"/>
                  <a:pt x="20400" y="1794"/>
                </a:cubicBezTo>
                <a:cubicBezTo>
                  <a:pt x="20400" y="1794"/>
                  <a:pt x="20400" y="12524"/>
                  <a:pt x="20400" y="12524"/>
                </a:cubicBezTo>
                <a:close/>
                <a:moveTo>
                  <a:pt x="21594" y="1473"/>
                </a:moveTo>
                <a:cubicBezTo>
                  <a:pt x="21594" y="1293"/>
                  <a:pt x="21478" y="1120"/>
                  <a:pt x="21268" y="1034"/>
                </a:cubicBezTo>
                <a:cubicBezTo>
                  <a:pt x="21165" y="991"/>
                  <a:pt x="18699" y="0"/>
                  <a:pt x="15000" y="0"/>
                </a:cubicBezTo>
                <a:cubicBezTo>
                  <a:pt x="12625" y="0"/>
                  <a:pt x="11514" y="308"/>
                  <a:pt x="10534" y="579"/>
                </a:cubicBezTo>
                <a:cubicBezTo>
                  <a:pt x="9751" y="795"/>
                  <a:pt x="9076" y="982"/>
                  <a:pt x="7800" y="982"/>
                </a:cubicBezTo>
                <a:cubicBezTo>
                  <a:pt x="6097" y="982"/>
                  <a:pt x="5268" y="756"/>
                  <a:pt x="4390" y="516"/>
                </a:cubicBezTo>
                <a:cubicBezTo>
                  <a:pt x="3459" y="263"/>
                  <a:pt x="2497" y="0"/>
                  <a:pt x="600" y="0"/>
                </a:cubicBezTo>
                <a:cubicBezTo>
                  <a:pt x="268" y="0"/>
                  <a:pt x="0" y="220"/>
                  <a:pt x="0" y="491"/>
                </a:cubicBezTo>
                <a:lnTo>
                  <a:pt x="0" y="21109"/>
                </a:lnTo>
                <a:cubicBezTo>
                  <a:pt x="0" y="21380"/>
                  <a:pt x="268" y="21600"/>
                  <a:pt x="600" y="21600"/>
                </a:cubicBezTo>
                <a:cubicBezTo>
                  <a:pt x="932" y="21600"/>
                  <a:pt x="1200" y="21380"/>
                  <a:pt x="1200" y="21109"/>
                </a:cubicBezTo>
                <a:lnTo>
                  <a:pt x="1200" y="12774"/>
                </a:lnTo>
                <a:cubicBezTo>
                  <a:pt x="2511" y="12820"/>
                  <a:pt x="3242" y="13020"/>
                  <a:pt x="4010" y="13230"/>
                </a:cubicBezTo>
                <a:cubicBezTo>
                  <a:pt x="4941" y="13483"/>
                  <a:pt x="5903" y="13745"/>
                  <a:pt x="7800" y="13745"/>
                </a:cubicBezTo>
                <a:cubicBezTo>
                  <a:pt x="9273" y="13745"/>
                  <a:pt x="10109" y="13514"/>
                  <a:pt x="10918" y="13291"/>
                </a:cubicBezTo>
                <a:cubicBezTo>
                  <a:pt x="11854" y="13031"/>
                  <a:pt x="12823" y="12764"/>
                  <a:pt x="15000" y="12764"/>
                </a:cubicBezTo>
                <a:cubicBezTo>
                  <a:pt x="18400" y="12764"/>
                  <a:pt x="20709" y="13685"/>
                  <a:pt x="20733" y="13694"/>
                </a:cubicBezTo>
                <a:cubicBezTo>
                  <a:pt x="21029" y="13814"/>
                  <a:pt x="21389" y="13716"/>
                  <a:pt x="21537" y="13473"/>
                </a:cubicBezTo>
                <a:cubicBezTo>
                  <a:pt x="21580" y="13403"/>
                  <a:pt x="21594" y="13328"/>
                  <a:pt x="21594" y="13255"/>
                </a:cubicBezTo>
                <a:lnTo>
                  <a:pt x="21600" y="13255"/>
                </a:lnTo>
                <a:lnTo>
                  <a:pt x="21600" y="1473"/>
                </a:lnTo>
                <a:cubicBezTo>
                  <a:pt x="21600" y="1473"/>
                  <a:pt x="21594" y="1473"/>
                  <a:pt x="21594" y="14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3" name="Shape 2943"/>
          <p:cNvSpPr/>
          <p:nvPr/>
        </p:nvSpPr>
        <p:spPr>
          <a:xfrm>
            <a:off x="4279201"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4" name="Shape 2944"/>
          <p:cNvSpPr/>
          <p:nvPr/>
        </p:nvSpPr>
        <p:spPr>
          <a:xfrm>
            <a:off x="4688671"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5" name="Shape 2945"/>
          <p:cNvSpPr/>
          <p:nvPr/>
        </p:nvSpPr>
        <p:spPr>
          <a:xfrm>
            <a:off x="5088616"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58" y="8342"/>
                </a:moveTo>
                <a:cubicBezTo>
                  <a:pt x="17614" y="6914"/>
                  <a:pt x="17383" y="5576"/>
                  <a:pt x="17008" y="4408"/>
                </a:cubicBezTo>
                <a:cubicBezTo>
                  <a:pt x="17543" y="4130"/>
                  <a:pt x="18018" y="3797"/>
                  <a:pt x="18435" y="3427"/>
                </a:cubicBezTo>
                <a:cubicBezTo>
                  <a:pt x="19673" y="4722"/>
                  <a:pt x="20474" y="6437"/>
                  <a:pt x="20593" y="8342"/>
                </a:cubicBezTo>
                <a:cubicBezTo>
                  <a:pt x="20593" y="8342"/>
                  <a:pt x="17658" y="8342"/>
                  <a:pt x="17658" y="8342"/>
                </a:cubicBezTo>
                <a:close/>
                <a:moveTo>
                  <a:pt x="15485" y="1482"/>
                </a:moveTo>
                <a:cubicBezTo>
                  <a:pt x="16306" y="1786"/>
                  <a:pt x="17058" y="2226"/>
                  <a:pt x="17723" y="2769"/>
                </a:cubicBezTo>
                <a:cubicBezTo>
                  <a:pt x="17412" y="3036"/>
                  <a:pt x="17056" y="3275"/>
                  <a:pt x="16666" y="3486"/>
                </a:cubicBezTo>
                <a:cubicBezTo>
                  <a:pt x="16337" y="2707"/>
                  <a:pt x="15939" y="2026"/>
                  <a:pt x="15485" y="1482"/>
                </a:cubicBezTo>
                <a:moveTo>
                  <a:pt x="12764" y="0"/>
                </a:moveTo>
                <a:cubicBezTo>
                  <a:pt x="9919" y="0"/>
                  <a:pt x="7396" y="1350"/>
                  <a:pt x="5780" y="3437"/>
                </a:cubicBezTo>
                <a:cubicBezTo>
                  <a:pt x="6514" y="3197"/>
                  <a:pt x="7287" y="3044"/>
                  <a:pt x="8086" y="2983"/>
                </a:cubicBezTo>
                <a:cubicBezTo>
                  <a:pt x="7991" y="2912"/>
                  <a:pt x="7892" y="2844"/>
                  <a:pt x="7804" y="2769"/>
                </a:cubicBezTo>
                <a:cubicBezTo>
                  <a:pt x="8469" y="2226"/>
                  <a:pt x="9222" y="1786"/>
                  <a:pt x="10042" y="1482"/>
                </a:cubicBezTo>
                <a:cubicBezTo>
                  <a:pt x="9694" y="1899"/>
                  <a:pt x="9380" y="2398"/>
                  <a:pt x="9104" y="2959"/>
                </a:cubicBezTo>
                <a:cubicBezTo>
                  <a:pt x="9451" y="2968"/>
                  <a:pt x="9793" y="2996"/>
                  <a:pt x="10131" y="3040"/>
                </a:cubicBezTo>
                <a:cubicBezTo>
                  <a:pt x="10712" y="1983"/>
                  <a:pt x="11449" y="1263"/>
                  <a:pt x="12269" y="1056"/>
                </a:cubicBezTo>
                <a:lnTo>
                  <a:pt x="12269" y="3575"/>
                </a:lnTo>
                <a:cubicBezTo>
                  <a:pt x="12608" y="3701"/>
                  <a:pt x="12938" y="3844"/>
                  <a:pt x="13258" y="4006"/>
                </a:cubicBezTo>
                <a:lnTo>
                  <a:pt x="13258" y="1056"/>
                </a:lnTo>
                <a:cubicBezTo>
                  <a:pt x="14282" y="1315"/>
                  <a:pt x="15181" y="2363"/>
                  <a:pt x="15801" y="3883"/>
                </a:cubicBezTo>
                <a:cubicBezTo>
                  <a:pt x="15207" y="4107"/>
                  <a:pt x="14555" y="4261"/>
                  <a:pt x="13865" y="4342"/>
                </a:cubicBezTo>
                <a:cubicBezTo>
                  <a:pt x="14263" y="4581"/>
                  <a:pt x="14647" y="4840"/>
                  <a:pt x="15006" y="5131"/>
                </a:cubicBezTo>
                <a:cubicBezTo>
                  <a:pt x="15391" y="5041"/>
                  <a:pt x="15767" y="4935"/>
                  <a:pt x="16122" y="4801"/>
                </a:cubicBezTo>
                <a:cubicBezTo>
                  <a:pt x="16296" y="5379"/>
                  <a:pt x="16430" y="6009"/>
                  <a:pt x="16526" y="6670"/>
                </a:cubicBezTo>
                <a:cubicBezTo>
                  <a:pt x="17157" y="7466"/>
                  <a:pt x="17663" y="8363"/>
                  <a:pt x="18025" y="9331"/>
                </a:cubicBezTo>
                <a:lnTo>
                  <a:pt x="20593" y="9331"/>
                </a:lnTo>
                <a:cubicBezTo>
                  <a:pt x="20478" y="11173"/>
                  <a:pt x="19721" y="12834"/>
                  <a:pt x="18551" y="14114"/>
                </a:cubicBezTo>
                <a:cubicBezTo>
                  <a:pt x="18470" y="14700"/>
                  <a:pt x="18342" y="15272"/>
                  <a:pt x="18163" y="15821"/>
                </a:cubicBezTo>
                <a:cubicBezTo>
                  <a:pt x="20250" y="14204"/>
                  <a:pt x="21600" y="11681"/>
                  <a:pt x="21600" y="8836"/>
                </a:cubicBezTo>
                <a:cubicBezTo>
                  <a:pt x="21600" y="3956"/>
                  <a:pt x="17644" y="0"/>
                  <a:pt x="12764" y="0"/>
                </a:cubicBezTo>
                <a:moveTo>
                  <a:pt x="13731" y="12269"/>
                </a:moveTo>
                <a:cubicBezTo>
                  <a:pt x="13687" y="10842"/>
                  <a:pt x="13456" y="9504"/>
                  <a:pt x="13081" y="8335"/>
                </a:cubicBezTo>
                <a:cubicBezTo>
                  <a:pt x="13616" y="8057"/>
                  <a:pt x="14091" y="7725"/>
                  <a:pt x="14507" y="7354"/>
                </a:cubicBezTo>
                <a:cubicBezTo>
                  <a:pt x="15746" y="8649"/>
                  <a:pt x="16547" y="10365"/>
                  <a:pt x="16666" y="12269"/>
                </a:cubicBezTo>
                <a:cubicBezTo>
                  <a:pt x="16666" y="12269"/>
                  <a:pt x="13731" y="12269"/>
                  <a:pt x="13731" y="12269"/>
                </a:cubicBezTo>
                <a:close/>
                <a:moveTo>
                  <a:pt x="14507" y="18173"/>
                </a:moveTo>
                <a:cubicBezTo>
                  <a:pt x="14091" y="17803"/>
                  <a:pt x="13616" y="17470"/>
                  <a:pt x="13081" y="17192"/>
                </a:cubicBezTo>
                <a:cubicBezTo>
                  <a:pt x="13456" y="16024"/>
                  <a:pt x="13687" y="14686"/>
                  <a:pt x="13731" y="13258"/>
                </a:cubicBezTo>
                <a:lnTo>
                  <a:pt x="16666" y="13258"/>
                </a:lnTo>
                <a:cubicBezTo>
                  <a:pt x="16547" y="15163"/>
                  <a:pt x="15746" y="16878"/>
                  <a:pt x="14507" y="18173"/>
                </a:cubicBezTo>
                <a:moveTo>
                  <a:pt x="11558" y="20118"/>
                </a:moveTo>
                <a:cubicBezTo>
                  <a:pt x="12012" y="19574"/>
                  <a:pt x="12409" y="18893"/>
                  <a:pt x="12738" y="18114"/>
                </a:cubicBezTo>
                <a:cubicBezTo>
                  <a:pt x="13129" y="18325"/>
                  <a:pt x="13485" y="18564"/>
                  <a:pt x="13796" y="18831"/>
                </a:cubicBezTo>
                <a:cubicBezTo>
                  <a:pt x="13131" y="19374"/>
                  <a:pt x="12378" y="19814"/>
                  <a:pt x="11558" y="20118"/>
                </a:cubicBezTo>
                <a:moveTo>
                  <a:pt x="9331" y="20544"/>
                </a:moveTo>
                <a:lnTo>
                  <a:pt x="9331" y="17204"/>
                </a:lnTo>
                <a:cubicBezTo>
                  <a:pt x="10246" y="17253"/>
                  <a:pt x="11108" y="17428"/>
                  <a:pt x="11874" y="17717"/>
                </a:cubicBezTo>
                <a:cubicBezTo>
                  <a:pt x="11254" y="19237"/>
                  <a:pt x="10355" y="20286"/>
                  <a:pt x="9331" y="20544"/>
                </a:cubicBezTo>
                <a:moveTo>
                  <a:pt x="9331" y="13258"/>
                </a:moveTo>
                <a:lnTo>
                  <a:pt x="12749" y="13258"/>
                </a:lnTo>
                <a:cubicBezTo>
                  <a:pt x="12709" y="14550"/>
                  <a:pt x="12510" y="15752"/>
                  <a:pt x="12195" y="16799"/>
                </a:cubicBezTo>
                <a:cubicBezTo>
                  <a:pt x="11327" y="16471"/>
                  <a:pt x="10357" y="16273"/>
                  <a:pt x="9331" y="16223"/>
                </a:cubicBezTo>
                <a:cubicBezTo>
                  <a:pt x="9331" y="16223"/>
                  <a:pt x="9331" y="13258"/>
                  <a:pt x="9331" y="13258"/>
                </a:cubicBezTo>
                <a:close/>
                <a:moveTo>
                  <a:pt x="9331" y="9305"/>
                </a:moveTo>
                <a:cubicBezTo>
                  <a:pt x="10357" y="9254"/>
                  <a:pt x="11327" y="9056"/>
                  <a:pt x="12195" y="8728"/>
                </a:cubicBezTo>
                <a:cubicBezTo>
                  <a:pt x="12510" y="9775"/>
                  <a:pt x="12709" y="10977"/>
                  <a:pt x="12749" y="12269"/>
                </a:cubicBezTo>
                <a:lnTo>
                  <a:pt x="9331" y="12269"/>
                </a:lnTo>
                <a:cubicBezTo>
                  <a:pt x="9331" y="12269"/>
                  <a:pt x="9331" y="9305"/>
                  <a:pt x="9331" y="9305"/>
                </a:cubicBezTo>
                <a:close/>
                <a:moveTo>
                  <a:pt x="9331" y="4983"/>
                </a:moveTo>
                <a:cubicBezTo>
                  <a:pt x="10355" y="5242"/>
                  <a:pt x="11254" y="6290"/>
                  <a:pt x="11874" y="7810"/>
                </a:cubicBezTo>
                <a:cubicBezTo>
                  <a:pt x="11108" y="8099"/>
                  <a:pt x="10246" y="8275"/>
                  <a:pt x="9331" y="8323"/>
                </a:cubicBezTo>
                <a:cubicBezTo>
                  <a:pt x="9331" y="8323"/>
                  <a:pt x="9331" y="4983"/>
                  <a:pt x="9331" y="4983"/>
                </a:cubicBezTo>
                <a:close/>
                <a:moveTo>
                  <a:pt x="13796" y="6696"/>
                </a:moveTo>
                <a:cubicBezTo>
                  <a:pt x="13485" y="6963"/>
                  <a:pt x="13129" y="7203"/>
                  <a:pt x="12738" y="7413"/>
                </a:cubicBezTo>
                <a:cubicBezTo>
                  <a:pt x="12409" y="6634"/>
                  <a:pt x="12012" y="5954"/>
                  <a:pt x="11557" y="5410"/>
                </a:cubicBezTo>
                <a:cubicBezTo>
                  <a:pt x="12378" y="5714"/>
                  <a:pt x="13131" y="6153"/>
                  <a:pt x="13796" y="6696"/>
                </a:cubicBezTo>
                <a:moveTo>
                  <a:pt x="8342" y="8323"/>
                </a:moveTo>
                <a:cubicBezTo>
                  <a:pt x="7427" y="8275"/>
                  <a:pt x="6564" y="8099"/>
                  <a:pt x="5799" y="7810"/>
                </a:cubicBezTo>
                <a:cubicBezTo>
                  <a:pt x="6419" y="6290"/>
                  <a:pt x="7318" y="5242"/>
                  <a:pt x="8342" y="4983"/>
                </a:cubicBezTo>
                <a:cubicBezTo>
                  <a:pt x="8342" y="4983"/>
                  <a:pt x="8342" y="8323"/>
                  <a:pt x="8342" y="8323"/>
                </a:cubicBezTo>
                <a:close/>
                <a:moveTo>
                  <a:pt x="8342" y="12269"/>
                </a:moveTo>
                <a:lnTo>
                  <a:pt x="4923" y="12269"/>
                </a:lnTo>
                <a:cubicBezTo>
                  <a:pt x="4964" y="10977"/>
                  <a:pt x="5163" y="9775"/>
                  <a:pt x="5478" y="8728"/>
                </a:cubicBezTo>
                <a:cubicBezTo>
                  <a:pt x="6346" y="9056"/>
                  <a:pt x="7316" y="9254"/>
                  <a:pt x="8342" y="9305"/>
                </a:cubicBezTo>
                <a:cubicBezTo>
                  <a:pt x="8342" y="9305"/>
                  <a:pt x="8342" y="12269"/>
                  <a:pt x="8342" y="12269"/>
                </a:cubicBezTo>
                <a:close/>
                <a:moveTo>
                  <a:pt x="8342" y="16223"/>
                </a:moveTo>
                <a:cubicBezTo>
                  <a:pt x="7316" y="16273"/>
                  <a:pt x="6346" y="16471"/>
                  <a:pt x="5478" y="16799"/>
                </a:cubicBezTo>
                <a:cubicBezTo>
                  <a:pt x="5163" y="15752"/>
                  <a:pt x="4964" y="14550"/>
                  <a:pt x="4923" y="13258"/>
                </a:cubicBezTo>
                <a:lnTo>
                  <a:pt x="8342" y="13258"/>
                </a:lnTo>
                <a:cubicBezTo>
                  <a:pt x="8342" y="13258"/>
                  <a:pt x="8342" y="16223"/>
                  <a:pt x="8342" y="16223"/>
                </a:cubicBezTo>
                <a:close/>
                <a:moveTo>
                  <a:pt x="8342" y="20544"/>
                </a:moveTo>
                <a:cubicBezTo>
                  <a:pt x="7318" y="20286"/>
                  <a:pt x="6419" y="19237"/>
                  <a:pt x="5799" y="17717"/>
                </a:cubicBezTo>
                <a:cubicBezTo>
                  <a:pt x="6564" y="17428"/>
                  <a:pt x="7427" y="17253"/>
                  <a:pt x="8342" y="17204"/>
                </a:cubicBezTo>
                <a:cubicBezTo>
                  <a:pt x="8342" y="17204"/>
                  <a:pt x="8342" y="20544"/>
                  <a:pt x="8342" y="20544"/>
                </a:cubicBezTo>
                <a:close/>
                <a:moveTo>
                  <a:pt x="3877" y="18831"/>
                </a:moveTo>
                <a:cubicBezTo>
                  <a:pt x="4188" y="18564"/>
                  <a:pt x="4544" y="18325"/>
                  <a:pt x="4935" y="18114"/>
                </a:cubicBezTo>
                <a:cubicBezTo>
                  <a:pt x="5264" y="18893"/>
                  <a:pt x="5661" y="19574"/>
                  <a:pt x="6115" y="20118"/>
                </a:cubicBezTo>
                <a:cubicBezTo>
                  <a:pt x="5295" y="19814"/>
                  <a:pt x="4541" y="19374"/>
                  <a:pt x="3877" y="18831"/>
                </a:cubicBezTo>
                <a:moveTo>
                  <a:pt x="1007" y="13258"/>
                </a:moveTo>
                <a:lnTo>
                  <a:pt x="3942" y="13258"/>
                </a:lnTo>
                <a:cubicBezTo>
                  <a:pt x="3986" y="14686"/>
                  <a:pt x="4217" y="16024"/>
                  <a:pt x="4591" y="17192"/>
                </a:cubicBezTo>
                <a:cubicBezTo>
                  <a:pt x="4057" y="17470"/>
                  <a:pt x="3582" y="17803"/>
                  <a:pt x="3166" y="18173"/>
                </a:cubicBezTo>
                <a:cubicBezTo>
                  <a:pt x="1927" y="16878"/>
                  <a:pt x="1126" y="15163"/>
                  <a:pt x="1007" y="13258"/>
                </a:cubicBezTo>
                <a:moveTo>
                  <a:pt x="3166" y="7354"/>
                </a:moveTo>
                <a:cubicBezTo>
                  <a:pt x="3582" y="7725"/>
                  <a:pt x="4057" y="8057"/>
                  <a:pt x="4591" y="8335"/>
                </a:cubicBezTo>
                <a:cubicBezTo>
                  <a:pt x="4217" y="9504"/>
                  <a:pt x="3986" y="10842"/>
                  <a:pt x="3942" y="12269"/>
                </a:cubicBezTo>
                <a:lnTo>
                  <a:pt x="1007" y="12269"/>
                </a:lnTo>
                <a:cubicBezTo>
                  <a:pt x="1126" y="10365"/>
                  <a:pt x="1927" y="8649"/>
                  <a:pt x="3166" y="7354"/>
                </a:cubicBezTo>
                <a:moveTo>
                  <a:pt x="6115" y="5410"/>
                </a:moveTo>
                <a:cubicBezTo>
                  <a:pt x="5661" y="5954"/>
                  <a:pt x="5264" y="6634"/>
                  <a:pt x="4935" y="7413"/>
                </a:cubicBezTo>
                <a:cubicBezTo>
                  <a:pt x="4544" y="7203"/>
                  <a:pt x="4188" y="6963"/>
                  <a:pt x="3877" y="6696"/>
                </a:cubicBezTo>
                <a:cubicBezTo>
                  <a:pt x="4542" y="6153"/>
                  <a:pt x="5295" y="5714"/>
                  <a:pt x="6115" y="5410"/>
                </a:cubicBezTo>
                <a:moveTo>
                  <a:pt x="8836" y="3927"/>
                </a:moveTo>
                <a:cubicBezTo>
                  <a:pt x="3956" y="3927"/>
                  <a:pt x="0" y="7883"/>
                  <a:pt x="0" y="12764"/>
                </a:cubicBezTo>
                <a:cubicBezTo>
                  <a:pt x="0" y="17644"/>
                  <a:pt x="3956" y="21600"/>
                  <a:pt x="8836" y="21600"/>
                </a:cubicBezTo>
                <a:cubicBezTo>
                  <a:pt x="13717" y="21600"/>
                  <a:pt x="17673" y="17644"/>
                  <a:pt x="17673" y="12764"/>
                </a:cubicBezTo>
                <a:cubicBezTo>
                  <a:pt x="17673" y="7883"/>
                  <a:pt x="13717"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6" name="Shape 2946"/>
          <p:cNvSpPr/>
          <p:nvPr/>
        </p:nvSpPr>
        <p:spPr>
          <a:xfrm>
            <a:off x="548856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595" y="9980"/>
                </a:moveTo>
                <a:cubicBezTo>
                  <a:pt x="19587" y="9894"/>
                  <a:pt x="19575" y="9811"/>
                  <a:pt x="19565" y="9726"/>
                </a:cubicBezTo>
                <a:cubicBezTo>
                  <a:pt x="19542" y="9539"/>
                  <a:pt x="19514" y="9355"/>
                  <a:pt x="19480" y="9172"/>
                </a:cubicBezTo>
                <a:cubicBezTo>
                  <a:pt x="19463" y="9078"/>
                  <a:pt x="19444" y="8986"/>
                  <a:pt x="19424" y="8893"/>
                </a:cubicBezTo>
                <a:cubicBezTo>
                  <a:pt x="19384" y="8712"/>
                  <a:pt x="19337" y="8533"/>
                  <a:pt x="19286" y="8356"/>
                </a:cubicBezTo>
                <a:cubicBezTo>
                  <a:pt x="19263" y="8276"/>
                  <a:pt x="19244" y="8195"/>
                  <a:pt x="19218" y="8116"/>
                </a:cubicBezTo>
                <a:cubicBezTo>
                  <a:pt x="19143" y="7879"/>
                  <a:pt x="19057" y="7646"/>
                  <a:pt x="18963" y="7418"/>
                </a:cubicBezTo>
                <a:cubicBezTo>
                  <a:pt x="18923" y="7321"/>
                  <a:pt x="18876" y="7229"/>
                  <a:pt x="18833" y="7134"/>
                </a:cubicBezTo>
                <a:cubicBezTo>
                  <a:pt x="18771" y="6999"/>
                  <a:pt x="18708" y="6865"/>
                  <a:pt x="18640" y="6734"/>
                </a:cubicBezTo>
                <a:cubicBezTo>
                  <a:pt x="18580" y="6618"/>
                  <a:pt x="18516" y="6504"/>
                  <a:pt x="18450" y="6391"/>
                </a:cubicBezTo>
                <a:cubicBezTo>
                  <a:pt x="18392" y="6291"/>
                  <a:pt x="18331" y="6192"/>
                  <a:pt x="18269" y="6094"/>
                </a:cubicBezTo>
                <a:cubicBezTo>
                  <a:pt x="18192" y="5971"/>
                  <a:pt x="18114" y="5849"/>
                  <a:pt x="18031" y="5731"/>
                </a:cubicBezTo>
                <a:cubicBezTo>
                  <a:pt x="17986"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9" y="3252"/>
                  <a:pt x="14680" y="2821"/>
                  <a:pt x="13842" y="2513"/>
                </a:cubicBezTo>
                <a:cubicBezTo>
                  <a:pt x="13592" y="2912"/>
                  <a:pt x="13337" y="3420"/>
                  <a:pt x="13040" y="3590"/>
                </a:cubicBezTo>
                <a:cubicBezTo>
                  <a:pt x="12610" y="3835"/>
                  <a:pt x="12641" y="4817"/>
                  <a:pt x="13469" y="4725"/>
                </a:cubicBezTo>
                <a:cubicBezTo>
                  <a:pt x="13469" y="4725"/>
                  <a:pt x="13224" y="4970"/>
                  <a:pt x="13469" y="5860"/>
                </a:cubicBezTo>
                <a:cubicBezTo>
                  <a:pt x="13715" y="6750"/>
                  <a:pt x="14126" y="6943"/>
                  <a:pt x="15341" y="6443"/>
                </a:cubicBezTo>
                <a:cubicBezTo>
                  <a:pt x="15862" y="6228"/>
                  <a:pt x="16258" y="6340"/>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1" y="13153"/>
                  <a:pt x="19380" y="12917"/>
                  <a:pt x="19432" y="12677"/>
                </a:cubicBezTo>
                <a:cubicBezTo>
                  <a:pt x="19452" y="12587"/>
                  <a:pt x="19467" y="12494"/>
                  <a:pt x="19484" y="12402"/>
                </a:cubicBezTo>
                <a:cubicBezTo>
                  <a:pt x="19517" y="12224"/>
                  <a:pt x="19545" y="12044"/>
                  <a:pt x="19566" y="11862"/>
                </a:cubicBezTo>
                <a:cubicBezTo>
                  <a:pt x="19576" y="11776"/>
                  <a:pt x="19588" y="11691"/>
                  <a:pt x="19596" y="11604"/>
                </a:cubicBezTo>
                <a:cubicBezTo>
                  <a:pt x="19620" y="11340"/>
                  <a:pt x="19636" y="11072"/>
                  <a:pt x="19636" y="10800"/>
                </a:cubicBezTo>
                <a:cubicBezTo>
                  <a:pt x="19636" y="10523"/>
                  <a:pt x="19620" y="10250"/>
                  <a:pt x="19595" y="9980"/>
                </a:cubicBezTo>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8" y="5277"/>
                </a:cubicBezTo>
                <a:cubicBezTo>
                  <a:pt x="6373" y="5176"/>
                  <a:pt x="5613" y="4605"/>
                  <a:pt x="5110" y="4044"/>
                </a:cubicBezTo>
                <a:cubicBezTo>
                  <a:pt x="4094" y="4900"/>
                  <a:pt x="3277" y="5982"/>
                  <a:pt x="2729" y="7212"/>
                </a:cubicBezTo>
                <a:cubicBezTo>
                  <a:pt x="2875" y="8862"/>
                  <a:pt x="3774" y="9726"/>
                  <a:pt x="3774" y="9726"/>
                </a:cubicBezTo>
                <a:cubicBezTo>
                  <a:pt x="3774" y="9726"/>
                  <a:pt x="4234" y="10800"/>
                  <a:pt x="6995" y="12119"/>
                </a:cubicBezTo>
                <a:cubicBezTo>
                  <a:pt x="6995" y="12119"/>
                  <a:pt x="7517" y="12150"/>
                  <a:pt x="6903" y="11536"/>
                </a:cubicBezTo>
                <a:cubicBezTo>
                  <a:pt x="6290" y="10923"/>
                  <a:pt x="5615" y="10156"/>
                  <a:pt x="6382" y="9757"/>
                </a:cubicBezTo>
                <a:cubicBezTo>
                  <a:pt x="7149" y="9358"/>
                  <a:pt x="7364" y="9389"/>
                  <a:pt x="7548" y="10125"/>
                </a:cubicBezTo>
                <a:cubicBezTo>
                  <a:pt x="7732" y="10861"/>
                  <a:pt x="8345" y="10432"/>
                  <a:pt x="8407" y="9726"/>
                </a:cubicBezTo>
                <a:moveTo>
                  <a:pt x="16246" y="12871"/>
                </a:moveTo>
                <a:cubicBezTo>
                  <a:pt x="15893" y="13086"/>
                  <a:pt x="15908" y="13561"/>
                  <a:pt x="16200" y="13822"/>
                </a:cubicBezTo>
                <a:cubicBezTo>
                  <a:pt x="16491" y="14083"/>
                  <a:pt x="17074" y="14420"/>
                  <a:pt x="17258" y="13822"/>
                </a:cubicBezTo>
                <a:cubicBezTo>
                  <a:pt x="17442" y="13224"/>
                  <a:pt x="16599" y="12656"/>
                  <a:pt x="16246" y="12871"/>
                </a:cubicBezTo>
                <a:moveTo>
                  <a:pt x="12027" y="12948"/>
                </a:moveTo>
                <a:cubicBezTo>
                  <a:pt x="10984" y="12058"/>
                  <a:pt x="11107" y="11659"/>
                  <a:pt x="9787" y="11659"/>
                </a:cubicBezTo>
                <a:cubicBezTo>
                  <a:pt x="8468" y="11659"/>
                  <a:pt x="7640" y="11966"/>
                  <a:pt x="7977" y="13807"/>
                </a:cubicBezTo>
                <a:cubicBezTo>
                  <a:pt x="8315" y="15648"/>
                  <a:pt x="9296" y="14819"/>
                  <a:pt x="9205" y="16231"/>
                </a:cubicBezTo>
                <a:cubicBezTo>
                  <a:pt x="9112" y="17642"/>
                  <a:pt x="9450" y="17949"/>
                  <a:pt x="9665" y="18286"/>
                </a:cubicBezTo>
                <a:cubicBezTo>
                  <a:pt x="9880" y="18624"/>
                  <a:pt x="10524" y="19606"/>
                  <a:pt x="10769" y="18225"/>
                </a:cubicBezTo>
                <a:cubicBezTo>
                  <a:pt x="11015" y="16844"/>
                  <a:pt x="11475" y="16077"/>
                  <a:pt x="11996" y="15402"/>
                </a:cubicBezTo>
                <a:cubicBezTo>
                  <a:pt x="12518" y="14727"/>
                  <a:pt x="13070" y="13837"/>
                  <a:pt x="12027" y="12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7" name="Shape 2947"/>
          <p:cNvSpPr/>
          <p:nvPr/>
        </p:nvSpPr>
        <p:spPr>
          <a:xfrm>
            <a:off x="588850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367" y="17673"/>
                </a:moveTo>
                <a:lnTo>
                  <a:pt x="20127" y="17673"/>
                </a:lnTo>
                <a:cubicBezTo>
                  <a:pt x="20398" y="17673"/>
                  <a:pt x="20618" y="17453"/>
                  <a:pt x="20618" y="17182"/>
                </a:cubicBezTo>
                <a:cubicBezTo>
                  <a:pt x="20618" y="16910"/>
                  <a:pt x="20398" y="16691"/>
                  <a:pt x="20127" y="16691"/>
                </a:cubicBezTo>
                <a:lnTo>
                  <a:pt x="17182" y="16691"/>
                </a:lnTo>
                <a:cubicBezTo>
                  <a:pt x="16911" y="16691"/>
                  <a:pt x="16691" y="16910"/>
                  <a:pt x="16691" y="17182"/>
                </a:cubicBezTo>
                <a:lnTo>
                  <a:pt x="16691" y="20127"/>
                </a:lnTo>
                <a:cubicBezTo>
                  <a:pt x="16691" y="20399"/>
                  <a:pt x="16911" y="20618"/>
                  <a:pt x="17182" y="20618"/>
                </a:cubicBezTo>
                <a:cubicBezTo>
                  <a:pt x="17453" y="20618"/>
                  <a:pt x="17673" y="20399"/>
                  <a:pt x="17673" y="20127"/>
                </a:cubicBezTo>
                <a:lnTo>
                  <a:pt x="17673" y="18367"/>
                </a:lnTo>
                <a:lnTo>
                  <a:pt x="20762" y="21456"/>
                </a:lnTo>
                <a:cubicBezTo>
                  <a:pt x="20851" y="21545"/>
                  <a:pt x="20974" y="21600"/>
                  <a:pt x="21109" y="21600"/>
                </a:cubicBezTo>
                <a:cubicBezTo>
                  <a:pt x="21380" y="21600"/>
                  <a:pt x="21600" y="21380"/>
                  <a:pt x="21600" y="21109"/>
                </a:cubicBezTo>
                <a:cubicBezTo>
                  <a:pt x="21600" y="20974"/>
                  <a:pt x="21545" y="20851"/>
                  <a:pt x="21456" y="20762"/>
                </a:cubicBezTo>
                <a:cubicBezTo>
                  <a:pt x="21456" y="20762"/>
                  <a:pt x="18367" y="17673"/>
                  <a:pt x="18367" y="17673"/>
                </a:cubicBezTo>
                <a:close/>
                <a:moveTo>
                  <a:pt x="4418" y="16691"/>
                </a:moveTo>
                <a:lnTo>
                  <a:pt x="1473" y="16691"/>
                </a:lnTo>
                <a:cubicBezTo>
                  <a:pt x="1202" y="16691"/>
                  <a:pt x="982" y="16910"/>
                  <a:pt x="982" y="17182"/>
                </a:cubicBezTo>
                <a:cubicBezTo>
                  <a:pt x="982" y="17453"/>
                  <a:pt x="1202" y="17673"/>
                  <a:pt x="1473" y="17673"/>
                </a:cubicBezTo>
                <a:lnTo>
                  <a:pt x="3233" y="17673"/>
                </a:lnTo>
                <a:lnTo>
                  <a:pt x="144" y="20762"/>
                </a:lnTo>
                <a:cubicBezTo>
                  <a:pt x="55" y="20851"/>
                  <a:pt x="0" y="20974"/>
                  <a:pt x="0" y="21109"/>
                </a:cubicBezTo>
                <a:cubicBezTo>
                  <a:pt x="0" y="21380"/>
                  <a:pt x="220" y="21600"/>
                  <a:pt x="491" y="21600"/>
                </a:cubicBezTo>
                <a:cubicBezTo>
                  <a:pt x="626" y="21600"/>
                  <a:pt x="749" y="21545"/>
                  <a:pt x="838" y="21456"/>
                </a:cubicBezTo>
                <a:lnTo>
                  <a:pt x="3927" y="18367"/>
                </a:lnTo>
                <a:lnTo>
                  <a:pt x="3927" y="20127"/>
                </a:lnTo>
                <a:cubicBezTo>
                  <a:pt x="3927" y="20399"/>
                  <a:pt x="4147" y="20618"/>
                  <a:pt x="4418" y="20618"/>
                </a:cubicBezTo>
                <a:cubicBezTo>
                  <a:pt x="4689" y="20618"/>
                  <a:pt x="4909" y="20399"/>
                  <a:pt x="4909" y="20127"/>
                </a:cubicBezTo>
                <a:lnTo>
                  <a:pt x="4909" y="17182"/>
                </a:lnTo>
                <a:cubicBezTo>
                  <a:pt x="4909" y="16910"/>
                  <a:pt x="4689" y="16691"/>
                  <a:pt x="4418" y="16691"/>
                </a:cubicBezTo>
                <a:moveTo>
                  <a:pt x="14578" y="13923"/>
                </a:moveTo>
                <a:cubicBezTo>
                  <a:pt x="14366" y="13756"/>
                  <a:pt x="14123" y="13606"/>
                  <a:pt x="13863" y="13470"/>
                </a:cubicBezTo>
                <a:cubicBezTo>
                  <a:pt x="14060" y="12810"/>
                  <a:pt x="14189" y="12080"/>
                  <a:pt x="14228" y="11304"/>
                </a:cubicBezTo>
                <a:lnTo>
                  <a:pt x="15676" y="11304"/>
                </a:lnTo>
                <a:cubicBezTo>
                  <a:pt x="15574" y="12295"/>
                  <a:pt x="15177" y="13195"/>
                  <a:pt x="14578" y="13923"/>
                </a:cubicBezTo>
                <a:moveTo>
                  <a:pt x="13136" y="15120"/>
                </a:moveTo>
                <a:cubicBezTo>
                  <a:pt x="13280" y="14892"/>
                  <a:pt x="13410" y="14641"/>
                  <a:pt x="13529" y="14374"/>
                </a:cubicBezTo>
                <a:cubicBezTo>
                  <a:pt x="13660" y="14445"/>
                  <a:pt x="13781" y="14521"/>
                  <a:pt x="13893" y="14602"/>
                </a:cubicBezTo>
                <a:cubicBezTo>
                  <a:pt x="13656" y="14795"/>
                  <a:pt x="13407" y="14973"/>
                  <a:pt x="13136" y="15120"/>
                </a:cubicBezTo>
                <a:moveTo>
                  <a:pt x="11304" y="12785"/>
                </a:moveTo>
                <a:lnTo>
                  <a:pt x="11304" y="11304"/>
                </a:lnTo>
                <a:lnTo>
                  <a:pt x="13226" y="11304"/>
                </a:lnTo>
                <a:cubicBezTo>
                  <a:pt x="13193" y="11948"/>
                  <a:pt x="13093" y="12547"/>
                  <a:pt x="12949" y="13093"/>
                </a:cubicBezTo>
                <a:cubicBezTo>
                  <a:pt x="12443" y="12931"/>
                  <a:pt x="11890" y="12824"/>
                  <a:pt x="11304" y="12785"/>
                </a:cubicBezTo>
                <a:moveTo>
                  <a:pt x="11304" y="15605"/>
                </a:moveTo>
                <a:lnTo>
                  <a:pt x="11304" y="13766"/>
                </a:lnTo>
                <a:cubicBezTo>
                  <a:pt x="11784" y="13800"/>
                  <a:pt x="12233" y="13886"/>
                  <a:pt x="12642" y="14009"/>
                </a:cubicBezTo>
                <a:cubicBezTo>
                  <a:pt x="12301" y="14805"/>
                  <a:pt x="11837" y="15382"/>
                  <a:pt x="11304" y="15605"/>
                </a:cubicBezTo>
                <a:moveTo>
                  <a:pt x="11304" y="8815"/>
                </a:moveTo>
                <a:cubicBezTo>
                  <a:pt x="11890" y="8776"/>
                  <a:pt x="12443" y="8669"/>
                  <a:pt x="12949" y="8507"/>
                </a:cubicBezTo>
                <a:cubicBezTo>
                  <a:pt x="13093" y="9053"/>
                  <a:pt x="13193" y="9652"/>
                  <a:pt x="13226" y="10297"/>
                </a:cubicBezTo>
                <a:lnTo>
                  <a:pt x="11304" y="10297"/>
                </a:lnTo>
                <a:cubicBezTo>
                  <a:pt x="11304" y="10297"/>
                  <a:pt x="11304" y="8815"/>
                  <a:pt x="11304" y="8815"/>
                </a:cubicBezTo>
                <a:close/>
                <a:moveTo>
                  <a:pt x="11304" y="5995"/>
                </a:moveTo>
                <a:cubicBezTo>
                  <a:pt x="11837" y="6218"/>
                  <a:pt x="12301" y="6795"/>
                  <a:pt x="12642" y="7591"/>
                </a:cubicBezTo>
                <a:cubicBezTo>
                  <a:pt x="12233" y="7714"/>
                  <a:pt x="11784" y="7800"/>
                  <a:pt x="11304" y="7835"/>
                </a:cubicBezTo>
                <a:cubicBezTo>
                  <a:pt x="11304" y="7835"/>
                  <a:pt x="11304" y="5995"/>
                  <a:pt x="11304" y="5995"/>
                </a:cubicBezTo>
                <a:close/>
                <a:moveTo>
                  <a:pt x="13893" y="6998"/>
                </a:moveTo>
                <a:cubicBezTo>
                  <a:pt x="13781" y="7079"/>
                  <a:pt x="13660" y="7155"/>
                  <a:pt x="13529" y="7227"/>
                </a:cubicBezTo>
                <a:cubicBezTo>
                  <a:pt x="13410" y="6960"/>
                  <a:pt x="13280" y="6708"/>
                  <a:pt x="13136" y="6480"/>
                </a:cubicBezTo>
                <a:cubicBezTo>
                  <a:pt x="13407" y="6627"/>
                  <a:pt x="13656" y="6805"/>
                  <a:pt x="13893" y="6998"/>
                </a:cubicBezTo>
                <a:moveTo>
                  <a:pt x="15676" y="10297"/>
                </a:moveTo>
                <a:lnTo>
                  <a:pt x="14228" y="10297"/>
                </a:lnTo>
                <a:cubicBezTo>
                  <a:pt x="14189" y="9520"/>
                  <a:pt x="14060" y="8790"/>
                  <a:pt x="13863" y="8130"/>
                </a:cubicBezTo>
                <a:cubicBezTo>
                  <a:pt x="14123" y="7994"/>
                  <a:pt x="14366" y="7844"/>
                  <a:pt x="14578" y="7677"/>
                </a:cubicBezTo>
                <a:cubicBezTo>
                  <a:pt x="15177" y="8405"/>
                  <a:pt x="15574" y="9305"/>
                  <a:pt x="15676" y="10297"/>
                </a:cubicBezTo>
                <a:moveTo>
                  <a:pt x="10296" y="7835"/>
                </a:moveTo>
                <a:cubicBezTo>
                  <a:pt x="9816" y="7800"/>
                  <a:pt x="9367" y="7714"/>
                  <a:pt x="8958" y="7591"/>
                </a:cubicBezTo>
                <a:cubicBezTo>
                  <a:pt x="9299" y="6795"/>
                  <a:pt x="9764" y="6218"/>
                  <a:pt x="10296" y="5995"/>
                </a:cubicBezTo>
                <a:cubicBezTo>
                  <a:pt x="10296" y="5995"/>
                  <a:pt x="10296" y="7835"/>
                  <a:pt x="10296" y="7835"/>
                </a:cubicBezTo>
                <a:close/>
                <a:moveTo>
                  <a:pt x="10296" y="10297"/>
                </a:moveTo>
                <a:lnTo>
                  <a:pt x="8374" y="10297"/>
                </a:lnTo>
                <a:cubicBezTo>
                  <a:pt x="8407" y="9652"/>
                  <a:pt x="8507" y="9053"/>
                  <a:pt x="8651" y="8507"/>
                </a:cubicBezTo>
                <a:cubicBezTo>
                  <a:pt x="9158" y="8669"/>
                  <a:pt x="9710" y="8776"/>
                  <a:pt x="10296" y="8815"/>
                </a:cubicBezTo>
                <a:cubicBezTo>
                  <a:pt x="10296" y="8815"/>
                  <a:pt x="10296" y="10297"/>
                  <a:pt x="10296" y="10297"/>
                </a:cubicBezTo>
                <a:close/>
                <a:moveTo>
                  <a:pt x="10296" y="12785"/>
                </a:moveTo>
                <a:cubicBezTo>
                  <a:pt x="9710" y="12824"/>
                  <a:pt x="9158" y="12931"/>
                  <a:pt x="8651" y="13093"/>
                </a:cubicBezTo>
                <a:cubicBezTo>
                  <a:pt x="8507" y="12547"/>
                  <a:pt x="8407" y="11948"/>
                  <a:pt x="8374" y="11304"/>
                </a:cubicBezTo>
                <a:lnTo>
                  <a:pt x="10296" y="11304"/>
                </a:lnTo>
                <a:cubicBezTo>
                  <a:pt x="10296" y="11304"/>
                  <a:pt x="10296" y="12785"/>
                  <a:pt x="10296" y="12785"/>
                </a:cubicBezTo>
                <a:close/>
                <a:moveTo>
                  <a:pt x="10296" y="15605"/>
                </a:moveTo>
                <a:cubicBezTo>
                  <a:pt x="9764" y="15382"/>
                  <a:pt x="9299" y="14805"/>
                  <a:pt x="8958" y="14009"/>
                </a:cubicBezTo>
                <a:cubicBezTo>
                  <a:pt x="9367" y="13886"/>
                  <a:pt x="9816" y="13800"/>
                  <a:pt x="10296" y="13766"/>
                </a:cubicBezTo>
                <a:cubicBezTo>
                  <a:pt x="10296" y="13766"/>
                  <a:pt x="10296" y="15605"/>
                  <a:pt x="10296" y="15605"/>
                </a:cubicBezTo>
                <a:close/>
                <a:moveTo>
                  <a:pt x="7707" y="14602"/>
                </a:moveTo>
                <a:cubicBezTo>
                  <a:pt x="7819" y="14521"/>
                  <a:pt x="7941" y="14445"/>
                  <a:pt x="8071" y="14374"/>
                </a:cubicBezTo>
                <a:cubicBezTo>
                  <a:pt x="8190" y="14641"/>
                  <a:pt x="8321" y="14892"/>
                  <a:pt x="8464" y="15120"/>
                </a:cubicBezTo>
                <a:cubicBezTo>
                  <a:pt x="8193" y="14973"/>
                  <a:pt x="7944" y="14795"/>
                  <a:pt x="7707" y="14602"/>
                </a:cubicBezTo>
                <a:moveTo>
                  <a:pt x="5925" y="11304"/>
                </a:moveTo>
                <a:lnTo>
                  <a:pt x="7372" y="11304"/>
                </a:lnTo>
                <a:cubicBezTo>
                  <a:pt x="7411" y="12080"/>
                  <a:pt x="7540" y="12810"/>
                  <a:pt x="7737" y="13470"/>
                </a:cubicBezTo>
                <a:cubicBezTo>
                  <a:pt x="7477" y="13606"/>
                  <a:pt x="7235" y="13756"/>
                  <a:pt x="7022" y="13923"/>
                </a:cubicBezTo>
                <a:cubicBezTo>
                  <a:pt x="6423" y="13195"/>
                  <a:pt x="6026" y="12295"/>
                  <a:pt x="5925" y="11304"/>
                </a:cubicBezTo>
                <a:moveTo>
                  <a:pt x="7022" y="7677"/>
                </a:moveTo>
                <a:cubicBezTo>
                  <a:pt x="7235" y="7844"/>
                  <a:pt x="7477" y="7994"/>
                  <a:pt x="7737" y="8130"/>
                </a:cubicBezTo>
                <a:cubicBezTo>
                  <a:pt x="7540" y="8790"/>
                  <a:pt x="7411" y="9520"/>
                  <a:pt x="7372" y="10297"/>
                </a:cubicBezTo>
                <a:lnTo>
                  <a:pt x="5925" y="10297"/>
                </a:lnTo>
                <a:cubicBezTo>
                  <a:pt x="6026" y="9305"/>
                  <a:pt x="6423" y="8405"/>
                  <a:pt x="7022" y="7677"/>
                </a:cubicBezTo>
                <a:moveTo>
                  <a:pt x="8464" y="6480"/>
                </a:moveTo>
                <a:cubicBezTo>
                  <a:pt x="8321" y="6708"/>
                  <a:pt x="8190" y="6960"/>
                  <a:pt x="8071" y="7227"/>
                </a:cubicBezTo>
                <a:cubicBezTo>
                  <a:pt x="7941" y="7155"/>
                  <a:pt x="7819" y="7079"/>
                  <a:pt x="7707" y="6998"/>
                </a:cubicBezTo>
                <a:cubicBezTo>
                  <a:pt x="7944" y="6805"/>
                  <a:pt x="8193" y="6627"/>
                  <a:pt x="8464" y="6480"/>
                </a:cubicBezTo>
                <a:moveTo>
                  <a:pt x="10800" y="4909"/>
                </a:moveTo>
                <a:cubicBezTo>
                  <a:pt x="7546" y="4909"/>
                  <a:pt x="4909" y="7546"/>
                  <a:pt x="4909" y="10800"/>
                </a:cubicBezTo>
                <a:cubicBezTo>
                  <a:pt x="4909" y="14053"/>
                  <a:pt x="7546" y="16691"/>
                  <a:pt x="10800" y="16691"/>
                </a:cubicBezTo>
                <a:cubicBezTo>
                  <a:pt x="14053" y="16691"/>
                  <a:pt x="16691" y="14053"/>
                  <a:pt x="16691" y="10800"/>
                </a:cubicBezTo>
                <a:cubicBezTo>
                  <a:pt x="16691" y="7546"/>
                  <a:pt x="14053" y="4909"/>
                  <a:pt x="10800" y="4909"/>
                </a:cubicBezTo>
                <a:moveTo>
                  <a:pt x="3233" y="3927"/>
                </a:moveTo>
                <a:lnTo>
                  <a:pt x="1473" y="3927"/>
                </a:lnTo>
                <a:cubicBezTo>
                  <a:pt x="1202" y="3927"/>
                  <a:pt x="982" y="4147"/>
                  <a:pt x="982" y="4418"/>
                </a:cubicBezTo>
                <a:cubicBezTo>
                  <a:pt x="982" y="4690"/>
                  <a:pt x="1202" y="4909"/>
                  <a:pt x="1473" y="4909"/>
                </a:cubicBezTo>
                <a:lnTo>
                  <a:pt x="4418" y="4909"/>
                </a:lnTo>
                <a:cubicBezTo>
                  <a:pt x="4689" y="4909"/>
                  <a:pt x="4909" y="4690"/>
                  <a:pt x="4909" y="4418"/>
                </a:cubicBezTo>
                <a:lnTo>
                  <a:pt x="4909" y="1473"/>
                </a:lnTo>
                <a:cubicBezTo>
                  <a:pt x="4909" y="1201"/>
                  <a:pt x="4689" y="982"/>
                  <a:pt x="4418" y="982"/>
                </a:cubicBezTo>
                <a:cubicBezTo>
                  <a:pt x="4147" y="982"/>
                  <a:pt x="3927" y="1201"/>
                  <a:pt x="3927" y="1473"/>
                </a:cubicBezTo>
                <a:lnTo>
                  <a:pt x="3927" y="3233"/>
                </a:lnTo>
                <a:lnTo>
                  <a:pt x="838" y="144"/>
                </a:lnTo>
                <a:cubicBezTo>
                  <a:pt x="749" y="55"/>
                  <a:pt x="626" y="0"/>
                  <a:pt x="491" y="0"/>
                </a:cubicBezTo>
                <a:cubicBezTo>
                  <a:pt x="220" y="0"/>
                  <a:pt x="0" y="220"/>
                  <a:pt x="0" y="491"/>
                </a:cubicBezTo>
                <a:cubicBezTo>
                  <a:pt x="0" y="627"/>
                  <a:pt x="55" y="749"/>
                  <a:pt x="144" y="838"/>
                </a:cubicBezTo>
                <a:cubicBezTo>
                  <a:pt x="144" y="838"/>
                  <a:pt x="3233" y="3927"/>
                  <a:pt x="3233" y="3927"/>
                </a:cubicBezTo>
                <a:close/>
                <a:moveTo>
                  <a:pt x="17182" y="4909"/>
                </a:moveTo>
                <a:lnTo>
                  <a:pt x="20127" y="4909"/>
                </a:lnTo>
                <a:cubicBezTo>
                  <a:pt x="20398" y="4909"/>
                  <a:pt x="20618" y="4690"/>
                  <a:pt x="20618" y="4418"/>
                </a:cubicBezTo>
                <a:cubicBezTo>
                  <a:pt x="20618" y="4147"/>
                  <a:pt x="20398" y="3927"/>
                  <a:pt x="20127" y="3927"/>
                </a:cubicBezTo>
                <a:lnTo>
                  <a:pt x="18367" y="3927"/>
                </a:lnTo>
                <a:lnTo>
                  <a:pt x="21456" y="838"/>
                </a:lnTo>
                <a:cubicBezTo>
                  <a:pt x="21545" y="749"/>
                  <a:pt x="21600" y="627"/>
                  <a:pt x="21600" y="491"/>
                </a:cubicBezTo>
                <a:cubicBezTo>
                  <a:pt x="21600" y="220"/>
                  <a:pt x="21380" y="0"/>
                  <a:pt x="21109" y="0"/>
                </a:cubicBezTo>
                <a:cubicBezTo>
                  <a:pt x="20974" y="0"/>
                  <a:pt x="20851" y="55"/>
                  <a:pt x="20762" y="144"/>
                </a:cubicBezTo>
                <a:lnTo>
                  <a:pt x="17673" y="3233"/>
                </a:lnTo>
                <a:lnTo>
                  <a:pt x="17673" y="1473"/>
                </a:lnTo>
                <a:cubicBezTo>
                  <a:pt x="17673" y="1201"/>
                  <a:pt x="17453" y="982"/>
                  <a:pt x="17182" y="982"/>
                </a:cubicBezTo>
                <a:cubicBezTo>
                  <a:pt x="16911" y="982"/>
                  <a:pt x="16691" y="1201"/>
                  <a:pt x="16691" y="1473"/>
                </a:cubicBezTo>
                <a:lnTo>
                  <a:pt x="16691" y="4418"/>
                </a:lnTo>
                <a:cubicBezTo>
                  <a:pt x="16691" y="4690"/>
                  <a:pt x="16911" y="4909"/>
                  <a:pt x="17182"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8" name="Shape 2948"/>
          <p:cNvSpPr/>
          <p:nvPr/>
        </p:nvSpPr>
        <p:spPr>
          <a:xfrm>
            <a:off x="6317021" y="246700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6275" y="6273"/>
                </a:moveTo>
                <a:cubicBezTo>
                  <a:pt x="6275" y="6273"/>
                  <a:pt x="6661" y="6914"/>
                  <a:pt x="8976" y="7703"/>
                </a:cubicBezTo>
                <a:cubicBezTo>
                  <a:pt x="8976" y="7703"/>
                  <a:pt x="9413" y="7721"/>
                  <a:pt x="8899" y="7354"/>
                </a:cubicBezTo>
                <a:cubicBezTo>
                  <a:pt x="8384" y="6987"/>
                  <a:pt x="7819" y="6529"/>
                  <a:pt x="8462" y="6291"/>
                </a:cubicBezTo>
                <a:cubicBezTo>
                  <a:pt x="9104" y="6052"/>
                  <a:pt x="9285" y="6071"/>
                  <a:pt x="9439" y="6511"/>
                </a:cubicBezTo>
                <a:cubicBezTo>
                  <a:pt x="9594" y="6950"/>
                  <a:pt x="10108" y="6694"/>
                  <a:pt x="10159" y="6273"/>
                </a:cubicBezTo>
                <a:cubicBezTo>
                  <a:pt x="10211" y="5851"/>
                  <a:pt x="11163" y="5411"/>
                  <a:pt x="11806" y="5209"/>
                </a:cubicBezTo>
                <a:cubicBezTo>
                  <a:pt x="12449" y="5007"/>
                  <a:pt x="13040" y="4934"/>
                  <a:pt x="12963" y="4585"/>
                </a:cubicBezTo>
                <a:cubicBezTo>
                  <a:pt x="12886" y="4237"/>
                  <a:pt x="12706" y="3980"/>
                  <a:pt x="11703" y="3980"/>
                </a:cubicBezTo>
                <a:cubicBezTo>
                  <a:pt x="10699" y="3980"/>
                  <a:pt x="11137" y="4934"/>
                  <a:pt x="10314" y="4365"/>
                </a:cubicBezTo>
                <a:cubicBezTo>
                  <a:pt x="9491" y="3797"/>
                  <a:pt x="10493" y="3944"/>
                  <a:pt x="10905" y="3816"/>
                </a:cubicBezTo>
                <a:cubicBezTo>
                  <a:pt x="11317" y="3687"/>
                  <a:pt x="11729" y="3155"/>
                  <a:pt x="11009" y="3119"/>
                </a:cubicBezTo>
                <a:cubicBezTo>
                  <a:pt x="10287" y="3082"/>
                  <a:pt x="10442" y="3339"/>
                  <a:pt x="9876" y="3192"/>
                </a:cubicBezTo>
                <a:cubicBezTo>
                  <a:pt x="9310" y="3045"/>
                  <a:pt x="9053" y="3706"/>
                  <a:pt x="8693" y="3614"/>
                </a:cubicBezTo>
                <a:cubicBezTo>
                  <a:pt x="8519" y="3570"/>
                  <a:pt x="8131" y="3374"/>
                  <a:pt x="7770" y="3142"/>
                </a:cubicBezTo>
                <a:cubicBezTo>
                  <a:pt x="6767" y="3765"/>
                  <a:pt x="6022" y="4597"/>
                  <a:pt x="5656" y="5546"/>
                </a:cubicBezTo>
                <a:cubicBezTo>
                  <a:pt x="5919" y="6021"/>
                  <a:pt x="6275" y="6273"/>
                  <a:pt x="6275" y="6273"/>
                </a:cubicBezTo>
                <a:moveTo>
                  <a:pt x="20588" y="12027"/>
                </a:moveTo>
                <a:cubicBezTo>
                  <a:pt x="20407" y="12027"/>
                  <a:pt x="20245" y="12080"/>
                  <a:pt x="20124" y="12164"/>
                </a:cubicBezTo>
                <a:lnTo>
                  <a:pt x="20119" y="12161"/>
                </a:lnTo>
                <a:cubicBezTo>
                  <a:pt x="18145" y="13734"/>
                  <a:pt x="15310" y="14727"/>
                  <a:pt x="12150" y="14727"/>
                </a:cubicBezTo>
                <a:cubicBezTo>
                  <a:pt x="6186" y="14727"/>
                  <a:pt x="1350" y="11211"/>
                  <a:pt x="1350" y="6873"/>
                </a:cubicBezTo>
                <a:cubicBezTo>
                  <a:pt x="1350" y="4606"/>
                  <a:pt x="2678" y="2571"/>
                  <a:pt x="4788" y="1137"/>
                </a:cubicBezTo>
                <a:lnTo>
                  <a:pt x="4777" y="1127"/>
                </a:lnTo>
                <a:cubicBezTo>
                  <a:pt x="4945" y="1037"/>
                  <a:pt x="5062" y="900"/>
                  <a:pt x="5062" y="736"/>
                </a:cubicBezTo>
                <a:cubicBezTo>
                  <a:pt x="5062" y="465"/>
                  <a:pt x="4760" y="245"/>
                  <a:pt x="4388" y="245"/>
                </a:cubicBezTo>
                <a:cubicBezTo>
                  <a:pt x="4192" y="245"/>
                  <a:pt x="4020" y="308"/>
                  <a:pt x="3897" y="405"/>
                </a:cubicBezTo>
                <a:lnTo>
                  <a:pt x="3895" y="403"/>
                </a:lnTo>
                <a:cubicBezTo>
                  <a:pt x="1505" y="2016"/>
                  <a:pt x="0" y="4314"/>
                  <a:pt x="0" y="6873"/>
                </a:cubicBezTo>
                <a:cubicBezTo>
                  <a:pt x="0" y="11587"/>
                  <a:pt x="5081" y="15428"/>
                  <a:pt x="11475" y="15684"/>
                </a:cubicBezTo>
                <a:lnTo>
                  <a:pt x="11475" y="20618"/>
                </a:lnTo>
                <a:lnTo>
                  <a:pt x="7425" y="20618"/>
                </a:lnTo>
                <a:cubicBezTo>
                  <a:pt x="7052" y="20618"/>
                  <a:pt x="6750" y="20838"/>
                  <a:pt x="6750" y="21109"/>
                </a:cubicBezTo>
                <a:cubicBezTo>
                  <a:pt x="6750" y="21380"/>
                  <a:pt x="7052" y="21600"/>
                  <a:pt x="7425" y="21600"/>
                </a:cubicBezTo>
                <a:lnTo>
                  <a:pt x="16875" y="21600"/>
                </a:lnTo>
                <a:cubicBezTo>
                  <a:pt x="17247" y="21600"/>
                  <a:pt x="17550" y="21380"/>
                  <a:pt x="17550" y="21109"/>
                </a:cubicBezTo>
                <a:cubicBezTo>
                  <a:pt x="17550" y="20838"/>
                  <a:pt x="17247" y="20618"/>
                  <a:pt x="16875" y="20618"/>
                </a:cubicBezTo>
                <a:lnTo>
                  <a:pt x="12825" y="20618"/>
                </a:lnTo>
                <a:lnTo>
                  <a:pt x="12825" y="15684"/>
                </a:lnTo>
                <a:cubicBezTo>
                  <a:pt x="16068" y="15554"/>
                  <a:pt x="18970" y="14500"/>
                  <a:pt x="21045" y="12880"/>
                </a:cubicBezTo>
                <a:lnTo>
                  <a:pt x="21041" y="12877"/>
                </a:lnTo>
                <a:cubicBezTo>
                  <a:pt x="21175" y="12788"/>
                  <a:pt x="21262" y="12661"/>
                  <a:pt x="21262" y="12518"/>
                </a:cubicBezTo>
                <a:cubicBezTo>
                  <a:pt x="21262" y="12247"/>
                  <a:pt x="20960" y="12027"/>
                  <a:pt x="20588" y="12027"/>
                </a:cubicBezTo>
                <a:moveTo>
                  <a:pt x="12150" y="982"/>
                </a:moveTo>
                <a:cubicBezTo>
                  <a:pt x="16623" y="982"/>
                  <a:pt x="20250" y="3619"/>
                  <a:pt x="20250" y="6873"/>
                </a:cubicBezTo>
                <a:cubicBezTo>
                  <a:pt x="20250" y="10127"/>
                  <a:pt x="16623" y="12764"/>
                  <a:pt x="12150" y="12764"/>
                </a:cubicBezTo>
                <a:cubicBezTo>
                  <a:pt x="7677" y="12764"/>
                  <a:pt x="4050" y="10127"/>
                  <a:pt x="4050" y="6873"/>
                </a:cubicBezTo>
                <a:cubicBezTo>
                  <a:pt x="4050" y="3619"/>
                  <a:pt x="7677" y="982"/>
                  <a:pt x="12150" y="982"/>
                </a:cubicBezTo>
                <a:moveTo>
                  <a:pt x="12150" y="13745"/>
                </a:moveTo>
                <a:cubicBezTo>
                  <a:pt x="17369" y="13745"/>
                  <a:pt x="21600" y="10669"/>
                  <a:pt x="21600" y="6873"/>
                </a:cubicBezTo>
                <a:cubicBezTo>
                  <a:pt x="21600" y="3077"/>
                  <a:pt x="17369" y="0"/>
                  <a:pt x="12150" y="0"/>
                </a:cubicBezTo>
                <a:cubicBezTo>
                  <a:pt x="6931" y="0"/>
                  <a:pt x="2700" y="3077"/>
                  <a:pt x="2700" y="6873"/>
                </a:cubicBezTo>
                <a:cubicBezTo>
                  <a:pt x="2700" y="10669"/>
                  <a:pt x="6931" y="13745"/>
                  <a:pt x="12150" y="13745"/>
                </a:cubicBezTo>
                <a:moveTo>
                  <a:pt x="16733" y="8152"/>
                </a:moveTo>
                <a:cubicBezTo>
                  <a:pt x="16437" y="8280"/>
                  <a:pt x="16449" y="8564"/>
                  <a:pt x="16693" y="8720"/>
                </a:cubicBezTo>
                <a:cubicBezTo>
                  <a:pt x="16938" y="8876"/>
                  <a:pt x="17427" y="9078"/>
                  <a:pt x="17581" y="8720"/>
                </a:cubicBezTo>
                <a:cubicBezTo>
                  <a:pt x="17736" y="8362"/>
                  <a:pt x="17028" y="8023"/>
                  <a:pt x="16733" y="8152"/>
                </a:cubicBezTo>
                <a:moveTo>
                  <a:pt x="11317" y="7428"/>
                </a:moveTo>
                <a:cubicBezTo>
                  <a:pt x="10211" y="7428"/>
                  <a:pt x="9516" y="7611"/>
                  <a:pt x="9800" y="8711"/>
                </a:cubicBezTo>
                <a:cubicBezTo>
                  <a:pt x="10082" y="9811"/>
                  <a:pt x="10905" y="9316"/>
                  <a:pt x="10828" y="10160"/>
                </a:cubicBezTo>
                <a:cubicBezTo>
                  <a:pt x="10751" y="11003"/>
                  <a:pt x="11034" y="11186"/>
                  <a:pt x="11214" y="11388"/>
                </a:cubicBezTo>
                <a:cubicBezTo>
                  <a:pt x="11315" y="11501"/>
                  <a:pt x="11532" y="11731"/>
                  <a:pt x="11738" y="11767"/>
                </a:cubicBezTo>
                <a:cubicBezTo>
                  <a:pt x="11768" y="11768"/>
                  <a:pt x="11798" y="11769"/>
                  <a:pt x="11828" y="11770"/>
                </a:cubicBezTo>
                <a:cubicBezTo>
                  <a:pt x="11954" y="11751"/>
                  <a:pt x="12068" y="11642"/>
                  <a:pt x="12140" y="11351"/>
                </a:cubicBezTo>
                <a:cubicBezTo>
                  <a:pt x="12346" y="10526"/>
                  <a:pt x="12732" y="10067"/>
                  <a:pt x="13169" y="9664"/>
                </a:cubicBezTo>
                <a:cubicBezTo>
                  <a:pt x="13606" y="9261"/>
                  <a:pt x="14070" y="8729"/>
                  <a:pt x="13195" y="8197"/>
                </a:cubicBezTo>
                <a:cubicBezTo>
                  <a:pt x="12320" y="7666"/>
                  <a:pt x="12423" y="7428"/>
                  <a:pt x="11317" y="7428"/>
                </a:cubicBezTo>
                <a:moveTo>
                  <a:pt x="14404" y="3284"/>
                </a:moveTo>
                <a:cubicBezTo>
                  <a:pt x="14404" y="3284"/>
                  <a:pt x="14198" y="3431"/>
                  <a:pt x="14404" y="3962"/>
                </a:cubicBezTo>
                <a:cubicBezTo>
                  <a:pt x="14610" y="4494"/>
                  <a:pt x="14955" y="4609"/>
                  <a:pt x="15974" y="4311"/>
                </a:cubicBezTo>
                <a:cubicBezTo>
                  <a:pt x="16411" y="4182"/>
                  <a:pt x="16742" y="4248"/>
                  <a:pt x="16693" y="4567"/>
                </a:cubicBezTo>
                <a:cubicBezTo>
                  <a:pt x="16591" y="5246"/>
                  <a:pt x="15858" y="5217"/>
                  <a:pt x="16411" y="6309"/>
                </a:cubicBezTo>
                <a:cubicBezTo>
                  <a:pt x="16745" y="6969"/>
                  <a:pt x="17568" y="7226"/>
                  <a:pt x="17877" y="7739"/>
                </a:cubicBezTo>
                <a:cubicBezTo>
                  <a:pt x="17984" y="7918"/>
                  <a:pt x="18288" y="8083"/>
                  <a:pt x="18633" y="8228"/>
                </a:cubicBezTo>
                <a:cubicBezTo>
                  <a:pt x="18803" y="7797"/>
                  <a:pt x="18900" y="7344"/>
                  <a:pt x="18900" y="6873"/>
                </a:cubicBezTo>
                <a:cubicBezTo>
                  <a:pt x="18900" y="4752"/>
                  <a:pt x="17047" y="2950"/>
                  <a:pt x="14457" y="2264"/>
                </a:cubicBezTo>
                <a:cubicBezTo>
                  <a:pt x="14328" y="2411"/>
                  <a:pt x="14192" y="2545"/>
                  <a:pt x="14044" y="2605"/>
                </a:cubicBezTo>
                <a:cubicBezTo>
                  <a:pt x="13684" y="2752"/>
                  <a:pt x="13710" y="3339"/>
                  <a:pt x="14404" y="328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9" name="Shape 2949"/>
          <p:cNvSpPr/>
          <p:nvPr/>
        </p:nvSpPr>
        <p:spPr>
          <a:xfrm>
            <a:off x="6707443"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0" name="Shape 2950"/>
          <p:cNvSpPr/>
          <p:nvPr/>
        </p:nvSpPr>
        <p:spPr>
          <a:xfrm>
            <a:off x="7107389"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200" y="7855"/>
                </a:moveTo>
                <a:lnTo>
                  <a:pt x="7800" y="7855"/>
                </a:lnTo>
                <a:cubicBezTo>
                  <a:pt x="8132" y="7855"/>
                  <a:pt x="8400" y="7635"/>
                  <a:pt x="8400" y="7364"/>
                </a:cubicBezTo>
                <a:cubicBezTo>
                  <a:pt x="8400" y="7092"/>
                  <a:pt x="8132" y="6873"/>
                  <a:pt x="7800" y="6873"/>
                </a:cubicBezTo>
                <a:lnTo>
                  <a:pt x="4200" y="6873"/>
                </a:lnTo>
                <a:cubicBezTo>
                  <a:pt x="3868" y="6873"/>
                  <a:pt x="3600" y="7092"/>
                  <a:pt x="3600" y="7364"/>
                </a:cubicBezTo>
                <a:cubicBezTo>
                  <a:pt x="3600" y="7635"/>
                  <a:pt x="3868" y="7855"/>
                  <a:pt x="4200" y="7855"/>
                </a:cubicBezTo>
                <a:moveTo>
                  <a:pt x="4200" y="11782"/>
                </a:moveTo>
                <a:lnTo>
                  <a:pt x="16200" y="11782"/>
                </a:lnTo>
                <a:cubicBezTo>
                  <a:pt x="16532" y="11782"/>
                  <a:pt x="16800" y="11562"/>
                  <a:pt x="16800" y="11291"/>
                </a:cubicBezTo>
                <a:cubicBezTo>
                  <a:pt x="16800" y="11020"/>
                  <a:pt x="16532" y="10800"/>
                  <a:pt x="16200" y="10800"/>
                </a:cubicBezTo>
                <a:lnTo>
                  <a:pt x="4200" y="10800"/>
                </a:lnTo>
                <a:cubicBezTo>
                  <a:pt x="3868" y="10800"/>
                  <a:pt x="3600" y="11020"/>
                  <a:pt x="3600" y="11291"/>
                </a:cubicBezTo>
                <a:cubicBezTo>
                  <a:pt x="3600" y="11562"/>
                  <a:pt x="3868" y="11782"/>
                  <a:pt x="4200" y="11782"/>
                </a:cubicBezTo>
                <a:moveTo>
                  <a:pt x="4200" y="9818"/>
                </a:moveTo>
                <a:lnTo>
                  <a:pt x="11400" y="9818"/>
                </a:lnTo>
                <a:cubicBezTo>
                  <a:pt x="11732" y="9818"/>
                  <a:pt x="12000" y="9599"/>
                  <a:pt x="12000" y="9327"/>
                </a:cubicBezTo>
                <a:cubicBezTo>
                  <a:pt x="12000" y="9056"/>
                  <a:pt x="11732" y="8836"/>
                  <a:pt x="11400" y="8836"/>
                </a:cubicBezTo>
                <a:lnTo>
                  <a:pt x="4200" y="8836"/>
                </a:lnTo>
                <a:cubicBezTo>
                  <a:pt x="3868" y="8836"/>
                  <a:pt x="3600" y="9056"/>
                  <a:pt x="3600" y="9327"/>
                </a:cubicBezTo>
                <a:cubicBezTo>
                  <a:pt x="3600" y="9599"/>
                  <a:pt x="3868" y="9818"/>
                  <a:pt x="4200" y="9818"/>
                </a:cubicBezTo>
                <a:moveTo>
                  <a:pt x="4200" y="5891"/>
                </a:moveTo>
                <a:lnTo>
                  <a:pt x="15000" y="5891"/>
                </a:lnTo>
                <a:cubicBezTo>
                  <a:pt x="15332" y="5891"/>
                  <a:pt x="15600" y="5671"/>
                  <a:pt x="15600" y="5400"/>
                </a:cubicBezTo>
                <a:cubicBezTo>
                  <a:pt x="15600" y="5129"/>
                  <a:pt x="15332" y="4909"/>
                  <a:pt x="15000" y="4909"/>
                </a:cubicBezTo>
                <a:lnTo>
                  <a:pt x="4200" y="4909"/>
                </a:lnTo>
                <a:cubicBezTo>
                  <a:pt x="3868" y="4909"/>
                  <a:pt x="3600" y="5129"/>
                  <a:pt x="3600" y="5400"/>
                </a:cubicBezTo>
                <a:cubicBezTo>
                  <a:pt x="3600" y="5671"/>
                  <a:pt x="3868" y="5891"/>
                  <a:pt x="4200" y="5891"/>
                </a:cubicBezTo>
                <a:moveTo>
                  <a:pt x="20400" y="13745"/>
                </a:moveTo>
                <a:lnTo>
                  <a:pt x="1200" y="13745"/>
                </a:lnTo>
                <a:lnTo>
                  <a:pt x="1200" y="2945"/>
                </a:lnTo>
                <a:lnTo>
                  <a:pt x="20400" y="2945"/>
                </a:lnTo>
                <a:cubicBezTo>
                  <a:pt x="20400" y="2945"/>
                  <a:pt x="20400" y="13745"/>
                  <a:pt x="20400" y="13745"/>
                </a:cubicBezTo>
                <a:close/>
                <a:moveTo>
                  <a:pt x="11400" y="20618"/>
                </a:moveTo>
                <a:lnTo>
                  <a:pt x="10200" y="20618"/>
                </a:lnTo>
                <a:lnTo>
                  <a:pt x="10200" y="14727"/>
                </a:lnTo>
                <a:lnTo>
                  <a:pt x="11400" y="14727"/>
                </a:lnTo>
                <a:cubicBezTo>
                  <a:pt x="11400" y="14727"/>
                  <a:pt x="11400" y="20618"/>
                  <a:pt x="11400" y="20618"/>
                </a:cubicBezTo>
                <a:close/>
                <a:moveTo>
                  <a:pt x="10200" y="982"/>
                </a:moveTo>
                <a:lnTo>
                  <a:pt x="11400" y="982"/>
                </a:lnTo>
                <a:lnTo>
                  <a:pt x="11400" y="1964"/>
                </a:lnTo>
                <a:lnTo>
                  <a:pt x="10200" y="1964"/>
                </a:lnTo>
                <a:cubicBezTo>
                  <a:pt x="10200" y="1964"/>
                  <a:pt x="10200" y="982"/>
                  <a:pt x="10200" y="982"/>
                </a:cubicBezTo>
                <a:close/>
                <a:moveTo>
                  <a:pt x="20400" y="1964"/>
                </a:moveTo>
                <a:lnTo>
                  <a:pt x="12600" y="1964"/>
                </a:lnTo>
                <a:lnTo>
                  <a:pt x="12600" y="982"/>
                </a:lnTo>
                <a:cubicBezTo>
                  <a:pt x="12600" y="440"/>
                  <a:pt x="12062" y="0"/>
                  <a:pt x="11400" y="0"/>
                </a:cubicBezTo>
                <a:lnTo>
                  <a:pt x="10200" y="0"/>
                </a:lnTo>
                <a:cubicBezTo>
                  <a:pt x="9537" y="0"/>
                  <a:pt x="9000" y="440"/>
                  <a:pt x="9000" y="982"/>
                </a:cubicBezTo>
                <a:lnTo>
                  <a:pt x="9000" y="1964"/>
                </a:lnTo>
                <a:lnTo>
                  <a:pt x="1200" y="1964"/>
                </a:lnTo>
                <a:cubicBezTo>
                  <a:pt x="537" y="1964"/>
                  <a:pt x="0" y="2404"/>
                  <a:pt x="0" y="2945"/>
                </a:cubicBezTo>
                <a:lnTo>
                  <a:pt x="0" y="13745"/>
                </a:lnTo>
                <a:cubicBezTo>
                  <a:pt x="0" y="14287"/>
                  <a:pt x="537" y="14727"/>
                  <a:pt x="1200" y="14727"/>
                </a:cubicBezTo>
                <a:lnTo>
                  <a:pt x="9000" y="14727"/>
                </a:lnTo>
                <a:lnTo>
                  <a:pt x="9000" y="20618"/>
                </a:lnTo>
                <a:cubicBezTo>
                  <a:pt x="9000" y="21160"/>
                  <a:pt x="9537" y="21600"/>
                  <a:pt x="10200" y="21600"/>
                </a:cubicBezTo>
                <a:lnTo>
                  <a:pt x="11400" y="21600"/>
                </a:lnTo>
                <a:cubicBezTo>
                  <a:pt x="12062" y="21600"/>
                  <a:pt x="12600" y="21160"/>
                  <a:pt x="12600" y="20618"/>
                </a:cubicBezTo>
                <a:lnTo>
                  <a:pt x="12600" y="14727"/>
                </a:lnTo>
                <a:lnTo>
                  <a:pt x="20400" y="14727"/>
                </a:lnTo>
                <a:cubicBezTo>
                  <a:pt x="21062" y="14727"/>
                  <a:pt x="21600" y="14287"/>
                  <a:pt x="21600" y="13745"/>
                </a:cubicBezTo>
                <a:lnTo>
                  <a:pt x="21600" y="2945"/>
                </a:lnTo>
                <a:cubicBezTo>
                  <a:pt x="21600" y="2404"/>
                  <a:pt x="21062" y="1964"/>
                  <a:pt x="20400" y="1964"/>
                </a:cubicBezTo>
                <a:moveTo>
                  <a:pt x="17400" y="8836"/>
                </a:moveTo>
                <a:lnTo>
                  <a:pt x="13800" y="8836"/>
                </a:lnTo>
                <a:cubicBezTo>
                  <a:pt x="13468" y="8836"/>
                  <a:pt x="13200" y="9056"/>
                  <a:pt x="13200" y="9327"/>
                </a:cubicBezTo>
                <a:cubicBezTo>
                  <a:pt x="13200" y="9599"/>
                  <a:pt x="13468" y="9818"/>
                  <a:pt x="13800" y="9818"/>
                </a:cubicBezTo>
                <a:lnTo>
                  <a:pt x="17400" y="9818"/>
                </a:lnTo>
                <a:cubicBezTo>
                  <a:pt x="17732" y="9818"/>
                  <a:pt x="18000" y="9599"/>
                  <a:pt x="18000" y="9327"/>
                </a:cubicBezTo>
                <a:cubicBezTo>
                  <a:pt x="18000" y="9056"/>
                  <a:pt x="17732" y="8836"/>
                  <a:pt x="17400" y="8836"/>
                </a:cubicBezTo>
                <a:moveTo>
                  <a:pt x="9600" y="7364"/>
                </a:moveTo>
                <a:cubicBezTo>
                  <a:pt x="9600" y="7635"/>
                  <a:pt x="9868" y="7855"/>
                  <a:pt x="10200" y="7855"/>
                </a:cubicBezTo>
                <a:lnTo>
                  <a:pt x="17400" y="7855"/>
                </a:lnTo>
                <a:cubicBezTo>
                  <a:pt x="17732" y="7855"/>
                  <a:pt x="18000" y="7635"/>
                  <a:pt x="18000" y="7364"/>
                </a:cubicBezTo>
                <a:cubicBezTo>
                  <a:pt x="18000" y="7092"/>
                  <a:pt x="17732" y="6873"/>
                  <a:pt x="17400" y="6873"/>
                </a:cubicBezTo>
                <a:lnTo>
                  <a:pt x="10200" y="6873"/>
                </a:lnTo>
                <a:cubicBezTo>
                  <a:pt x="9868" y="6873"/>
                  <a:pt x="9600" y="7092"/>
                  <a:pt x="9600"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1" name="Shape 2951"/>
          <p:cNvSpPr/>
          <p:nvPr/>
        </p:nvSpPr>
        <p:spPr>
          <a:xfrm>
            <a:off x="7488291" y="2486049"/>
            <a:ext cx="209495" cy="171405"/>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6" y="18796"/>
                  <a:pt x="1048" y="18735"/>
                </a:cubicBezTo>
                <a:cubicBezTo>
                  <a:pt x="1065" y="18712"/>
                  <a:pt x="1048" y="18729"/>
                  <a:pt x="1078" y="18673"/>
                </a:cubicBezTo>
                <a:lnTo>
                  <a:pt x="9915" y="1873"/>
                </a:lnTo>
                <a:cubicBezTo>
                  <a:pt x="9929" y="1843"/>
                  <a:pt x="9944" y="1813"/>
                  <a:pt x="9957" y="1783"/>
                </a:cubicBezTo>
                <a:cubicBezTo>
                  <a:pt x="9960" y="1778"/>
                  <a:pt x="10234" y="1200"/>
                  <a:pt x="10800" y="1200"/>
                </a:cubicBezTo>
                <a:cubicBezTo>
                  <a:pt x="11366" y="1200"/>
                  <a:pt x="11588" y="1654"/>
                  <a:pt x="11617" y="1719"/>
                </a:cubicBezTo>
                <a:cubicBezTo>
                  <a:pt x="11641" y="1792"/>
                  <a:pt x="11650" y="1806"/>
                  <a:pt x="11685" y="1873"/>
                </a:cubicBezTo>
                <a:lnTo>
                  <a:pt x="20522" y="18673"/>
                </a:lnTo>
                <a:cubicBezTo>
                  <a:pt x="20535" y="18697"/>
                  <a:pt x="20548" y="18720"/>
                  <a:pt x="20562" y="18743"/>
                </a:cubicBezTo>
                <a:cubicBezTo>
                  <a:pt x="20576" y="18785"/>
                  <a:pt x="20618" y="18928"/>
                  <a:pt x="20618" y="19200"/>
                </a:cubicBezTo>
                <a:cubicBezTo>
                  <a:pt x="20618" y="19862"/>
                  <a:pt x="20178" y="20400"/>
                  <a:pt x="19636" y="20400"/>
                </a:cubicBezTo>
                <a:moveTo>
                  <a:pt x="21348" y="18023"/>
                </a:moveTo>
                <a:lnTo>
                  <a:pt x="12511" y="1223"/>
                </a:lnTo>
                <a:cubicBezTo>
                  <a:pt x="12511" y="1223"/>
                  <a:pt x="12057" y="0"/>
                  <a:pt x="10800" y="0"/>
                </a:cubicBezTo>
                <a:cubicBezTo>
                  <a:pt x="9616" y="0"/>
                  <a:pt x="9089" y="1223"/>
                  <a:pt x="9089" y="1223"/>
                </a:cubicBezTo>
                <a:lnTo>
                  <a:pt x="252" y="18023"/>
                </a:lnTo>
                <a:cubicBezTo>
                  <a:pt x="252" y="18023"/>
                  <a:pt x="0" y="18421"/>
                  <a:pt x="0" y="19200"/>
                </a:cubicBezTo>
                <a:cubicBezTo>
                  <a:pt x="0" y="20525"/>
                  <a:pt x="879" y="21600"/>
                  <a:pt x="1964" y="21600"/>
                </a:cubicBezTo>
                <a:lnTo>
                  <a:pt x="19636" y="21600"/>
                </a:lnTo>
                <a:cubicBezTo>
                  <a:pt x="20721" y="21600"/>
                  <a:pt x="21600" y="20525"/>
                  <a:pt x="21600" y="19200"/>
                </a:cubicBezTo>
                <a:cubicBezTo>
                  <a:pt x="21600" y="18362"/>
                  <a:pt x="21348" y="18023"/>
                  <a:pt x="21348" y="18023"/>
                </a:cubicBezTo>
                <a:moveTo>
                  <a:pt x="13255" y="8400"/>
                </a:moveTo>
                <a:lnTo>
                  <a:pt x="10309" y="8400"/>
                </a:lnTo>
                <a:cubicBezTo>
                  <a:pt x="10038" y="8400"/>
                  <a:pt x="9818" y="8668"/>
                  <a:pt x="9818" y="9000"/>
                </a:cubicBezTo>
                <a:cubicBezTo>
                  <a:pt x="9818" y="9332"/>
                  <a:pt x="10038" y="9600"/>
                  <a:pt x="10309" y="9600"/>
                </a:cubicBezTo>
                <a:lnTo>
                  <a:pt x="11821" y="9600"/>
                </a:lnTo>
                <a:cubicBezTo>
                  <a:pt x="10310" y="11177"/>
                  <a:pt x="7852" y="14224"/>
                  <a:pt x="7852" y="17384"/>
                </a:cubicBezTo>
                <a:lnTo>
                  <a:pt x="7857" y="17384"/>
                </a:lnTo>
                <a:cubicBezTo>
                  <a:pt x="7857" y="17389"/>
                  <a:pt x="7855" y="17394"/>
                  <a:pt x="7855" y="17400"/>
                </a:cubicBezTo>
                <a:cubicBezTo>
                  <a:pt x="7855" y="17732"/>
                  <a:pt x="8074" y="18000"/>
                  <a:pt x="8345" y="18000"/>
                </a:cubicBezTo>
                <a:cubicBezTo>
                  <a:pt x="8617" y="18000"/>
                  <a:pt x="8836" y="17732"/>
                  <a:pt x="8836" y="17400"/>
                </a:cubicBezTo>
                <a:cubicBezTo>
                  <a:pt x="8836" y="17394"/>
                  <a:pt x="8833" y="17389"/>
                  <a:pt x="8833" y="17384"/>
                </a:cubicBezTo>
                <a:cubicBezTo>
                  <a:pt x="8833" y="14516"/>
                  <a:pt x="11431" y="11542"/>
                  <a:pt x="12764" y="10204"/>
                </a:cubicBezTo>
                <a:lnTo>
                  <a:pt x="12764" y="12600"/>
                </a:lnTo>
                <a:cubicBezTo>
                  <a:pt x="12764" y="12932"/>
                  <a:pt x="12983" y="13200"/>
                  <a:pt x="13255" y="13200"/>
                </a:cubicBezTo>
                <a:cubicBezTo>
                  <a:pt x="13526" y="13200"/>
                  <a:pt x="13745" y="12932"/>
                  <a:pt x="13745" y="12600"/>
                </a:cubicBezTo>
                <a:lnTo>
                  <a:pt x="13745" y="9000"/>
                </a:lnTo>
                <a:cubicBezTo>
                  <a:pt x="13745" y="8668"/>
                  <a:pt x="13526" y="8400"/>
                  <a:pt x="13255"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2" name="Shape 2952"/>
          <p:cNvSpPr/>
          <p:nvPr/>
        </p:nvSpPr>
        <p:spPr>
          <a:xfrm>
            <a:off x="788823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9"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3" name="Shape 2953"/>
          <p:cNvSpPr/>
          <p:nvPr/>
        </p:nvSpPr>
        <p:spPr>
          <a:xfrm>
            <a:off x="828818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8"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moveTo>
                  <a:pt x="12620" y="4072"/>
                </a:moveTo>
                <a:cubicBezTo>
                  <a:pt x="12531" y="3982"/>
                  <a:pt x="12408" y="3927"/>
                  <a:pt x="12273" y="3927"/>
                </a:cubicBezTo>
                <a:cubicBezTo>
                  <a:pt x="12001" y="3927"/>
                  <a:pt x="11782" y="4147"/>
                  <a:pt x="11782" y="4418"/>
                </a:cubicBezTo>
                <a:cubicBezTo>
                  <a:pt x="11782" y="4554"/>
                  <a:pt x="11837" y="4677"/>
                  <a:pt x="11926" y="4765"/>
                </a:cubicBezTo>
                <a:lnTo>
                  <a:pt x="13542" y="6382"/>
                </a:lnTo>
                <a:lnTo>
                  <a:pt x="6873" y="6382"/>
                </a:lnTo>
                <a:cubicBezTo>
                  <a:pt x="6601" y="6382"/>
                  <a:pt x="6382" y="6602"/>
                  <a:pt x="6382" y="6873"/>
                </a:cubicBezTo>
                <a:cubicBezTo>
                  <a:pt x="6382" y="7144"/>
                  <a:pt x="6601" y="7364"/>
                  <a:pt x="6873" y="7364"/>
                </a:cubicBezTo>
                <a:lnTo>
                  <a:pt x="13542" y="7364"/>
                </a:lnTo>
                <a:lnTo>
                  <a:pt x="11926" y="8980"/>
                </a:lnTo>
                <a:cubicBezTo>
                  <a:pt x="11837" y="9069"/>
                  <a:pt x="11782" y="9192"/>
                  <a:pt x="11782" y="9327"/>
                </a:cubicBezTo>
                <a:cubicBezTo>
                  <a:pt x="11782" y="9599"/>
                  <a:pt x="12001" y="9818"/>
                  <a:pt x="12273" y="9818"/>
                </a:cubicBezTo>
                <a:cubicBezTo>
                  <a:pt x="12408" y="9818"/>
                  <a:pt x="12531" y="9764"/>
                  <a:pt x="12620" y="9674"/>
                </a:cubicBezTo>
                <a:lnTo>
                  <a:pt x="15074" y="7220"/>
                </a:lnTo>
                <a:cubicBezTo>
                  <a:pt x="15163" y="7131"/>
                  <a:pt x="15218" y="7008"/>
                  <a:pt x="15218" y="6873"/>
                </a:cubicBezTo>
                <a:cubicBezTo>
                  <a:pt x="15218" y="6738"/>
                  <a:pt x="15163" y="6614"/>
                  <a:pt x="15074" y="6526"/>
                </a:cubicBezTo>
                <a:cubicBezTo>
                  <a:pt x="15074" y="6526"/>
                  <a:pt x="12620" y="4072"/>
                  <a:pt x="12620" y="407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5" name="Shape 2955"/>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10529" y="17673"/>
                  <a:pt x="10309" y="17892"/>
                  <a:pt x="10309" y="18164"/>
                </a:cubicBezTo>
                <a:lnTo>
                  <a:pt x="10309" y="21109"/>
                </a:lnTo>
                <a:cubicBezTo>
                  <a:pt x="10309" y="21380"/>
                  <a:pt x="10529" y="21600"/>
                  <a:pt x="10800" y="21600"/>
                </a:cubicBezTo>
                <a:cubicBezTo>
                  <a:pt x="11071" y="21600"/>
                  <a:pt x="11291" y="21380"/>
                  <a:pt x="11291" y="21109"/>
                </a:cubicBezTo>
                <a:lnTo>
                  <a:pt x="11291" y="18164"/>
                </a:lnTo>
                <a:cubicBezTo>
                  <a:pt x="11291" y="17892"/>
                  <a:pt x="11071" y="17673"/>
                  <a:pt x="10800" y="17673"/>
                </a:cubicBezTo>
                <a:moveTo>
                  <a:pt x="10800" y="15709"/>
                </a:moveTo>
                <a:cubicBezTo>
                  <a:pt x="8089" y="15709"/>
                  <a:pt x="5891" y="13511"/>
                  <a:pt x="5891" y="10800"/>
                </a:cubicBezTo>
                <a:cubicBezTo>
                  <a:pt x="5891" y="8088"/>
                  <a:pt x="8089" y="5891"/>
                  <a:pt x="10800" y="5891"/>
                </a:cubicBezTo>
                <a:cubicBezTo>
                  <a:pt x="13511" y="5891"/>
                  <a:pt x="15709" y="8088"/>
                  <a:pt x="15709" y="10800"/>
                </a:cubicBezTo>
                <a:cubicBezTo>
                  <a:pt x="15709" y="13511"/>
                  <a:pt x="13511" y="15709"/>
                  <a:pt x="10800" y="15709"/>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16354" y="15660"/>
                </a:moveTo>
                <a:cubicBezTo>
                  <a:pt x="16162" y="15468"/>
                  <a:pt x="15851" y="15468"/>
                  <a:pt x="15659" y="15660"/>
                </a:cubicBezTo>
                <a:cubicBezTo>
                  <a:pt x="15468" y="15851"/>
                  <a:pt x="15468" y="16163"/>
                  <a:pt x="15659" y="16354"/>
                </a:cubicBezTo>
                <a:lnTo>
                  <a:pt x="17742" y="18437"/>
                </a:lnTo>
                <a:cubicBezTo>
                  <a:pt x="17934" y="18629"/>
                  <a:pt x="18245" y="18629"/>
                  <a:pt x="18437" y="18437"/>
                </a:cubicBezTo>
                <a:cubicBezTo>
                  <a:pt x="18628" y="18245"/>
                  <a:pt x="18628" y="17934"/>
                  <a:pt x="18437" y="17743"/>
                </a:cubicBezTo>
                <a:cubicBezTo>
                  <a:pt x="18437" y="17743"/>
                  <a:pt x="16354" y="15660"/>
                  <a:pt x="16354" y="15660"/>
                </a:cubicBezTo>
                <a:close/>
                <a:moveTo>
                  <a:pt x="21109" y="10309"/>
                </a:moveTo>
                <a:lnTo>
                  <a:pt x="18164" y="10309"/>
                </a:lnTo>
                <a:cubicBezTo>
                  <a:pt x="17893" y="10309"/>
                  <a:pt x="17673" y="10529"/>
                  <a:pt x="17673" y="10800"/>
                </a:cubicBezTo>
                <a:cubicBezTo>
                  <a:pt x="17673" y="11071"/>
                  <a:pt x="17893" y="11291"/>
                  <a:pt x="18164" y="11291"/>
                </a:cubicBezTo>
                <a:lnTo>
                  <a:pt x="21109" y="11291"/>
                </a:lnTo>
                <a:cubicBezTo>
                  <a:pt x="21380" y="11291"/>
                  <a:pt x="21600" y="11071"/>
                  <a:pt x="21600" y="10800"/>
                </a:cubicBezTo>
                <a:cubicBezTo>
                  <a:pt x="21600" y="10529"/>
                  <a:pt x="21380" y="10309"/>
                  <a:pt x="21109" y="10309"/>
                </a:cubicBezTo>
                <a:moveTo>
                  <a:pt x="5246" y="15660"/>
                </a:moveTo>
                <a:lnTo>
                  <a:pt x="3163" y="17743"/>
                </a:lnTo>
                <a:cubicBezTo>
                  <a:pt x="2972" y="17934"/>
                  <a:pt x="2972" y="18245"/>
                  <a:pt x="3163" y="18437"/>
                </a:cubicBezTo>
                <a:cubicBezTo>
                  <a:pt x="3355" y="18629"/>
                  <a:pt x="3666" y="18629"/>
                  <a:pt x="3858" y="18437"/>
                </a:cubicBezTo>
                <a:lnTo>
                  <a:pt x="5941" y="16354"/>
                </a:lnTo>
                <a:cubicBezTo>
                  <a:pt x="6132" y="16163"/>
                  <a:pt x="6132" y="15851"/>
                  <a:pt x="5941" y="15660"/>
                </a:cubicBezTo>
                <a:cubicBezTo>
                  <a:pt x="5749" y="15468"/>
                  <a:pt x="5438" y="15468"/>
                  <a:pt x="5246" y="15660"/>
                </a:cubicBezTo>
                <a:moveTo>
                  <a:pt x="16354" y="5941"/>
                </a:moveTo>
                <a:lnTo>
                  <a:pt x="18437" y="3857"/>
                </a:lnTo>
                <a:cubicBezTo>
                  <a:pt x="18628" y="3666"/>
                  <a:pt x="18628" y="3355"/>
                  <a:pt x="18437" y="3163"/>
                </a:cubicBezTo>
                <a:cubicBezTo>
                  <a:pt x="18245" y="2971"/>
                  <a:pt x="17934" y="2971"/>
                  <a:pt x="17742" y="3163"/>
                </a:cubicBezTo>
                <a:lnTo>
                  <a:pt x="15659" y="5247"/>
                </a:lnTo>
                <a:cubicBezTo>
                  <a:pt x="15468" y="5437"/>
                  <a:pt x="15468" y="5749"/>
                  <a:pt x="15659" y="5941"/>
                </a:cubicBezTo>
                <a:cubicBezTo>
                  <a:pt x="15851" y="6132"/>
                  <a:pt x="16162" y="6132"/>
                  <a:pt x="16354" y="5941"/>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3927" y="10800"/>
                </a:moveTo>
                <a:cubicBezTo>
                  <a:pt x="3927" y="10529"/>
                  <a:pt x="3707" y="10309"/>
                  <a:pt x="3436" y="10309"/>
                </a:cubicBezTo>
                <a:lnTo>
                  <a:pt x="491" y="10309"/>
                </a:lnTo>
                <a:cubicBezTo>
                  <a:pt x="220" y="10309"/>
                  <a:pt x="0" y="10529"/>
                  <a:pt x="0" y="10800"/>
                </a:cubicBezTo>
                <a:cubicBezTo>
                  <a:pt x="0" y="11071"/>
                  <a:pt x="220" y="11291"/>
                  <a:pt x="491" y="11291"/>
                </a:cubicBezTo>
                <a:lnTo>
                  <a:pt x="3436" y="11291"/>
                </a:lnTo>
                <a:cubicBezTo>
                  <a:pt x="3707" y="11291"/>
                  <a:pt x="3927" y="11071"/>
                  <a:pt x="3927" y="10800"/>
                </a:cubicBezTo>
                <a:moveTo>
                  <a:pt x="5246" y="5941"/>
                </a:moveTo>
                <a:cubicBezTo>
                  <a:pt x="5438" y="6132"/>
                  <a:pt x="5749" y="6132"/>
                  <a:pt x="5941" y="5941"/>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1"/>
                  <a:pt x="5246" y="594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6" name="Shape 2956"/>
          <p:cNvSpPr/>
          <p:nvPr/>
        </p:nvSpPr>
        <p:spPr>
          <a:xfrm>
            <a:off x="106059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9040" y="18655"/>
                </a:lnTo>
                <a:lnTo>
                  <a:pt x="9327" y="18655"/>
                </a:lnTo>
                <a:cubicBezTo>
                  <a:pt x="9598" y="18655"/>
                  <a:pt x="9818" y="18435"/>
                  <a:pt x="9818" y="18164"/>
                </a:cubicBezTo>
                <a:lnTo>
                  <a:pt x="9818" y="15709"/>
                </a:lnTo>
                <a:lnTo>
                  <a:pt x="11782" y="15709"/>
                </a:lnTo>
                <a:lnTo>
                  <a:pt x="11782" y="18164"/>
                </a:lnTo>
                <a:cubicBezTo>
                  <a:pt x="11782" y="18435"/>
                  <a:pt x="12002" y="18655"/>
                  <a:pt x="12273" y="18655"/>
                </a:cubicBezTo>
                <a:lnTo>
                  <a:pt x="12560" y="18655"/>
                </a:lnTo>
                <a:cubicBezTo>
                  <a:pt x="12560" y="18655"/>
                  <a:pt x="10800" y="20415"/>
                  <a:pt x="10800" y="20415"/>
                </a:cubicBezTo>
                <a:close/>
                <a:moveTo>
                  <a:pt x="13745" y="17673"/>
                </a:moveTo>
                <a:lnTo>
                  <a:pt x="12764" y="17673"/>
                </a:lnTo>
                <a:lnTo>
                  <a:pt x="12764" y="15218"/>
                </a:lnTo>
                <a:cubicBezTo>
                  <a:pt x="12764" y="14947"/>
                  <a:pt x="12544" y="14727"/>
                  <a:pt x="12273" y="14727"/>
                </a:cubicBezTo>
                <a:lnTo>
                  <a:pt x="9327" y="14727"/>
                </a:lnTo>
                <a:cubicBezTo>
                  <a:pt x="9056" y="14727"/>
                  <a:pt x="8836" y="14947"/>
                  <a:pt x="8836" y="15218"/>
                </a:cubicBezTo>
                <a:lnTo>
                  <a:pt x="8836" y="17673"/>
                </a:lnTo>
                <a:lnTo>
                  <a:pt x="7855" y="17673"/>
                </a:lnTo>
                <a:cubicBezTo>
                  <a:pt x="7584" y="17673"/>
                  <a:pt x="7364" y="17892"/>
                  <a:pt x="7364" y="18164"/>
                </a:cubicBezTo>
                <a:cubicBezTo>
                  <a:pt x="7364" y="18299"/>
                  <a:pt x="7419" y="18422"/>
                  <a:pt x="7507" y="18511"/>
                </a:cubicBezTo>
                <a:lnTo>
                  <a:pt x="10453" y="21456"/>
                </a:lnTo>
                <a:cubicBezTo>
                  <a:pt x="10542" y="21545"/>
                  <a:pt x="10665" y="21600"/>
                  <a:pt x="10800" y="21600"/>
                </a:cubicBezTo>
                <a:cubicBezTo>
                  <a:pt x="10935" y="21600"/>
                  <a:pt x="11058" y="21545"/>
                  <a:pt x="11147" y="21456"/>
                </a:cubicBezTo>
                <a:lnTo>
                  <a:pt x="14093" y="18511"/>
                </a:lnTo>
                <a:cubicBezTo>
                  <a:pt x="14181" y="18422"/>
                  <a:pt x="14236" y="18299"/>
                  <a:pt x="14236" y="18164"/>
                </a:cubicBezTo>
                <a:cubicBezTo>
                  <a:pt x="14236" y="17892"/>
                  <a:pt x="14016" y="17673"/>
                  <a:pt x="13745" y="17673"/>
                </a:cubicBezTo>
                <a:moveTo>
                  <a:pt x="5891" y="10800"/>
                </a:moveTo>
                <a:cubicBezTo>
                  <a:pt x="5891" y="8088"/>
                  <a:pt x="8089" y="5891"/>
                  <a:pt x="10800" y="5891"/>
                </a:cubicBezTo>
                <a:cubicBezTo>
                  <a:pt x="13511" y="5891"/>
                  <a:pt x="15709" y="8088"/>
                  <a:pt x="15709" y="10800"/>
                </a:cubicBezTo>
                <a:cubicBezTo>
                  <a:pt x="15709" y="10800"/>
                  <a:pt x="5891" y="10800"/>
                  <a:pt x="5891" y="10800"/>
                </a:cubicBezTo>
                <a:close/>
                <a:moveTo>
                  <a:pt x="21109" y="10800"/>
                </a:moveTo>
                <a:lnTo>
                  <a:pt x="16691" y="10800"/>
                </a:lnTo>
                <a:cubicBezTo>
                  <a:pt x="16691" y="7547"/>
                  <a:pt x="14053" y="4909"/>
                  <a:pt x="10800" y="4909"/>
                </a:cubicBezTo>
                <a:cubicBezTo>
                  <a:pt x="7547" y="4909"/>
                  <a:pt x="4909" y="7547"/>
                  <a:pt x="4909" y="10800"/>
                </a:cubicBezTo>
                <a:lnTo>
                  <a:pt x="491" y="10800"/>
                </a:lnTo>
                <a:cubicBezTo>
                  <a:pt x="220" y="10800"/>
                  <a:pt x="0" y="11020"/>
                  <a:pt x="0" y="11291"/>
                </a:cubicBezTo>
                <a:cubicBezTo>
                  <a:pt x="0" y="11562"/>
                  <a:pt x="220" y="11782"/>
                  <a:pt x="491" y="11782"/>
                </a:cubicBezTo>
                <a:lnTo>
                  <a:pt x="21109" y="11782"/>
                </a:lnTo>
                <a:cubicBezTo>
                  <a:pt x="21380" y="11782"/>
                  <a:pt x="21600" y="11562"/>
                  <a:pt x="21600" y="11291"/>
                </a:cubicBezTo>
                <a:cubicBezTo>
                  <a:pt x="21600" y="11020"/>
                  <a:pt x="21380" y="10800"/>
                  <a:pt x="21109" y="10800"/>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16354" y="5940"/>
                </a:moveTo>
                <a:lnTo>
                  <a:pt x="18437" y="3857"/>
                </a:lnTo>
                <a:cubicBezTo>
                  <a:pt x="18628" y="3666"/>
                  <a:pt x="18628" y="3355"/>
                  <a:pt x="18437" y="3163"/>
                </a:cubicBezTo>
                <a:cubicBezTo>
                  <a:pt x="18245" y="2971"/>
                  <a:pt x="17934" y="2971"/>
                  <a:pt x="17742" y="3163"/>
                </a:cubicBezTo>
                <a:lnTo>
                  <a:pt x="15659" y="5247"/>
                </a:lnTo>
                <a:cubicBezTo>
                  <a:pt x="15468" y="5437"/>
                  <a:pt x="15468" y="5749"/>
                  <a:pt x="15659" y="5940"/>
                </a:cubicBezTo>
                <a:cubicBezTo>
                  <a:pt x="15851" y="6132"/>
                  <a:pt x="16162" y="6132"/>
                  <a:pt x="16354" y="5940"/>
                </a:cubicBezTo>
                <a:moveTo>
                  <a:pt x="5246" y="5940"/>
                </a:moveTo>
                <a:cubicBezTo>
                  <a:pt x="5438" y="6132"/>
                  <a:pt x="5749" y="6132"/>
                  <a:pt x="5941" y="5940"/>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0"/>
                  <a:pt x="5246" y="594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7" name="Shape 2957"/>
          <p:cNvSpPr/>
          <p:nvPr/>
        </p:nvSpPr>
        <p:spPr>
          <a:xfrm>
            <a:off x="1460536"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85"/>
                </a:moveTo>
                <a:lnTo>
                  <a:pt x="12560" y="2945"/>
                </a:lnTo>
                <a:lnTo>
                  <a:pt x="12273" y="2945"/>
                </a:lnTo>
                <a:cubicBezTo>
                  <a:pt x="12002" y="2945"/>
                  <a:pt x="11782" y="3165"/>
                  <a:pt x="11782" y="3436"/>
                </a:cubicBezTo>
                <a:lnTo>
                  <a:pt x="11782" y="5891"/>
                </a:lnTo>
                <a:lnTo>
                  <a:pt x="9818" y="5891"/>
                </a:lnTo>
                <a:lnTo>
                  <a:pt x="9818" y="3436"/>
                </a:lnTo>
                <a:cubicBezTo>
                  <a:pt x="9818" y="3165"/>
                  <a:pt x="9598" y="2945"/>
                  <a:pt x="9327" y="2945"/>
                </a:cubicBezTo>
                <a:lnTo>
                  <a:pt x="9040" y="2945"/>
                </a:lnTo>
                <a:cubicBezTo>
                  <a:pt x="9040" y="2945"/>
                  <a:pt x="10800" y="1185"/>
                  <a:pt x="10800" y="1185"/>
                </a:cubicBezTo>
                <a:close/>
                <a:moveTo>
                  <a:pt x="7855" y="3927"/>
                </a:moveTo>
                <a:lnTo>
                  <a:pt x="8836" y="3927"/>
                </a:lnTo>
                <a:lnTo>
                  <a:pt x="8836" y="6382"/>
                </a:lnTo>
                <a:cubicBezTo>
                  <a:pt x="8836" y="6653"/>
                  <a:pt x="9056" y="6873"/>
                  <a:pt x="9327" y="6873"/>
                </a:cubicBezTo>
                <a:lnTo>
                  <a:pt x="12273" y="6873"/>
                </a:lnTo>
                <a:cubicBezTo>
                  <a:pt x="12544" y="6873"/>
                  <a:pt x="12764" y="6653"/>
                  <a:pt x="12764" y="6382"/>
                </a:cubicBezTo>
                <a:lnTo>
                  <a:pt x="12764" y="3927"/>
                </a:lnTo>
                <a:lnTo>
                  <a:pt x="13745" y="3927"/>
                </a:lnTo>
                <a:cubicBezTo>
                  <a:pt x="14016" y="3927"/>
                  <a:pt x="14236" y="3708"/>
                  <a:pt x="14236" y="3436"/>
                </a:cubicBezTo>
                <a:cubicBezTo>
                  <a:pt x="14236" y="3301"/>
                  <a:pt x="14181" y="3178"/>
                  <a:pt x="14093" y="3089"/>
                </a:cubicBezTo>
                <a:lnTo>
                  <a:pt x="11147" y="144"/>
                </a:lnTo>
                <a:cubicBezTo>
                  <a:pt x="11059" y="55"/>
                  <a:pt x="10935" y="0"/>
                  <a:pt x="10800" y="0"/>
                </a:cubicBezTo>
                <a:cubicBezTo>
                  <a:pt x="10665" y="0"/>
                  <a:pt x="10542" y="55"/>
                  <a:pt x="10452" y="144"/>
                </a:cubicBezTo>
                <a:lnTo>
                  <a:pt x="7507" y="3089"/>
                </a:lnTo>
                <a:cubicBezTo>
                  <a:pt x="7419" y="3178"/>
                  <a:pt x="7364" y="3301"/>
                  <a:pt x="7364" y="3436"/>
                </a:cubicBezTo>
                <a:cubicBezTo>
                  <a:pt x="7364" y="3708"/>
                  <a:pt x="7584" y="3927"/>
                  <a:pt x="7855" y="3927"/>
                </a:cubicBezTo>
                <a:moveTo>
                  <a:pt x="5246" y="15759"/>
                </a:moveTo>
                <a:cubicBezTo>
                  <a:pt x="5438" y="15950"/>
                  <a:pt x="5749" y="15950"/>
                  <a:pt x="5941" y="15759"/>
                </a:cubicBezTo>
                <a:cubicBezTo>
                  <a:pt x="6132" y="15567"/>
                  <a:pt x="6132" y="15256"/>
                  <a:pt x="5941" y="15064"/>
                </a:cubicBezTo>
                <a:lnTo>
                  <a:pt x="3858" y="12981"/>
                </a:lnTo>
                <a:cubicBezTo>
                  <a:pt x="3666" y="12790"/>
                  <a:pt x="3355" y="12790"/>
                  <a:pt x="3163" y="12981"/>
                </a:cubicBezTo>
                <a:cubicBezTo>
                  <a:pt x="2971" y="13173"/>
                  <a:pt x="2971" y="13484"/>
                  <a:pt x="3163" y="13675"/>
                </a:cubicBezTo>
                <a:cubicBezTo>
                  <a:pt x="3163" y="13675"/>
                  <a:pt x="5246" y="15759"/>
                  <a:pt x="5246" y="15759"/>
                </a:cubicBezTo>
                <a:close/>
                <a:moveTo>
                  <a:pt x="10309" y="10309"/>
                </a:moveTo>
                <a:lnTo>
                  <a:pt x="10309" y="13255"/>
                </a:lnTo>
                <a:cubicBezTo>
                  <a:pt x="10309" y="13526"/>
                  <a:pt x="10529" y="13745"/>
                  <a:pt x="10800" y="13745"/>
                </a:cubicBezTo>
                <a:cubicBezTo>
                  <a:pt x="11071" y="13745"/>
                  <a:pt x="11291" y="13526"/>
                  <a:pt x="11291" y="13255"/>
                </a:cubicBezTo>
                <a:lnTo>
                  <a:pt x="11291" y="10309"/>
                </a:lnTo>
                <a:cubicBezTo>
                  <a:pt x="11291" y="10038"/>
                  <a:pt x="11071" y="9818"/>
                  <a:pt x="10800" y="9818"/>
                </a:cubicBezTo>
                <a:cubicBezTo>
                  <a:pt x="10529" y="9818"/>
                  <a:pt x="10309" y="10038"/>
                  <a:pt x="10309" y="10309"/>
                </a:cubicBezTo>
                <a:moveTo>
                  <a:pt x="16354" y="15759"/>
                </a:moveTo>
                <a:lnTo>
                  <a:pt x="18437" y="13675"/>
                </a:lnTo>
                <a:cubicBezTo>
                  <a:pt x="18628" y="13484"/>
                  <a:pt x="18628" y="13173"/>
                  <a:pt x="18437" y="12981"/>
                </a:cubicBezTo>
                <a:cubicBezTo>
                  <a:pt x="18245" y="12790"/>
                  <a:pt x="17934" y="12790"/>
                  <a:pt x="17742" y="12981"/>
                </a:cubicBezTo>
                <a:lnTo>
                  <a:pt x="15659" y="15064"/>
                </a:lnTo>
                <a:cubicBezTo>
                  <a:pt x="15468" y="15256"/>
                  <a:pt x="15468" y="15567"/>
                  <a:pt x="15659" y="15759"/>
                </a:cubicBezTo>
                <a:cubicBezTo>
                  <a:pt x="15851" y="15950"/>
                  <a:pt x="16162" y="15950"/>
                  <a:pt x="16354" y="15759"/>
                </a:cubicBezTo>
                <a:moveTo>
                  <a:pt x="5891" y="20618"/>
                </a:moveTo>
                <a:cubicBezTo>
                  <a:pt x="5891" y="17907"/>
                  <a:pt x="8089" y="15709"/>
                  <a:pt x="10800" y="15709"/>
                </a:cubicBezTo>
                <a:cubicBezTo>
                  <a:pt x="13511" y="15709"/>
                  <a:pt x="15709" y="17907"/>
                  <a:pt x="15709" y="20618"/>
                </a:cubicBezTo>
                <a:cubicBezTo>
                  <a:pt x="15709" y="20618"/>
                  <a:pt x="5891" y="20618"/>
                  <a:pt x="5891" y="20618"/>
                </a:cubicBezTo>
                <a:close/>
                <a:moveTo>
                  <a:pt x="21109" y="20618"/>
                </a:moveTo>
                <a:lnTo>
                  <a:pt x="16691" y="20618"/>
                </a:lnTo>
                <a:cubicBezTo>
                  <a:pt x="16691" y="17365"/>
                  <a:pt x="14053" y="14727"/>
                  <a:pt x="10800" y="14727"/>
                </a:cubicBezTo>
                <a:cubicBezTo>
                  <a:pt x="7547" y="14727"/>
                  <a:pt x="4909" y="17365"/>
                  <a:pt x="4909" y="20618"/>
                </a:cubicBezTo>
                <a:lnTo>
                  <a:pt x="491" y="20618"/>
                </a:lnTo>
                <a:cubicBezTo>
                  <a:pt x="220" y="20618"/>
                  <a:pt x="0" y="20838"/>
                  <a:pt x="0" y="21109"/>
                </a:cubicBezTo>
                <a:cubicBezTo>
                  <a:pt x="0" y="21380"/>
                  <a:pt x="220" y="21600"/>
                  <a:pt x="491" y="21600"/>
                </a:cubicBezTo>
                <a:lnTo>
                  <a:pt x="21109" y="21600"/>
                </a:lnTo>
                <a:cubicBezTo>
                  <a:pt x="21380" y="21600"/>
                  <a:pt x="21600" y="21380"/>
                  <a:pt x="21600" y="21109"/>
                </a:cubicBezTo>
                <a:cubicBezTo>
                  <a:pt x="21600" y="20838"/>
                  <a:pt x="21380" y="20618"/>
                  <a:pt x="21109" y="206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8" name="Shape 2958"/>
          <p:cNvSpPr/>
          <p:nvPr/>
        </p:nvSpPr>
        <p:spPr>
          <a:xfrm>
            <a:off x="1860482"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1964"/>
                </a:moveTo>
                <a:lnTo>
                  <a:pt x="19636" y="1964"/>
                </a:lnTo>
                <a:lnTo>
                  <a:pt x="18900" y="0"/>
                </a:lnTo>
                <a:lnTo>
                  <a:pt x="18164" y="1964"/>
                </a:lnTo>
                <a:lnTo>
                  <a:pt x="16200" y="1964"/>
                </a:lnTo>
                <a:lnTo>
                  <a:pt x="17795" y="3191"/>
                </a:lnTo>
                <a:lnTo>
                  <a:pt x="17059" y="5400"/>
                </a:lnTo>
                <a:lnTo>
                  <a:pt x="18900" y="4050"/>
                </a:lnTo>
                <a:lnTo>
                  <a:pt x="20741" y="5400"/>
                </a:lnTo>
                <a:lnTo>
                  <a:pt x="20005" y="3191"/>
                </a:lnTo>
                <a:cubicBezTo>
                  <a:pt x="20005" y="3191"/>
                  <a:pt x="21600" y="1964"/>
                  <a:pt x="21600" y="1964"/>
                </a:cubicBezTo>
                <a:close/>
                <a:moveTo>
                  <a:pt x="10800" y="20616"/>
                </a:moveTo>
                <a:cubicBezTo>
                  <a:pt x="5386" y="20616"/>
                  <a:pt x="982" y="16203"/>
                  <a:pt x="982" y="10777"/>
                </a:cubicBezTo>
                <a:cubicBezTo>
                  <a:pt x="982" y="6434"/>
                  <a:pt x="3745" y="2741"/>
                  <a:pt x="7690" y="1441"/>
                </a:cubicBezTo>
                <a:cubicBezTo>
                  <a:pt x="6837" y="3102"/>
                  <a:pt x="6382" y="4957"/>
                  <a:pt x="6382" y="6841"/>
                </a:cubicBezTo>
                <a:cubicBezTo>
                  <a:pt x="6382" y="13004"/>
                  <a:pt x="11118" y="18079"/>
                  <a:pt x="17134" y="18604"/>
                </a:cubicBezTo>
                <a:cubicBezTo>
                  <a:pt x="15361" y="19863"/>
                  <a:pt x="13065" y="20616"/>
                  <a:pt x="10800" y="20616"/>
                </a:cubicBezTo>
                <a:moveTo>
                  <a:pt x="7364" y="6841"/>
                </a:moveTo>
                <a:cubicBezTo>
                  <a:pt x="7364" y="4248"/>
                  <a:pt x="8276" y="1870"/>
                  <a:pt x="9794" y="5"/>
                </a:cubicBezTo>
                <a:cubicBezTo>
                  <a:pt x="4302" y="514"/>
                  <a:pt x="0" y="5140"/>
                  <a:pt x="0" y="10777"/>
                </a:cubicBezTo>
                <a:cubicBezTo>
                  <a:pt x="0" y="16755"/>
                  <a:pt x="4836" y="21600"/>
                  <a:pt x="10800" y="21600"/>
                </a:cubicBezTo>
                <a:cubicBezTo>
                  <a:pt x="14176" y="21600"/>
                  <a:pt x="17656" y="20045"/>
                  <a:pt x="19636" y="17613"/>
                </a:cubicBezTo>
                <a:cubicBezTo>
                  <a:pt x="19305" y="17644"/>
                  <a:pt x="18503" y="17665"/>
                  <a:pt x="18164" y="17665"/>
                </a:cubicBezTo>
                <a:cubicBezTo>
                  <a:pt x="12199" y="17665"/>
                  <a:pt x="7364" y="12819"/>
                  <a:pt x="7364" y="6841"/>
                </a:cubicBezTo>
                <a:moveTo>
                  <a:pt x="17673" y="10309"/>
                </a:moveTo>
                <a:lnTo>
                  <a:pt x="17137" y="11737"/>
                </a:lnTo>
                <a:lnTo>
                  <a:pt x="15709" y="11737"/>
                </a:lnTo>
                <a:lnTo>
                  <a:pt x="16869" y="12629"/>
                </a:lnTo>
                <a:lnTo>
                  <a:pt x="16334" y="14236"/>
                </a:lnTo>
                <a:lnTo>
                  <a:pt x="17673" y="13255"/>
                </a:lnTo>
                <a:lnTo>
                  <a:pt x="19011" y="14236"/>
                </a:lnTo>
                <a:lnTo>
                  <a:pt x="18476" y="12629"/>
                </a:lnTo>
                <a:lnTo>
                  <a:pt x="19636" y="11737"/>
                </a:lnTo>
                <a:lnTo>
                  <a:pt x="18208" y="11737"/>
                </a:lnTo>
                <a:cubicBezTo>
                  <a:pt x="18208" y="11737"/>
                  <a:pt x="17673" y="10309"/>
                  <a:pt x="17673" y="10309"/>
                </a:cubicBezTo>
                <a:close/>
                <a:moveTo>
                  <a:pt x="11425" y="9327"/>
                </a:moveTo>
                <a:lnTo>
                  <a:pt x="12764" y="8345"/>
                </a:lnTo>
                <a:lnTo>
                  <a:pt x="14102" y="9327"/>
                </a:lnTo>
                <a:lnTo>
                  <a:pt x="13567" y="7721"/>
                </a:lnTo>
                <a:lnTo>
                  <a:pt x="14727" y="6828"/>
                </a:lnTo>
                <a:lnTo>
                  <a:pt x="13299" y="6828"/>
                </a:lnTo>
                <a:lnTo>
                  <a:pt x="12764" y="5400"/>
                </a:lnTo>
                <a:lnTo>
                  <a:pt x="12228" y="6828"/>
                </a:lnTo>
                <a:lnTo>
                  <a:pt x="10800" y="6828"/>
                </a:lnTo>
                <a:lnTo>
                  <a:pt x="11960" y="7721"/>
                </a:lnTo>
                <a:cubicBezTo>
                  <a:pt x="11960" y="7721"/>
                  <a:pt x="11425" y="9327"/>
                  <a:pt x="11425" y="93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9" name="Shape 2959"/>
          <p:cNvSpPr/>
          <p:nvPr/>
        </p:nvSpPr>
        <p:spPr>
          <a:xfrm>
            <a:off x="226042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855" y="8836"/>
                </a:moveTo>
                <a:cubicBezTo>
                  <a:pt x="6770" y="8836"/>
                  <a:pt x="5891" y="7957"/>
                  <a:pt x="5891" y="6873"/>
                </a:cubicBezTo>
                <a:cubicBezTo>
                  <a:pt x="5891" y="5788"/>
                  <a:pt x="6770" y="4909"/>
                  <a:pt x="7855" y="4909"/>
                </a:cubicBezTo>
                <a:cubicBezTo>
                  <a:pt x="8939" y="4909"/>
                  <a:pt x="9818" y="5788"/>
                  <a:pt x="9818" y="6873"/>
                </a:cubicBezTo>
                <a:cubicBezTo>
                  <a:pt x="9818" y="7957"/>
                  <a:pt x="8939" y="8836"/>
                  <a:pt x="7855" y="8836"/>
                </a:cubicBezTo>
                <a:moveTo>
                  <a:pt x="7855" y="3927"/>
                </a:moveTo>
                <a:cubicBezTo>
                  <a:pt x="6228" y="3927"/>
                  <a:pt x="4909" y="5247"/>
                  <a:pt x="4909" y="6873"/>
                </a:cubicBezTo>
                <a:cubicBezTo>
                  <a:pt x="4909" y="8500"/>
                  <a:pt x="6228" y="9818"/>
                  <a:pt x="7855" y="9818"/>
                </a:cubicBezTo>
                <a:cubicBezTo>
                  <a:pt x="9481" y="9818"/>
                  <a:pt x="10800" y="8500"/>
                  <a:pt x="10800" y="6873"/>
                </a:cubicBezTo>
                <a:cubicBezTo>
                  <a:pt x="10800" y="5247"/>
                  <a:pt x="9481" y="3927"/>
                  <a:pt x="7855" y="3927"/>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273" y="10800"/>
                </a:moveTo>
                <a:cubicBezTo>
                  <a:pt x="12002" y="10800"/>
                  <a:pt x="11782" y="11020"/>
                  <a:pt x="11782" y="11291"/>
                </a:cubicBezTo>
                <a:cubicBezTo>
                  <a:pt x="11782" y="11562"/>
                  <a:pt x="12002" y="11782"/>
                  <a:pt x="12273" y="11782"/>
                </a:cubicBezTo>
                <a:cubicBezTo>
                  <a:pt x="12544" y="11782"/>
                  <a:pt x="12764" y="11562"/>
                  <a:pt x="12764" y="11291"/>
                </a:cubicBezTo>
                <a:cubicBezTo>
                  <a:pt x="12764" y="11020"/>
                  <a:pt x="12544" y="10800"/>
                  <a:pt x="12273" y="10800"/>
                </a:cubicBezTo>
                <a:moveTo>
                  <a:pt x="9327" y="15709"/>
                </a:moveTo>
                <a:cubicBezTo>
                  <a:pt x="9056" y="15709"/>
                  <a:pt x="8836" y="15490"/>
                  <a:pt x="8836" y="15218"/>
                </a:cubicBezTo>
                <a:cubicBezTo>
                  <a:pt x="8836" y="14947"/>
                  <a:pt x="9056" y="14727"/>
                  <a:pt x="9327" y="14727"/>
                </a:cubicBezTo>
                <a:cubicBezTo>
                  <a:pt x="9598" y="14727"/>
                  <a:pt x="9818" y="14947"/>
                  <a:pt x="9818" y="15218"/>
                </a:cubicBezTo>
                <a:cubicBezTo>
                  <a:pt x="9818" y="15490"/>
                  <a:pt x="9598" y="15709"/>
                  <a:pt x="9327" y="15709"/>
                </a:cubicBezTo>
                <a:moveTo>
                  <a:pt x="9327" y="13745"/>
                </a:moveTo>
                <a:cubicBezTo>
                  <a:pt x="8514" y="13745"/>
                  <a:pt x="7855" y="14405"/>
                  <a:pt x="7855" y="15218"/>
                </a:cubicBezTo>
                <a:cubicBezTo>
                  <a:pt x="7855" y="16032"/>
                  <a:pt x="8514" y="16691"/>
                  <a:pt x="9327" y="16691"/>
                </a:cubicBezTo>
                <a:cubicBezTo>
                  <a:pt x="10141" y="16691"/>
                  <a:pt x="10800" y="16032"/>
                  <a:pt x="10800" y="15218"/>
                </a:cubicBezTo>
                <a:cubicBezTo>
                  <a:pt x="10800" y="14405"/>
                  <a:pt x="10141" y="13745"/>
                  <a:pt x="9327" y="13745"/>
                </a:cubicBezTo>
                <a:moveTo>
                  <a:pt x="4909" y="11782"/>
                </a:moveTo>
                <a:cubicBezTo>
                  <a:pt x="4367" y="11782"/>
                  <a:pt x="3927" y="12222"/>
                  <a:pt x="3927" y="12764"/>
                </a:cubicBezTo>
                <a:cubicBezTo>
                  <a:pt x="3927" y="13305"/>
                  <a:pt x="4367" y="13745"/>
                  <a:pt x="4909" y="13745"/>
                </a:cubicBezTo>
                <a:cubicBezTo>
                  <a:pt x="5451" y="13745"/>
                  <a:pt x="5891" y="13305"/>
                  <a:pt x="5891" y="12764"/>
                </a:cubicBezTo>
                <a:cubicBezTo>
                  <a:pt x="5891" y="12222"/>
                  <a:pt x="5451" y="11782"/>
                  <a:pt x="4909" y="11782"/>
                </a:cubicBezTo>
                <a:moveTo>
                  <a:pt x="14236" y="16691"/>
                </a:moveTo>
                <a:cubicBezTo>
                  <a:pt x="13966" y="16691"/>
                  <a:pt x="13745" y="16911"/>
                  <a:pt x="13745" y="17182"/>
                </a:cubicBezTo>
                <a:cubicBezTo>
                  <a:pt x="13745" y="17453"/>
                  <a:pt x="13966" y="17673"/>
                  <a:pt x="14236" y="17673"/>
                </a:cubicBezTo>
                <a:cubicBezTo>
                  <a:pt x="14507" y="17673"/>
                  <a:pt x="14727" y="17453"/>
                  <a:pt x="14727" y="17182"/>
                </a:cubicBezTo>
                <a:cubicBezTo>
                  <a:pt x="14727" y="16911"/>
                  <a:pt x="14507" y="16691"/>
                  <a:pt x="14236" y="16691"/>
                </a:cubicBezTo>
                <a:moveTo>
                  <a:pt x="16691" y="11782"/>
                </a:moveTo>
                <a:cubicBezTo>
                  <a:pt x="16149" y="11782"/>
                  <a:pt x="15709" y="11342"/>
                  <a:pt x="15709" y="10800"/>
                </a:cubicBezTo>
                <a:cubicBezTo>
                  <a:pt x="15709" y="10258"/>
                  <a:pt x="16149" y="9818"/>
                  <a:pt x="16691" y="9818"/>
                </a:cubicBezTo>
                <a:cubicBezTo>
                  <a:pt x="17233" y="9818"/>
                  <a:pt x="17673" y="10258"/>
                  <a:pt x="17673" y="10800"/>
                </a:cubicBezTo>
                <a:cubicBezTo>
                  <a:pt x="17673" y="11342"/>
                  <a:pt x="17233" y="11782"/>
                  <a:pt x="16691" y="11782"/>
                </a:cubicBezTo>
                <a:moveTo>
                  <a:pt x="16691" y="8836"/>
                </a:moveTo>
                <a:cubicBezTo>
                  <a:pt x="15606" y="8836"/>
                  <a:pt x="14727" y="9716"/>
                  <a:pt x="14727" y="10800"/>
                </a:cubicBezTo>
                <a:cubicBezTo>
                  <a:pt x="14727" y="11884"/>
                  <a:pt x="15606" y="12764"/>
                  <a:pt x="16691" y="12764"/>
                </a:cubicBezTo>
                <a:cubicBezTo>
                  <a:pt x="17775" y="12764"/>
                  <a:pt x="18655" y="11884"/>
                  <a:pt x="18655" y="10800"/>
                </a:cubicBezTo>
                <a:cubicBezTo>
                  <a:pt x="18655" y="9716"/>
                  <a:pt x="17775" y="8836"/>
                  <a:pt x="16691"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0" name="Shape 2960"/>
          <p:cNvSpPr/>
          <p:nvPr/>
        </p:nvSpPr>
        <p:spPr>
          <a:xfrm>
            <a:off x="2660372" y="3507987"/>
            <a:ext cx="209522" cy="152361"/>
          </a:xfrm>
          <a:custGeom>
            <a:avLst/>
            <a:gdLst/>
            <a:ahLst/>
            <a:cxnLst>
              <a:cxn ang="0">
                <a:pos x="wd2" y="hd2"/>
              </a:cxn>
              <a:cxn ang="5400000">
                <a:pos x="wd2" y="hd2"/>
              </a:cxn>
              <a:cxn ang="10800000">
                <a:pos x="wd2" y="hd2"/>
              </a:cxn>
              <a:cxn ang="16200000">
                <a:pos x="wd2" y="hd2"/>
              </a:cxn>
            </a:cxnLst>
            <a:rect l="0" t="0" r="r" b="b"/>
            <a:pathLst>
              <a:path w="21016" h="21600" extrusionOk="0">
                <a:moveTo>
                  <a:pt x="17140" y="11946"/>
                </a:moveTo>
                <a:cubicBezTo>
                  <a:pt x="15736" y="13192"/>
                  <a:pt x="13853" y="14375"/>
                  <a:pt x="11542" y="15211"/>
                </a:cubicBezTo>
                <a:cubicBezTo>
                  <a:pt x="9755" y="15857"/>
                  <a:pt x="7947" y="16197"/>
                  <a:pt x="6315" y="16197"/>
                </a:cubicBezTo>
                <a:cubicBezTo>
                  <a:pt x="5843" y="16197"/>
                  <a:pt x="5401" y="16158"/>
                  <a:pt x="4974" y="16102"/>
                </a:cubicBezTo>
                <a:cubicBezTo>
                  <a:pt x="4247" y="14590"/>
                  <a:pt x="3822" y="12766"/>
                  <a:pt x="3822" y="10800"/>
                </a:cubicBezTo>
                <a:cubicBezTo>
                  <a:pt x="3822" y="5581"/>
                  <a:pt x="6815" y="1350"/>
                  <a:pt x="10508" y="1350"/>
                </a:cubicBezTo>
                <a:cubicBezTo>
                  <a:pt x="14201" y="1350"/>
                  <a:pt x="17194" y="5581"/>
                  <a:pt x="17194" y="10800"/>
                </a:cubicBezTo>
                <a:cubicBezTo>
                  <a:pt x="17194" y="11189"/>
                  <a:pt x="17172" y="11570"/>
                  <a:pt x="17140" y="11946"/>
                </a:cubicBezTo>
                <a:moveTo>
                  <a:pt x="10508" y="20250"/>
                </a:moveTo>
                <a:cubicBezTo>
                  <a:pt x="8681" y="20250"/>
                  <a:pt x="7028" y="19212"/>
                  <a:pt x="5821" y="17534"/>
                </a:cubicBezTo>
                <a:cubicBezTo>
                  <a:pt x="5984" y="17541"/>
                  <a:pt x="6147" y="17547"/>
                  <a:pt x="6315" y="17547"/>
                </a:cubicBezTo>
                <a:cubicBezTo>
                  <a:pt x="7976" y="17547"/>
                  <a:pt x="9848" y="17215"/>
                  <a:pt x="11778" y="16518"/>
                </a:cubicBezTo>
                <a:cubicBezTo>
                  <a:pt x="13697" y="15824"/>
                  <a:pt x="15425" y="14854"/>
                  <a:pt x="16859" y="13742"/>
                </a:cubicBezTo>
                <a:cubicBezTo>
                  <a:pt x="15984" y="17519"/>
                  <a:pt x="13473" y="20250"/>
                  <a:pt x="10508" y="20250"/>
                </a:cubicBezTo>
                <a:moveTo>
                  <a:pt x="20938" y="6356"/>
                </a:moveTo>
                <a:cubicBezTo>
                  <a:pt x="20592" y="4617"/>
                  <a:pt x="19141" y="3452"/>
                  <a:pt x="17072" y="2964"/>
                </a:cubicBezTo>
                <a:cubicBezTo>
                  <a:pt x="17380" y="3481"/>
                  <a:pt x="17660" y="4034"/>
                  <a:pt x="17905" y="4620"/>
                </a:cubicBezTo>
                <a:cubicBezTo>
                  <a:pt x="19058" y="5088"/>
                  <a:pt x="19838" y="5815"/>
                  <a:pt x="20018" y="6721"/>
                </a:cubicBezTo>
                <a:cubicBezTo>
                  <a:pt x="20123" y="7246"/>
                  <a:pt x="20033" y="7861"/>
                  <a:pt x="19752" y="8549"/>
                </a:cubicBezTo>
                <a:cubicBezTo>
                  <a:pt x="19449" y="9292"/>
                  <a:pt x="18904" y="10122"/>
                  <a:pt x="18143" y="10958"/>
                </a:cubicBezTo>
                <a:cubicBezTo>
                  <a:pt x="18144" y="10905"/>
                  <a:pt x="18149" y="10853"/>
                  <a:pt x="18149" y="10800"/>
                </a:cubicBezTo>
                <a:cubicBezTo>
                  <a:pt x="18149" y="4835"/>
                  <a:pt x="14728" y="0"/>
                  <a:pt x="10508" y="0"/>
                </a:cubicBezTo>
                <a:cubicBezTo>
                  <a:pt x="6288" y="0"/>
                  <a:pt x="2867" y="4835"/>
                  <a:pt x="2867" y="10800"/>
                </a:cubicBezTo>
                <a:cubicBezTo>
                  <a:pt x="2867" y="12627"/>
                  <a:pt x="3190" y="14345"/>
                  <a:pt x="3756" y="15853"/>
                </a:cubicBezTo>
                <a:cubicBezTo>
                  <a:pt x="2245" y="15418"/>
                  <a:pt x="1209" y="14595"/>
                  <a:pt x="997" y="13528"/>
                </a:cubicBezTo>
                <a:cubicBezTo>
                  <a:pt x="893" y="13003"/>
                  <a:pt x="982" y="12389"/>
                  <a:pt x="1263" y="11700"/>
                </a:cubicBezTo>
                <a:cubicBezTo>
                  <a:pt x="1416" y="11327"/>
                  <a:pt x="1650" y="10926"/>
                  <a:pt x="1922" y="10518"/>
                </a:cubicBezTo>
                <a:cubicBezTo>
                  <a:pt x="1933" y="9817"/>
                  <a:pt x="1982" y="9128"/>
                  <a:pt x="2074" y="8461"/>
                </a:cubicBezTo>
                <a:cubicBezTo>
                  <a:pt x="528" y="10248"/>
                  <a:pt x="-261" y="12188"/>
                  <a:pt x="78" y="13893"/>
                </a:cubicBezTo>
                <a:cubicBezTo>
                  <a:pt x="452" y="15777"/>
                  <a:pt x="2118" y="16988"/>
                  <a:pt x="4465" y="17394"/>
                </a:cubicBezTo>
                <a:cubicBezTo>
                  <a:pt x="5863" y="19948"/>
                  <a:pt x="8046" y="21600"/>
                  <a:pt x="10508" y="21600"/>
                </a:cubicBezTo>
                <a:cubicBezTo>
                  <a:pt x="14255" y="21600"/>
                  <a:pt x="17365" y="17785"/>
                  <a:pt x="18017" y="12755"/>
                </a:cubicBezTo>
                <a:cubicBezTo>
                  <a:pt x="20167" y="10724"/>
                  <a:pt x="21339" y="8374"/>
                  <a:pt x="20938" y="6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1" name="Shape 2961"/>
          <p:cNvSpPr/>
          <p:nvPr/>
        </p:nvSpPr>
        <p:spPr>
          <a:xfrm>
            <a:off x="3088887" y="3479418"/>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581" y="20618"/>
                  <a:pt x="1350" y="17422"/>
                  <a:pt x="1350" y="13478"/>
                </a:cubicBezTo>
                <a:cubicBezTo>
                  <a:pt x="1350" y="8836"/>
                  <a:pt x="10125" y="1166"/>
                  <a:pt x="10800" y="1166"/>
                </a:cubicBezTo>
                <a:cubicBezTo>
                  <a:pt x="11475" y="1166"/>
                  <a:pt x="20250" y="8836"/>
                  <a:pt x="20250" y="13478"/>
                </a:cubicBezTo>
                <a:cubicBezTo>
                  <a:pt x="20250" y="17422"/>
                  <a:pt x="16019" y="20618"/>
                  <a:pt x="10800" y="20618"/>
                </a:cubicBezTo>
                <a:moveTo>
                  <a:pt x="10800" y="0"/>
                </a:moveTo>
                <a:cubicBezTo>
                  <a:pt x="9450" y="0"/>
                  <a:pt x="0" y="8345"/>
                  <a:pt x="0" y="13745"/>
                </a:cubicBezTo>
                <a:cubicBezTo>
                  <a:pt x="0" y="18083"/>
                  <a:pt x="4836" y="21600"/>
                  <a:pt x="10800" y="21600"/>
                </a:cubicBezTo>
                <a:cubicBezTo>
                  <a:pt x="16765" y="21600"/>
                  <a:pt x="21600" y="18083"/>
                  <a:pt x="21600" y="13745"/>
                </a:cubicBezTo>
                <a:cubicBezTo>
                  <a:pt x="21600" y="8345"/>
                  <a:pt x="12150" y="0"/>
                  <a:pt x="10800" y="0"/>
                </a:cubicBezTo>
                <a:moveTo>
                  <a:pt x="10800" y="18655"/>
                </a:moveTo>
                <a:cubicBezTo>
                  <a:pt x="7072" y="18655"/>
                  <a:pt x="4050" y="16456"/>
                  <a:pt x="4050" y="13745"/>
                </a:cubicBezTo>
                <a:cubicBezTo>
                  <a:pt x="4050" y="13474"/>
                  <a:pt x="3748" y="13255"/>
                  <a:pt x="3375" y="13255"/>
                </a:cubicBezTo>
                <a:cubicBezTo>
                  <a:pt x="3002" y="13255"/>
                  <a:pt x="2700" y="13474"/>
                  <a:pt x="2700" y="13745"/>
                </a:cubicBezTo>
                <a:cubicBezTo>
                  <a:pt x="2700" y="16999"/>
                  <a:pt x="6327" y="19636"/>
                  <a:pt x="10800" y="19636"/>
                </a:cubicBezTo>
                <a:cubicBezTo>
                  <a:pt x="11173" y="19636"/>
                  <a:pt x="11475" y="19417"/>
                  <a:pt x="11475" y="19145"/>
                </a:cubicBezTo>
                <a:cubicBezTo>
                  <a:pt x="11475" y="18875"/>
                  <a:pt x="11173"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2" name="Shape 2962"/>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3927"/>
                </a:moveTo>
                <a:cubicBezTo>
                  <a:pt x="13204" y="3927"/>
                  <a:pt x="12764" y="4367"/>
                  <a:pt x="12764" y="4909"/>
                </a:cubicBezTo>
                <a:cubicBezTo>
                  <a:pt x="12764" y="5451"/>
                  <a:pt x="13204" y="5891"/>
                  <a:pt x="13745" y="5891"/>
                </a:cubicBezTo>
                <a:cubicBezTo>
                  <a:pt x="14287" y="5891"/>
                  <a:pt x="14727" y="5451"/>
                  <a:pt x="14727" y="4909"/>
                </a:cubicBezTo>
                <a:cubicBezTo>
                  <a:pt x="14727" y="4367"/>
                  <a:pt x="14287" y="3927"/>
                  <a:pt x="13745" y="3927"/>
                </a:cubicBezTo>
                <a:moveTo>
                  <a:pt x="16691" y="7855"/>
                </a:moveTo>
                <a:cubicBezTo>
                  <a:pt x="16149" y="7855"/>
                  <a:pt x="15709" y="8295"/>
                  <a:pt x="15709" y="8836"/>
                </a:cubicBezTo>
                <a:cubicBezTo>
                  <a:pt x="15709" y="9378"/>
                  <a:pt x="16149" y="9818"/>
                  <a:pt x="16691" y="9818"/>
                </a:cubicBezTo>
                <a:cubicBezTo>
                  <a:pt x="17233" y="9818"/>
                  <a:pt x="17673" y="9378"/>
                  <a:pt x="17673" y="8836"/>
                </a:cubicBezTo>
                <a:cubicBezTo>
                  <a:pt x="17673" y="8295"/>
                  <a:pt x="17233" y="7855"/>
                  <a:pt x="16691" y="7855"/>
                </a:cubicBezTo>
                <a:moveTo>
                  <a:pt x="7855" y="4909"/>
                </a:moveTo>
                <a:cubicBezTo>
                  <a:pt x="7313" y="4909"/>
                  <a:pt x="6873" y="5349"/>
                  <a:pt x="6873" y="5891"/>
                </a:cubicBezTo>
                <a:cubicBezTo>
                  <a:pt x="6873" y="6433"/>
                  <a:pt x="7313" y="6873"/>
                  <a:pt x="7855" y="6873"/>
                </a:cubicBezTo>
                <a:cubicBezTo>
                  <a:pt x="8396" y="6873"/>
                  <a:pt x="8836" y="6433"/>
                  <a:pt x="8836" y="5891"/>
                </a:cubicBezTo>
                <a:cubicBezTo>
                  <a:pt x="8836" y="5349"/>
                  <a:pt x="8396" y="4909"/>
                  <a:pt x="7855" y="4909"/>
                </a:cubicBezTo>
                <a:moveTo>
                  <a:pt x="3927" y="7855"/>
                </a:moveTo>
                <a:cubicBezTo>
                  <a:pt x="3385" y="7855"/>
                  <a:pt x="2945" y="8295"/>
                  <a:pt x="2945" y="8836"/>
                </a:cubicBezTo>
                <a:cubicBezTo>
                  <a:pt x="2945" y="9378"/>
                  <a:pt x="3385" y="9818"/>
                  <a:pt x="3927" y="9818"/>
                </a:cubicBezTo>
                <a:cubicBezTo>
                  <a:pt x="4469" y="9818"/>
                  <a:pt x="4909" y="9378"/>
                  <a:pt x="4909" y="8836"/>
                </a:cubicBezTo>
                <a:cubicBezTo>
                  <a:pt x="4909" y="8295"/>
                  <a:pt x="4469" y="7855"/>
                  <a:pt x="3927" y="7855"/>
                </a:cubicBezTo>
                <a:moveTo>
                  <a:pt x="1008" y="10800"/>
                </a:moveTo>
                <a:cubicBezTo>
                  <a:pt x="1278" y="5878"/>
                  <a:pt x="5552" y="1964"/>
                  <a:pt x="10800" y="1964"/>
                </a:cubicBezTo>
                <a:cubicBezTo>
                  <a:pt x="16048" y="1964"/>
                  <a:pt x="20322" y="5878"/>
                  <a:pt x="20592" y="10800"/>
                </a:cubicBezTo>
                <a:cubicBezTo>
                  <a:pt x="20592" y="10800"/>
                  <a:pt x="1008" y="10800"/>
                  <a:pt x="1008" y="10800"/>
                </a:cubicBezTo>
                <a:close/>
                <a:moveTo>
                  <a:pt x="11291" y="1005"/>
                </a:moveTo>
                <a:lnTo>
                  <a:pt x="11291" y="491"/>
                </a:lnTo>
                <a:cubicBezTo>
                  <a:pt x="11291" y="220"/>
                  <a:pt x="11071" y="0"/>
                  <a:pt x="10800" y="0"/>
                </a:cubicBezTo>
                <a:cubicBezTo>
                  <a:pt x="10529" y="0"/>
                  <a:pt x="10309" y="220"/>
                  <a:pt x="10309" y="491"/>
                </a:cubicBezTo>
                <a:lnTo>
                  <a:pt x="10309" y="1005"/>
                </a:lnTo>
                <a:cubicBezTo>
                  <a:pt x="4574" y="1252"/>
                  <a:pt x="0" y="5756"/>
                  <a:pt x="0" y="11291"/>
                </a:cubicBezTo>
                <a:cubicBezTo>
                  <a:pt x="0" y="11562"/>
                  <a:pt x="220" y="11782"/>
                  <a:pt x="491" y="11782"/>
                </a:cubicBezTo>
                <a:lnTo>
                  <a:pt x="10309" y="11782"/>
                </a:lnTo>
                <a:lnTo>
                  <a:pt x="10309" y="18655"/>
                </a:lnTo>
                <a:cubicBezTo>
                  <a:pt x="10309" y="19739"/>
                  <a:pt x="9430" y="20618"/>
                  <a:pt x="8345" y="20618"/>
                </a:cubicBezTo>
                <a:cubicBezTo>
                  <a:pt x="7261" y="20618"/>
                  <a:pt x="6382" y="19739"/>
                  <a:pt x="6382" y="18655"/>
                </a:cubicBezTo>
                <a:cubicBezTo>
                  <a:pt x="6382" y="18383"/>
                  <a:pt x="6162" y="18164"/>
                  <a:pt x="5891" y="18164"/>
                </a:cubicBezTo>
                <a:cubicBezTo>
                  <a:pt x="5620" y="18164"/>
                  <a:pt x="5400" y="18383"/>
                  <a:pt x="5400" y="18655"/>
                </a:cubicBezTo>
                <a:cubicBezTo>
                  <a:pt x="5400" y="20281"/>
                  <a:pt x="6719" y="21600"/>
                  <a:pt x="8345" y="21600"/>
                </a:cubicBezTo>
                <a:cubicBezTo>
                  <a:pt x="9804" y="21600"/>
                  <a:pt x="11007" y="20537"/>
                  <a:pt x="11242" y="19145"/>
                </a:cubicBezTo>
                <a:lnTo>
                  <a:pt x="11291" y="19145"/>
                </a:lnTo>
                <a:lnTo>
                  <a:pt x="11291" y="11782"/>
                </a:lnTo>
                <a:lnTo>
                  <a:pt x="21109" y="11782"/>
                </a:lnTo>
                <a:cubicBezTo>
                  <a:pt x="21380" y="11782"/>
                  <a:pt x="21600" y="11562"/>
                  <a:pt x="21600" y="11291"/>
                </a:cubicBezTo>
                <a:cubicBezTo>
                  <a:pt x="21600" y="5756"/>
                  <a:pt x="17026" y="1252"/>
                  <a:pt x="11291" y="1005"/>
                </a:cubicBezTo>
                <a:moveTo>
                  <a:pt x="10800" y="6873"/>
                </a:moveTo>
                <a:cubicBezTo>
                  <a:pt x="10258" y="6873"/>
                  <a:pt x="9818" y="7313"/>
                  <a:pt x="9818" y="7855"/>
                </a:cubicBezTo>
                <a:cubicBezTo>
                  <a:pt x="9818" y="8396"/>
                  <a:pt x="10258" y="8836"/>
                  <a:pt x="10800" y="8836"/>
                </a:cubicBezTo>
                <a:cubicBezTo>
                  <a:pt x="11342" y="8836"/>
                  <a:pt x="11782" y="8396"/>
                  <a:pt x="11782" y="7855"/>
                </a:cubicBezTo>
                <a:cubicBezTo>
                  <a:pt x="11782" y="7313"/>
                  <a:pt x="11342"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3" name="Shape 2963"/>
          <p:cNvSpPr/>
          <p:nvPr/>
        </p:nvSpPr>
        <p:spPr>
          <a:xfrm>
            <a:off x="3860211" y="352703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8632" y="19800"/>
                </a:moveTo>
                <a:cubicBezTo>
                  <a:pt x="18391" y="11772"/>
                  <a:pt x="14982" y="5400"/>
                  <a:pt x="10800" y="5400"/>
                </a:cubicBezTo>
                <a:cubicBezTo>
                  <a:pt x="6618" y="5400"/>
                  <a:pt x="3209" y="11772"/>
                  <a:pt x="2968" y="19800"/>
                </a:cubicBezTo>
                <a:lnTo>
                  <a:pt x="1005" y="19800"/>
                </a:lnTo>
                <a:cubicBezTo>
                  <a:pt x="1251" y="9783"/>
                  <a:pt x="5535" y="1800"/>
                  <a:pt x="10800" y="1800"/>
                </a:cubicBezTo>
                <a:cubicBezTo>
                  <a:pt x="16065" y="1800"/>
                  <a:pt x="20349" y="9783"/>
                  <a:pt x="20595" y="19800"/>
                </a:cubicBezTo>
                <a:cubicBezTo>
                  <a:pt x="20595" y="19800"/>
                  <a:pt x="18632" y="19800"/>
                  <a:pt x="18632" y="19800"/>
                </a:cubicBezTo>
                <a:close/>
                <a:moveTo>
                  <a:pt x="15687" y="19800"/>
                </a:moveTo>
                <a:cubicBezTo>
                  <a:pt x="15461" y="14755"/>
                  <a:pt x="13360" y="10800"/>
                  <a:pt x="10800" y="10800"/>
                </a:cubicBezTo>
                <a:cubicBezTo>
                  <a:pt x="8240" y="10800"/>
                  <a:pt x="6139" y="14755"/>
                  <a:pt x="5913" y="19800"/>
                </a:cubicBezTo>
                <a:lnTo>
                  <a:pt x="3950" y="19800"/>
                </a:lnTo>
                <a:cubicBezTo>
                  <a:pt x="4187" y="12767"/>
                  <a:pt x="7159" y="7200"/>
                  <a:pt x="10800" y="7200"/>
                </a:cubicBezTo>
                <a:cubicBezTo>
                  <a:pt x="14441" y="7200"/>
                  <a:pt x="17413" y="12767"/>
                  <a:pt x="17650" y="19800"/>
                </a:cubicBezTo>
                <a:cubicBezTo>
                  <a:pt x="17650" y="19800"/>
                  <a:pt x="15687" y="19800"/>
                  <a:pt x="15687" y="19800"/>
                </a:cubicBezTo>
                <a:close/>
                <a:moveTo>
                  <a:pt x="12724" y="19800"/>
                </a:moveTo>
                <a:cubicBezTo>
                  <a:pt x="12542" y="17747"/>
                  <a:pt x="11750" y="16200"/>
                  <a:pt x="10800" y="16200"/>
                </a:cubicBezTo>
                <a:cubicBezTo>
                  <a:pt x="9850" y="16200"/>
                  <a:pt x="9058" y="17747"/>
                  <a:pt x="8876" y="19800"/>
                </a:cubicBezTo>
                <a:lnTo>
                  <a:pt x="6899" y="19800"/>
                </a:lnTo>
                <a:cubicBezTo>
                  <a:pt x="7115" y="15751"/>
                  <a:pt x="8779" y="12600"/>
                  <a:pt x="10800" y="12600"/>
                </a:cubicBezTo>
                <a:cubicBezTo>
                  <a:pt x="12821" y="12600"/>
                  <a:pt x="14485" y="15751"/>
                  <a:pt x="14701" y="19800"/>
                </a:cubicBezTo>
                <a:cubicBezTo>
                  <a:pt x="14701" y="19800"/>
                  <a:pt x="12724" y="19800"/>
                  <a:pt x="12724" y="19800"/>
                </a:cubicBezTo>
                <a:close/>
                <a:moveTo>
                  <a:pt x="10800" y="0"/>
                </a:moveTo>
                <a:cubicBezTo>
                  <a:pt x="4835" y="0"/>
                  <a:pt x="0" y="9268"/>
                  <a:pt x="0" y="20700"/>
                </a:cubicBezTo>
                <a:cubicBezTo>
                  <a:pt x="0" y="21197"/>
                  <a:pt x="220" y="21600"/>
                  <a:pt x="491" y="21600"/>
                </a:cubicBezTo>
                <a:lnTo>
                  <a:pt x="9327" y="21600"/>
                </a:lnTo>
                <a:cubicBezTo>
                  <a:pt x="9599" y="21600"/>
                  <a:pt x="9818" y="21197"/>
                  <a:pt x="9818" y="20700"/>
                </a:cubicBezTo>
                <a:cubicBezTo>
                  <a:pt x="9818" y="19209"/>
                  <a:pt x="10258" y="18000"/>
                  <a:pt x="10800" y="18000"/>
                </a:cubicBezTo>
                <a:cubicBezTo>
                  <a:pt x="11342" y="18000"/>
                  <a:pt x="11782" y="19209"/>
                  <a:pt x="11782" y="20700"/>
                </a:cubicBezTo>
                <a:cubicBezTo>
                  <a:pt x="11782" y="21197"/>
                  <a:pt x="12001" y="21600"/>
                  <a:pt x="12273" y="21600"/>
                </a:cubicBezTo>
                <a:lnTo>
                  <a:pt x="21109" y="21600"/>
                </a:lnTo>
                <a:cubicBezTo>
                  <a:pt x="21380" y="21600"/>
                  <a:pt x="21600" y="21197"/>
                  <a:pt x="21600" y="20700"/>
                </a:cubicBezTo>
                <a:cubicBezTo>
                  <a:pt x="21600" y="9268"/>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4" name="Shape 2964"/>
          <p:cNvSpPr/>
          <p:nvPr/>
        </p:nvSpPr>
        <p:spPr>
          <a:xfrm>
            <a:off x="4260157" y="3507987"/>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20250"/>
                </a:moveTo>
                <a:lnTo>
                  <a:pt x="4418" y="20250"/>
                </a:lnTo>
                <a:cubicBezTo>
                  <a:pt x="2524" y="20250"/>
                  <a:pt x="982" y="18130"/>
                  <a:pt x="982" y="15525"/>
                </a:cubicBezTo>
                <a:cubicBezTo>
                  <a:pt x="982" y="13489"/>
                  <a:pt x="1926" y="11690"/>
                  <a:pt x="3333" y="11045"/>
                </a:cubicBezTo>
                <a:lnTo>
                  <a:pt x="4165" y="10664"/>
                </a:lnTo>
                <a:lnTo>
                  <a:pt x="3982" y="9484"/>
                </a:lnTo>
                <a:cubicBezTo>
                  <a:pt x="3946" y="9247"/>
                  <a:pt x="3927" y="9008"/>
                  <a:pt x="3927" y="8775"/>
                </a:cubicBezTo>
                <a:cubicBezTo>
                  <a:pt x="3927" y="6914"/>
                  <a:pt x="5028" y="5400"/>
                  <a:pt x="6382" y="5400"/>
                </a:cubicBezTo>
                <a:cubicBezTo>
                  <a:pt x="6662" y="5400"/>
                  <a:pt x="6942" y="5470"/>
                  <a:pt x="7215" y="5605"/>
                </a:cubicBezTo>
                <a:lnTo>
                  <a:pt x="8019" y="6006"/>
                </a:lnTo>
                <a:lnTo>
                  <a:pt x="8418" y="4965"/>
                </a:lnTo>
                <a:cubicBezTo>
                  <a:pt x="9272" y="2735"/>
                  <a:pt x="10937" y="1350"/>
                  <a:pt x="12764" y="1350"/>
                </a:cubicBezTo>
                <a:cubicBezTo>
                  <a:pt x="15470" y="1350"/>
                  <a:pt x="17673" y="4378"/>
                  <a:pt x="17673" y="8100"/>
                </a:cubicBezTo>
                <a:cubicBezTo>
                  <a:pt x="17673" y="8218"/>
                  <a:pt x="17666" y="8333"/>
                  <a:pt x="17660" y="8449"/>
                </a:cubicBezTo>
                <a:lnTo>
                  <a:pt x="17655" y="8565"/>
                </a:lnTo>
                <a:lnTo>
                  <a:pt x="17610" y="9515"/>
                </a:lnTo>
                <a:lnTo>
                  <a:pt x="18245" y="9892"/>
                </a:lnTo>
                <a:cubicBezTo>
                  <a:pt x="19687" y="10747"/>
                  <a:pt x="20618" y="12693"/>
                  <a:pt x="20618" y="14850"/>
                </a:cubicBezTo>
                <a:cubicBezTo>
                  <a:pt x="20618" y="17828"/>
                  <a:pt x="18856" y="20250"/>
                  <a:pt x="16691" y="20250"/>
                </a:cubicBezTo>
                <a:moveTo>
                  <a:pt x="18634" y="8652"/>
                </a:moveTo>
                <a:cubicBezTo>
                  <a:pt x="18643" y="8469"/>
                  <a:pt x="18655" y="8287"/>
                  <a:pt x="18655" y="8100"/>
                </a:cubicBezTo>
                <a:cubicBezTo>
                  <a:pt x="18655" y="3627"/>
                  <a:pt x="16017" y="0"/>
                  <a:pt x="12764" y="0"/>
                </a:cubicBezTo>
                <a:cubicBezTo>
                  <a:pt x="10499" y="0"/>
                  <a:pt x="8536" y="1759"/>
                  <a:pt x="7550" y="4336"/>
                </a:cubicBezTo>
                <a:cubicBezTo>
                  <a:pt x="7185" y="4154"/>
                  <a:pt x="6793" y="4050"/>
                  <a:pt x="6382" y="4050"/>
                </a:cubicBezTo>
                <a:cubicBezTo>
                  <a:pt x="4484" y="4050"/>
                  <a:pt x="2945" y="6165"/>
                  <a:pt x="2945" y="8775"/>
                </a:cubicBezTo>
                <a:cubicBezTo>
                  <a:pt x="2945" y="9114"/>
                  <a:pt x="2973" y="9445"/>
                  <a:pt x="3022" y="9764"/>
                </a:cubicBezTo>
                <a:cubicBezTo>
                  <a:pt x="1267" y="10569"/>
                  <a:pt x="0" y="12841"/>
                  <a:pt x="0" y="15525"/>
                </a:cubicBezTo>
                <a:cubicBezTo>
                  <a:pt x="0" y="18880"/>
                  <a:pt x="1978" y="21600"/>
                  <a:pt x="4418" y="21600"/>
                </a:cubicBezTo>
                <a:lnTo>
                  <a:pt x="16691" y="21600"/>
                </a:lnTo>
                <a:cubicBezTo>
                  <a:pt x="19401" y="21600"/>
                  <a:pt x="21600" y="18578"/>
                  <a:pt x="21600" y="14850"/>
                </a:cubicBezTo>
                <a:cubicBezTo>
                  <a:pt x="21600" y="12072"/>
                  <a:pt x="20378" y="9687"/>
                  <a:pt x="18634" y="86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5" name="Shape 2965"/>
          <p:cNvSpPr/>
          <p:nvPr/>
        </p:nvSpPr>
        <p:spPr>
          <a:xfrm>
            <a:off x="660644" y="3926977"/>
            <a:ext cx="209495" cy="123793"/>
          </a:xfrm>
          <a:custGeom>
            <a:avLst/>
            <a:gdLst/>
            <a:ahLst/>
            <a:cxnLst>
              <a:cxn ang="0">
                <a:pos x="wd2" y="hd2"/>
              </a:cxn>
              <a:cxn ang="5400000">
                <a:pos x="wd2" y="hd2"/>
              </a:cxn>
              <a:cxn ang="10800000">
                <a:pos x="wd2" y="hd2"/>
              </a:cxn>
              <a:cxn ang="16200000">
                <a:pos x="wd2" y="hd2"/>
              </a:cxn>
            </a:cxnLst>
            <a:rect l="0" t="0" r="r" b="b"/>
            <a:pathLst>
              <a:path w="21600" h="21600" extrusionOk="0">
                <a:moveTo>
                  <a:pt x="17673" y="19938"/>
                </a:moveTo>
                <a:lnTo>
                  <a:pt x="3927" y="19938"/>
                </a:lnTo>
                <a:cubicBezTo>
                  <a:pt x="2303" y="19938"/>
                  <a:pt x="982" y="17703"/>
                  <a:pt x="982" y="14954"/>
                </a:cubicBezTo>
                <a:cubicBezTo>
                  <a:pt x="982" y="12638"/>
                  <a:pt x="1912" y="10647"/>
                  <a:pt x="3244" y="10110"/>
                </a:cubicBezTo>
                <a:cubicBezTo>
                  <a:pt x="3634" y="9954"/>
                  <a:pt x="3929" y="9410"/>
                  <a:pt x="3988" y="8739"/>
                </a:cubicBezTo>
                <a:cubicBezTo>
                  <a:pt x="4343" y="4704"/>
                  <a:pt x="6427" y="1662"/>
                  <a:pt x="8836" y="1662"/>
                </a:cubicBezTo>
                <a:cubicBezTo>
                  <a:pt x="10501" y="1662"/>
                  <a:pt x="12038" y="3081"/>
                  <a:pt x="12948" y="5461"/>
                </a:cubicBezTo>
                <a:cubicBezTo>
                  <a:pt x="13103" y="5866"/>
                  <a:pt x="13354" y="6137"/>
                  <a:pt x="13636" y="6203"/>
                </a:cubicBezTo>
                <a:cubicBezTo>
                  <a:pt x="13682" y="6215"/>
                  <a:pt x="13727" y="6219"/>
                  <a:pt x="13773" y="6219"/>
                </a:cubicBezTo>
                <a:cubicBezTo>
                  <a:pt x="14009" y="6219"/>
                  <a:pt x="14238" y="6076"/>
                  <a:pt x="14419" y="5809"/>
                </a:cubicBezTo>
                <a:cubicBezTo>
                  <a:pt x="14777" y="5278"/>
                  <a:pt x="15236" y="4985"/>
                  <a:pt x="15709" y="4985"/>
                </a:cubicBezTo>
                <a:cubicBezTo>
                  <a:pt x="16792" y="4985"/>
                  <a:pt x="17673" y="6476"/>
                  <a:pt x="17671" y="8326"/>
                </a:cubicBezTo>
                <a:lnTo>
                  <a:pt x="17667" y="8447"/>
                </a:lnTo>
                <a:cubicBezTo>
                  <a:pt x="17646" y="9234"/>
                  <a:pt x="17953" y="9937"/>
                  <a:pt x="18404" y="10132"/>
                </a:cubicBezTo>
                <a:cubicBezTo>
                  <a:pt x="19708" y="10697"/>
                  <a:pt x="20618" y="12680"/>
                  <a:pt x="20618" y="14954"/>
                </a:cubicBezTo>
                <a:cubicBezTo>
                  <a:pt x="20618" y="17703"/>
                  <a:pt x="19297" y="19938"/>
                  <a:pt x="17673" y="19938"/>
                </a:cubicBezTo>
                <a:moveTo>
                  <a:pt x="18648" y="8523"/>
                </a:moveTo>
                <a:cubicBezTo>
                  <a:pt x="18650" y="8451"/>
                  <a:pt x="18655" y="8381"/>
                  <a:pt x="18655" y="8308"/>
                </a:cubicBezTo>
                <a:cubicBezTo>
                  <a:pt x="18655" y="5556"/>
                  <a:pt x="17335" y="3323"/>
                  <a:pt x="15709" y="3323"/>
                </a:cubicBezTo>
                <a:cubicBezTo>
                  <a:pt x="14967" y="3323"/>
                  <a:pt x="14290" y="3791"/>
                  <a:pt x="13773" y="4558"/>
                </a:cubicBezTo>
                <a:cubicBezTo>
                  <a:pt x="12724" y="1819"/>
                  <a:pt x="10909" y="0"/>
                  <a:pt x="8836" y="0"/>
                </a:cubicBezTo>
                <a:cubicBezTo>
                  <a:pt x="5880" y="0"/>
                  <a:pt x="3439" y="3690"/>
                  <a:pt x="3017" y="8494"/>
                </a:cubicBezTo>
                <a:cubicBezTo>
                  <a:pt x="1288" y="9190"/>
                  <a:pt x="0" y="11814"/>
                  <a:pt x="0" y="14954"/>
                </a:cubicBezTo>
                <a:cubicBezTo>
                  <a:pt x="0" y="18624"/>
                  <a:pt x="1758" y="21600"/>
                  <a:pt x="3927" y="21600"/>
                </a:cubicBezTo>
                <a:lnTo>
                  <a:pt x="17673" y="21600"/>
                </a:lnTo>
                <a:cubicBezTo>
                  <a:pt x="19842" y="21600"/>
                  <a:pt x="21600" y="18624"/>
                  <a:pt x="21600" y="14954"/>
                </a:cubicBezTo>
                <a:cubicBezTo>
                  <a:pt x="21600" y="11855"/>
                  <a:pt x="20344" y="9259"/>
                  <a:pt x="18648" y="852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6" name="Shape 2966"/>
          <p:cNvSpPr/>
          <p:nvPr/>
        </p:nvSpPr>
        <p:spPr>
          <a:xfrm>
            <a:off x="1060590"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20400"/>
                </a:moveTo>
                <a:lnTo>
                  <a:pt x="3927" y="20400"/>
                </a:lnTo>
                <a:cubicBezTo>
                  <a:pt x="2303" y="20400"/>
                  <a:pt x="982" y="18785"/>
                  <a:pt x="982" y="16800"/>
                </a:cubicBezTo>
                <a:cubicBezTo>
                  <a:pt x="982" y="15128"/>
                  <a:pt x="1912" y="13690"/>
                  <a:pt x="3244" y="13302"/>
                </a:cubicBezTo>
                <a:cubicBezTo>
                  <a:pt x="3634" y="13189"/>
                  <a:pt x="3929" y="12796"/>
                  <a:pt x="3988" y="12312"/>
                </a:cubicBezTo>
                <a:cubicBezTo>
                  <a:pt x="4343" y="9397"/>
                  <a:pt x="6427" y="7200"/>
                  <a:pt x="8836" y="7200"/>
                </a:cubicBezTo>
                <a:cubicBezTo>
                  <a:pt x="10501" y="7200"/>
                  <a:pt x="11547" y="7626"/>
                  <a:pt x="12457" y="9344"/>
                </a:cubicBezTo>
                <a:cubicBezTo>
                  <a:pt x="12612" y="9636"/>
                  <a:pt x="13354" y="10432"/>
                  <a:pt x="13636" y="10480"/>
                </a:cubicBezTo>
                <a:cubicBezTo>
                  <a:pt x="13682" y="10488"/>
                  <a:pt x="13773" y="10492"/>
                  <a:pt x="13773" y="10492"/>
                </a:cubicBezTo>
                <a:cubicBezTo>
                  <a:pt x="14009" y="10492"/>
                  <a:pt x="14238" y="10388"/>
                  <a:pt x="14419" y="10195"/>
                </a:cubicBezTo>
                <a:cubicBezTo>
                  <a:pt x="14777" y="9812"/>
                  <a:pt x="15236" y="9600"/>
                  <a:pt x="15709" y="9600"/>
                </a:cubicBezTo>
                <a:cubicBezTo>
                  <a:pt x="16792" y="9600"/>
                  <a:pt x="17673" y="10677"/>
                  <a:pt x="17671" y="12013"/>
                </a:cubicBezTo>
                <a:lnTo>
                  <a:pt x="17667" y="12101"/>
                </a:lnTo>
                <a:cubicBezTo>
                  <a:pt x="17646" y="12669"/>
                  <a:pt x="17953" y="13177"/>
                  <a:pt x="18404" y="13318"/>
                </a:cubicBezTo>
                <a:cubicBezTo>
                  <a:pt x="19708" y="13726"/>
                  <a:pt x="20618" y="15158"/>
                  <a:pt x="20618" y="16800"/>
                </a:cubicBezTo>
                <a:cubicBezTo>
                  <a:pt x="20618" y="18785"/>
                  <a:pt x="19297" y="20400"/>
                  <a:pt x="17673" y="20400"/>
                </a:cubicBezTo>
                <a:moveTo>
                  <a:pt x="15709" y="1200"/>
                </a:moveTo>
                <a:cubicBezTo>
                  <a:pt x="18420" y="1200"/>
                  <a:pt x="20618" y="3887"/>
                  <a:pt x="20618" y="7200"/>
                </a:cubicBezTo>
                <a:cubicBezTo>
                  <a:pt x="20618" y="9162"/>
                  <a:pt x="19844" y="10898"/>
                  <a:pt x="18654" y="11992"/>
                </a:cubicBezTo>
                <a:cubicBezTo>
                  <a:pt x="18651" y="10008"/>
                  <a:pt x="17334" y="8400"/>
                  <a:pt x="15709" y="8400"/>
                </a:cubicBezTo>
                <a:cubicBezTo>
                  <a:pt x="14967" y="8400"/>
                  <a:pt x="14290" y="8738"/>
                  <a:pt x="13773" y="9292"/>
                </a:cubicBezTo>
                <a:cubicBezTo>
                  <a:pt x="13082" y="7989"/>
                  <a:pt x="12054" y="6984"/>
                  <a:pt x="10843" y="6443"/>
                </a:cubicBezTo>
                <a:cubicBezTo>
                  <a:pt x="11149" y="3488"/>
                  <a:pt x="13208" y="1200"/>
                  <a:pt x="15709" y="1200"/>
                </a:cubicBezTo>
                <a:moveTo>
                  <a:pt x="19575" y="12625"/>
                </a:moveTo>
                <a:cubicBezTo>
                  <a:pt x="20814" y="11304"/>
                  <a:pt x="21600" y="9367"/>
                  <a:pt x="21600" y="7200"/>
                </a:cubicBezTo>
                <a:cubicBezTo>
                  <a:pt x="21600" y="3224"/>
                  <a:pt x="18962" y="0"/>
                  <a:pt x="15709" y="0"/>
                </a:cubicBezTo>
                <a:cubicBezTo>
                  <a:pt x="12754" y="0"/>
                  <a:pt x="10314" y="2663"/>
                  <a:pt x="9890" y="6130"/>
                </a:cubicBezTo>
                <a:cubicBezTo>
                  <a:pt x="9547" y="6053"/>
                  <a:pt x="9198" y="6000"/>
                  <a:pt x="8836" y="6000"/>
                </a:cubicBezTo>
                <a:cubicBezTo>
                  <a:pt x="5880" y="6000"/>
                  <a:pt x="3439" y="8665"/>
                  <a:pt x="3017" y="12135"/>
                </a:cubicBezTo>
                <a:cubicBezTo>
                  <a:pt x="1288" y="12638"/>
                  <a:pt x="0" y="14532"/>
                  <a:pt x="0" y="16800"/>
                </a:cubicBezTo>
                <a:cubicBezTo>
                  <a:pt x="0" y="19451"/>
                  <a:pt x="1758" y="21600"/>
                  <a:pt x="3927" y="21600"/>
                </a:cubicBezTo>
                <a:lnTo>
                  <a:pt x="17673" y="21600"/>
                </a:lnTo>
                <a:cubicBezTo>
                  <a:pt x="19842" y="21600"/>
                  <a:pt x="21600" y="19451"/>
                  <a:pt x="21600" y="16800"/>
                </a:cubicBezTo>
                <a:cubicBezTo>
                  <a:pt x="21600" y="14997"/>
                  <a:pt x="20778" y="13443"/>
                  <a:pt x="19575" y="1262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7" name="Shape 2967"/>
          <p:cNvSpPr/>
          <p:nvPr/>
        </p:nvSpPr>
        <p:spPr>
          <a:xfrm>
            <a:off x="1460536"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4727" y="19440"/>
                </a:moveTo>
                <a:cubicBezTo>
                  <a:pt x="14727" y="20036"/>
                  <a:pt x="15167" y="20520"/>
                  <a:pt x="15709" y="20520"/>
                </a:cubicBezTo>
                <a:cubicBezTo>
                  <a:pt x="16251" y="20520"/>
                  <a:pt x="16691" y="20036"/>
                  <a:pt x="16691" y="19440"/>
                </a:cubicBezTo>
                <a:cubicBezTo>
                  <a:pt x="16691" y="18360"/>
                  <a:pt x="15709" y="17280"/>
                  <a:pt x="15709" y="17280"/>
                </a:cubicBezTo>
                <a:cubicBezTo>
                  <a:pt x="15709" y="17280"/>
                  <a:pt x="14727" y="18360"/>
                  <a:pt x="14727" y="19440"/>
                </a:cubicBezTo>
                <a:moveTo>
                  <a:pt x="4909" y="20520"/>
                </a:moveTo>
                <a:cubicBezTo>
                  <a:pt x="4909" y="21117"/>
                  <a:pt x="5349" y="21600"/>
                  <a:pt x="5891" y="21600"/>
                </a:cubicBezTo>
                <a:cubicBezTo>
                  <a:pt x="6433" y="21600"/>
                  <a:pt x="6873" y="21117"/>
                  <a:pt x="6873" y="20520"/>
                </a:cubicBezTo>
                <a:cubicBezTo>
                  <a:pt x="6873" y="19440"/>
                  <a:pt x="5891" y="18360"/>
                  <a:pt x="5891" y="18360"/>
                </a:cubicBezTo>
                <a:cubicBezTo>
                  <a:pt x="5891" y="18360"/>
                  <a:pt x="4909" y="19440"/>
                  <a:pt x="4909" y="20520"/>
                </a:cubicBezTo>
                <a:moveTo>
                  <a:pt x="9818" y="17280"/>
                </a:moveTo>
                <a:cubicBezTo>
                  <a:pt x="9818" y="17876"/>
                  <a:pt x="10258" y="18360"/>
                  <a:pt x="10800" y="18360"/>
                </a:cubicBezTo>
                <a:cubicBezTo>
                  <a:pt x="11342" y="18360"/>
                  <a:pt x="11782" y="17876"/>
                  <a:pt x="11782" y="17280"/>
                </a:cubicBezTo>
                <a:cubicBezTo>
                  <a:pt x="11782" y="16200"/>
                  <a:pt x="10800" y="15120"/>
                  <a:pt x="10800" y="15120"/>
                </a:cubicBezTo>
                <a:cubicBezTo>
                  <a:pt x="10800" y="15120"/>
                  <a:pt x="9818" y="16200"/>
                  <a:pt x="9818" y="1728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8" name="Shape 2968"/>
          <p:cNvSpPr/>
          <p:nvPr/>
        </p:nvSpPr>
        <p:spPr>
          <a:xfrm>
            <a:off x="1860482"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14400"/>
                </a:moveTo>
                <a:lnTo>
                  <a:pt x="3927" y="14400"/>
                </a:lnTo>
                <a:cubicBezTo>
                  <a:pt x="2303" y="14400"/>
                  <a:pt x="982" y="12785"/>
                  <a:pt x="982" y="10800"/>
                </a:cubicBezTo>
                <a:cubicBezTo>
                  <a:pt x="982" y="9128"/>
                  <a:pt x="1912" y="7690"/>
                  <a:pt x="3244" y="7302"/>
                </a:cubicBezTo>
                <a:cubicBezTo>
                  <a:pt x="3634" y="7189"/>
                  <a:pt x="3929" y="6796"/>
                  <a:pt x="3988" y="6312"/>
                </a:cubicBezTo>
                <a:cubicBezTo>
                  <a:pt x="4343" y="3397"/>
                  <a:pt x="6427" y="1200"/>
                  <a:pt x="8836" y="1200"/>
                </a:cubicBezTo>
                <a:cubicBezTo>
                  <a:pt x="10501" y="1200"/>
                  <a:pt x="11547" y="1626"/>
                  <a:pt x="12457" y="3344"/>
                </a:cubicBezTo>
                <a:cubicBezTo>
                  <a:pt x="12612" y="3636"/>
                  <a:pt x="13354" y="4432"/>
                  <a:pt x="13636" y="4480"/>
                </a:cubicBezTo>
                <a:cubicBezTo>
                  <a:pt x="13682" y="4488"/>
                  <a:pt x="13773" y="4492"/>
                  <a:pt x="13773" y="4492"/>
                </a:cubicBezTo>
                <a:cubicBezTo>
                  <a:pt x="14009" y="4492"/>
                  <a:pt x="14238" y="4388"/>
                  <a:pt x="14419" y="4195"/>
                </a:cubicBezTo>
                <a:cubicBezTo>
                  <a:pt x="14777" y="3812"/>
                  <a:pt x="15236" y="3600"/>
                  <a:pt x="15709" y="3600"/>
                </a:cubicBezTo>
                <a:cubicBezTo>
                  <a:pt x="16792" y="3600"/>
                  <a:pt x="17673" y="4676"/>
                  <a:pt x="17671" y="6013"/>
                </a:cubicBezTo>
                <a:lnTo>
                  <a:pt x="17667" y="6101"/>
                </a:lnTo>
                <a:cubicBezTo>
                  <a:pt x="17646" y="6669"/>
                  <a:pt x="17953" y="7177"/>
                  <a:pt x="18404" y="7318"/>
                </a:cubicBezTo>
                <a:cubicBezTo>
                  <a:pt x="19708" y="7726"/>
                  <a:pt x="20618" y="9158"/>
                  <a:pt x="20618" y="10800"/>
                </a:cubicBezTo>
                <a:cubicBezTo>
                  <a:pt x="20618" y="12785"/>
                  <a:pt x="19297" y="14400"/>
                  <a:pt x="17673" y="14400"/>
                </a:cubicBezTo>
                <a:moveTo>
                  <a:pt x="18648" y="6156"/>
                </a:moveTo>
                <a:cubicBezTo>
                  <a:pt x="18650" y="6104"/>
                  <a:pt x="18655" y="6053"/>
                  <a:pt x="18655" y="6000"/>
                </a:cubicBezTo>
                <a:cubicBezTo>
                  <a:pt x="18655" y="4012"/>
                  <a:pt x="17335" y="2400"/>
                  <a:pt x="15709" y="2400"/>
                </a:cubicBezTo>
                <a:cubicBezTo>
                  <a:pt x="14967" y="2400"/>
                  <a:pt x="14290" y="2738"/>
                  <a:pt x="13773" y="3292"/>
                </a:cubicBezTo>
                <a:cubicBezTo>
                  <a:pt x="12724" y="1314"/>
                  <a:pt x="10909" y="0"/>
                  <a:pt x="8836" y="0"/>
                </a:cubicBezTo>
                <a:cubicBezTo>
                  <a:pt x="5880" y="0"/>
                  <a:pt x="3439" y="2665"/>
                  <a:pt x="3017" y="6135"/>
                </a:cubicBezTo>
                <a:cubicBezTo>
                  <a:pt x="1288" y="6638"/>
                  <a:pt x="0" y="8532"/>
                  <a:pt x="0" y="10800"/>
                </a:cubicBezTo>
                <a:cubicBezTo>
                  <a:pt x="0" y="13451"/>
                  <a:pt x="1758" y="15600"/>
                  <a:pt x="3927" y="15600"/>
                </a:cubicBezTo>
                <a:lnTo>
                  <a:pt x="17673" y="15600"/>
                </a:lnTo>
                <a:cubicBezTo>
                  <a:pt x="19842" y="15600"/>
                  <a:pt x="21600" y="13451"/>
                  <a:pt x="21600" y="10800"/>
                </a:cubicBezTo>
                <a:cubicBezTo>
                  <a:pt x="21600" y="8562"/>
                  <a:pt x="20344" y="6687"/>
                  <a:pt x="18648" y="6156"/>
                </a:cubicBezTo>
                <a:moveTo>
                  <a:pt x="15218" y="16800"/>
                </a:moveTo>
                <a:cubicBezTo>
                  <a:pt x="15083" y="16800"/>
                  <a:pt x="14960" y="16867"/>
                  <a:pt x="14871" y="16976"/>
                </a:cubicBezTo>
                <a:lnTo>
                  <a:pt x="11926" y="20575"/>
                </a:lnTo>
                <a:cubicBezTo>
                  <a:pt x="11837" y="20685"/>
                  <a:pt x="11782" y="20835"/>
                  <a:pt x="11782" y="21000"/>
                </a:cubicBezTo>
                <a:cubicBezTo>
                  <a:pt x="11782" y="21332"/>
                  <a:pt x="12002" y="21600"/>
                  <a:pt x="12273" y="21600"/>
                </a:cubicBezTo>
                <a:cubicBezTo>
                  <a:pt x="12408" y="21600"/>
                  <a:pt x="12531" y="21533"/>
                  <a:pt x="12620" y="21424"/>
                </a:cubicBezTo>
                <a:lnTo>
                  <a:pt x="15565" y="17824"/>
                </a:lnTo>
                <a:cubicBezTo>
                  <a:pt x="15654" y="17716"/>
                  <a:pt x="15709" y="17566"/>
                  <a:pt x="15709" y="17400"/>
                </a:cubicBezTo>
                <a:cubicBezTo>
                  <a:pt x="15709" y="17069"/>
                  <a:pt x="15489" y="16800"/>
                  <a:pt x="15218" y="16800"/>
                </a:cubicBezTo>
                <a:moveTo>
                  <a:pt x="12764" y="17400"/>
                </a:moveTo>
                <a:cubicBezTo>
                  <a:pt x="12764" y="17069"/>
                  <a:pt x="12544" y="16800"/>
                  <a:pt x="12273" y="16800"/>
                </a:cubicBezTo>
                <a:cubicBezTo>
                  <a:pt x="12137" y="16800"/>
                  <a:pt x="12015" y="16867"/>
                  <a:pt x="11925" y="16976"/>
                </a:cubicBezTo>
                <a:lnTo>
                  <a:pt x="8981" y="20575"/>
                </a:lnTo>
                <a:cubicBezTo>
                  <a:pt x="8891" y="20685"/>
                  <a:pt x="8836" y="20835"/>
                  <a:pt x="8836" y="21000"/>
                </a:cubicBezTo>
                <a:cubicBezTo>
                  <a:pt x="8836" y="21332"/>
                  <a:pt x="9056" y="21600"/>
                  <a:pt x="9327" y="21600"/>
                </a:cubicBezTo>
                <a:cubicBezTo>
                  <a:pt x="9463" y="21600"/>
                  <a:pt x="9585" y="21533"/>
                  <a:pt x="9674" y="21424"/>
                </a:cubicBezTo>
                <a:lnTo>
                  <a:pt x="12620" y="17824"/>
                </a:lnTo>
                <a:cubicBezTo>
                  <a:pt x="12709" y="17716"/>
                  <a:pt x="12764" y="17566"/>
                  <a:pt x="12764" y="17400"/>
                </a:cubicBezTo>
                <a:moveTo>
                  <a:pt x="6873" y="17400"/>
                </a:moveTo>
                <a:cubicBezTo>
                  <a:pt x="6873" y="17069"/>
                  <a:pt x="6653" y="16800"/>
                  <a:pt x="6382" y="16800"/>
                </a:cubicBezTo>
                <a:cubicBezTo>
                  <a:pt x="6246" y="16800"/>
                  <a:pt x="6124" y="16867"/>
                  <a:pt x="6034" y="16976"/>
                </a:cubicBezTo>
                <a:lnTo>
                  <a:pt x="3090" y="20575"/>
                </a:lnTo>
                <a:cubicBezTo>
                  <a:pt x="3000" y="20685"/>
                  <a:pt x="2945" y="20835"/>
                  <a:pt x="2945" y="21000"/>
                </a:cubicBezTo>
                <a:cubicBezTo>
                  <a:pt x="2945" y="21332"/>
                  <a:pt x="3166" y="21600"/>
                  <a:pt x="3436" y="21600"/>
                </a:cubicBezTo>
                <a:cubicBezTo>
                  <a:pt x="3572" y="21600"/>
                  <a:pt x="3695" y="21533"/>
                  <a:pt x="3783" y="21424"/>
                </a:cubicBezTo>
                <a:lnTo>
                  <a:pt x="6729" y="17824"/>
                </a:lnTo>
                <a:cubicBezTo>
                  <a:pt x="6818" y="17716"/>
                  <a:pt x="6873" y="17566"/>
                  <a:pt x="6873" y="17400"/>
                </a:cubicBezTo>
                <a:moveTo>
                  <a:pt x="9818" y="17400"/>
                </a:moveTo>
                <a:cubicBezTo>
                  <a:pt x="9818" y="17069"/>
                  <a:pt x="9598" y="16800"/>
                  <a:pt x="9327" y="16800"/>
                </a:cubicBezTo>
                <a:cubicBezTo>
                  <a:pt x="9192" y="16800"/>
                  <a:pt x="9069" y="16867"/>
                  <a:pt x="8980" y="16976"/>
                </a:cubicBezTo>
                <a:lnTo>
                  <a:pt x="6035" y="20575"/>
                </a:lnTo>
                <a:cubicBezTo>
                  <a:pt x="5946" y="20685"/>
                  <a:pt x="5891" y="20835"/>
                  <a:pt x="5891" y="21000"/>
                </a:cubicBezTo>
                <a:cubicBezTo>
                  <a:pt x="5891" y="21332"/>
                  <a:pt x="6111" y="21600"/>
                  <a:pt x="6382" y="21600"/>
                </a:cubicBezTo>
                <a:cubicBezTo>
                  <a:pt x="6517" y="21600"/>
                  <a:pt x="6640" y="21533"/>
                  <a:pt x="6729" y="21424"/>
                </a:cubicBezTo>
                <a:lnTo>
                  <a:pt x="9674" y="17824"/>
                </a:lnTo>
                <a:cubicBezTo>
                  <a:pt x="9763" y="17716"/>
                  <a:pt x="9818" y="17566"/>
                  <a:pt x="9818" y="17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9" name="Shape 2969"/>
          <p:cNvSpPr/>
          <p:nvPr/>
        </p:nvSpPr>
        <p:spPr>
          <a:xfrm>
            <a:off x="2260427"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8164" y="15120"/>
                </a:moveTo>
                <a:cubicBezTo>
                  <a:pt x="17893" y="15120"/>
                  <a:pt x="17673" y="15362"/>
                  <a:pt x="17673" y="15660"/>
                </a:cubicBezTo>
                <a:lnTo>
                  <a:pt x="17673" y="17820"/>
                </a:lnTo>
                <a:cubicBezTo>
                  <a:pt x="17673" y="18118"/>
                  <a:pt x="17893" y="18360"/>
                  <a:pt x="18164" y="18360"/>
                </a:cubicBezTo>
                <a:cubicBezTo>
                  <a:pt x="18434" y="18360"/>
                  <a:pt x="18655" y="18118"/>
                  <a:pt x="18655" y="17820"/>
                </a:cubicBezTo>
                <a:lnTo>
                  <a:pt x="18655" y="15660"/>
                </a:lnTo>
                <a:cubicBezTo>
                  <a:pt x="18655" y="15362"/>
                  <a:pt x="18434" y="15120"/>
                  <a:pt x="18164" y="15120"/>
                </a:cubicBezTo>
                <a:moveTo>
                  <a:pt x="15218" y="15120"/>
                </a:moveTo>
                <a:cubicBezTo>
                  <a:pt x="14947" y="15120"/>
                  <a:pt x="14727" y="15362"/>
                  <a:pt x="14727" y="15660"/>
                </a:cubicBezTo>
                <a:lnTo>
                  <a:pt x="14727" y="18900"/>
                </a:lnTo>
                <a:cubicBezTo>
                  <a:pt x="14727" y="19198"/>
                  <a:pt x="14947" y="19440"/>
                  <a:pt x="15218" y="19440"/>
                </a:cubicBezTo>
                <a:cubicBezTo>
                  <a:pt x="15489" y="19440"/>
                  <a:pt x="15709" y="19198"/>
                  <a:pt x="15709" y="18900"/>
                </a:cubicBezTo>
                <a:lnTo>
                  <a:pt x="15709" y="15660"/>
                </a:lnTo>
                <a:cubicBezTo>
                  <a:pt x="15709" y="15362"/>
                  <a:pt x="15489" y="15120"/>
                  <a:pt x="15218" y="1512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moveTo>
                  <a:pt x="6382" y="16200"/>
                </a:moveTo>
                <a:cubicBezTo>
                  <a:pt x="6111" y="16200"/>
                  <a:pt x="5891" y="16442"/>
                  <a:pt x="5891" y="16740"/>
                </a:cubicBezTo>
                <a:lnTo>
                  <a:pt x="5891" y="18900"/>
                </a:lnTo>
                <a:cubicBezTo>
                  <a:pt x="5891" y="19198"/>
                  <a:pt x="6111" y="19440"/>
                  <a:pt x="6382" y="19440"/>
                </a:cubicBezTo>
                <a:cubicBezTo>
                  <a:pt x="6653" y="19440"/>
                  <a:pt x="6873" y="19198"/>
                  <a:pt x="6873" y="18900"/>
                </a:cubicBezTo>
                <a:lnTo>
                  <a:pt x="6873" y="16740"/>
                </a:lnTo>
                <a:cubicBezTo>
                  <a:pt x="6873" y="16442"/>
                  <a:pt x="6653" y="16200"/>
                  <a:pt x="6382" y="16200"/>
                </a:cubicBezTo>
                <a:moveTo>
                  <a:pt x="3436" y="15120"/>
                </a:moveTo>
                <a:cubicBezTo>
                  <a:pt x="3166" y="15120"/>
                  <a:pt x="2945" y="15362"/>
                  <a:pt x="2945" y="15660"/>
                </a:cubicBezTo>
                <a:lnTo>
                  <a:pt x="2945" y="18900"/>
                </a:lnTo>
                <a:cubicBezTo>
                  <a:pt x="2945" y="19198"/>
                  <a:pt x="3166" y="19440"/>
                  <a:pt x="3436" y="19440"/>
                </a:cubicBezTo>
                <a:cubicBezTo>
                  <a:pt x="3707" y="19440"/>
                  <a:pt x="3927" y="19198"/>
                  <a:pt x="3927" y="18900"/>
                </a:cubicBezTo>
                <a:lnTo>
                  <a:pt x="3927" y="15660"/>
                </a:lnTo>
                <a:cubicBezTo>
                  <a:pt x="3927" y="15362"/>
                  <a:pt x="3707" y="15120"/>
                  <a:pt x="3436" y="15120"/>
                </a:cubicBezTo>
                <a:moveTo>
                  <a:pt x="12273" y="16200"/>
                </a:moveTo>
                <a:cubicBezTo>
                  <a:pt x="12002" y="16200"/>
                  <a:pt x="11782" y="16442"/>
                  <a:pt x="11782" y="16740"/>
                </a:cubicBezTo>
                <a:lnTo>
                  <a:pt x="11782" y="19980"/>
                </a:lnTo>
                <a:cubicBezTo>
                  <a:pt x="11782" y="20278"/>
                  <a:pt x="12002" y="20520"/>
                  <a:pt x="12273" y="20520"/>
                </a:cubicBezTo>
                <a:cubicBezTo>
                  <a:pt x="12544" y="20520"/>
                  <a:pt x="12764" y="20278"/>
                  <a:pt x="12764" y="19980"/>
                </a:cubicBezTo>
                <a:lnTo>
                  <a:pt x="12764" y="16740"/>
                </a:lnTo>
                <a:cubicBezTo>
                  <a:pt x="12764" y="16442"/>
                  <a:pt x="12544" y="16200"/>
                  <a:pt x="12273" y="16200"/>
                </a:cubicBezTo>
                <a:moveTo>
                  <a:pt x="9327" y="17280"/>
                </a:moveTo>
                <a:cubicBezTo>
                  <a:pt x="9056" y="17280"/>
                  <a:pt x="8836" y="17522"/>
                  <a:pt x="8836" y="17820"/>
                </a:cubicBezTo>
                <a:lnTo>
                  <a:pt x="8836" y="21060"/>
                </a:lnTo>
                <a:cubicBezTo>
                  <a:pt x="8836" y="21358"/>
                  <a:pt x="9056" y="21600"/>
                  <a:pt x="9327" y="21600"/>
                </a:cubicBezTo>
                <a:cubicBezTo>
                  <a:pt x="9598" y="21600"/>
                  <a:pt x="9818" y="21358"/>
                  <a:pt x="9818" y="21060"/>
                </a:cubicBezTo>
                <a:lnTo>
                  <a:pt x="9818" y="17820"/>
                </a:lnTo>
                <a:cubicBezTo>
                  <a:pt x="9818" y="17522"/>
                  <a:pt x="9598" y="17280"/>
                  <a:pt x="9327" y="172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0" name="Shape 2970"/>
          <p:cNvSpPr/>
          <p:nvPr/>
        </p:nvSpPr>
        <p:spPr>
          <a:xfrm>
            <a:off x="266037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9636"/>
                </a:moveTo>
                <a:cubicBezTo>
                  <a:pt x="15167" y="19636"/>
                  <a:pt x="14727" y="20076"/>
                  <a:pt x="14727" y="20618"/>
                </a:cubicBezTo>
                <a:cubicBezTo>
                  <a:pt x="14727" y="21160"/>
                  <a:pt x="15167" y="21600"/>
                  <a:pt x="15709" y="21600"/>
                </a:cubicBezTo>
                <a:cubicBezTo>
                  <a:pt x="16251" y="21600"/>
                  <a:pt x="16691" y="21160"/>
                  <a:pt x="16691" y="20618"/>
                </a:cubicBezTo>
                <a:cubicBezTo>
                  <a:pt x="16691" y="20076"/>
                  <a:pt x="16251" y="19636"/>
                  <a:pt x="15709" y="19636"/>
                </a:cubicBezTo>
                <a:moveTo>
                  <a:pt x="18655" y="16691"/>
                </a:moveTo>
                <a:cubicBezTo>
                  <a:pt x="18113" y="16691"/>
                  <a:pt x="17673" y="17131"/>
                  <a:pt x="17673" y="17673"/>
                </a:cubicBezTo>
                <a:cubicBezTo>
                  <a:pt x="17673" y="18215"/>
                  <a:pt x="18113" y="18655"/>
                  <a:pt x="18655" y="18655"/>
                </a:cubicBezTo>
                <a:cubicBezTo>
                  <a:pt x="19196" y="18655"/>
                  <a:pt x="19636" y="18215"/>
                  <a:pt x="19636" y="17673"/>
                </a:cubicBezTo>
                <a:cubicBezTo>
                  <a:pt x="19636" y="17131"/>
                  <a:pt x="19196" y="16691"/>
                  <a:pt x="18655" y="16691"/>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6"/>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7"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6"/>
                </a:cubicBezTo>
                <a:moveTo>
                  <a:pt x="15709" y="15709"/>
                </a:moveTo>
                <a:cubicBezTo>
                  <a:pt x="15709" y="15167"/>
                  <a:pt x="15269" y="14727"/>
                  <a:pt x="14727" y="14727"/>
                </a:cubicBezTo>
                <a:cubicBezTo>
                  <a:pt x="14186" y="14727"/>
                  <a:pt x="13745" y="15167"/>
                  <a:pt x="13745" y="15709"/>
                </a:cubicBezTo>
                <a:cubicBezTo>
                  <a:pt x="13745" y="16252"/>
                  <a:pt x="14186" y="16691"/>
                  <a:pt x="14727" y="16691"/>
                </a:cubicBezTo>
                <a:cubicBezTo>
                  <a:pt x="15269" y="16691"/>
                  <a:pt x="15709" y="16252"/>
                  <a:pt x="15709" y="15709"/>
                </a:cubicBezTo>
                <a:moveTo>
                  <a:pt x="10800" y="17673"/>
                </a:moveTo>
                <a:cubicBezTo>
                  <a:pt x="10258" y="17673"/>
                  <a:pt x="9818" y="18113"/>
                  <a:pt x="9818" y="18655"/>
                </a:cubicBezTo>
                <a:cubicBezTo>
                  <a:pt x="9818" y="19196"/>
                  <a:pt x="10258" y="19636"/>
                  <a:pt x="10800" y="19636"/>
                </a:cubicBezTo>
                <a:cubicBezTo>
                  <a:pt x="11342" y="19636"/>
                  <a:pt x="11782" y="19196"/>
                  <a:pt x="11782" y="18655"/>
                </a:cubicBezTo>
                <a:cubicBezTo>
                  <a:pt x="11782" y="18113"/>
                  <a:pt x="11342" y="17673"/>
                  <a:pt x="10800" y="17673"/>
                </a:cubicBezTo>
                <a:moveTo>
                  <a:pt x="2945" y="15709"/>
                </a:moveTo>
                <a:cubicBezTo>
                  <a:pt x="2404" y="15709"/>
                  <a:pt x="1964" y="16149"/>
                  <a:pt x="1964" y="16691"/>
                </a:cubicBezTo>
                <a:cubicBezTo>
                  <a:pt x="1964" y="17233"/>
                  <a:pt x="2404" y="17673"/>
                  <a:pt x="2945" y="17673"/>
                </a:cubicBezTo>
                <a:cubicBezTo>
                  <a:pt x="3487" y="17673"/>
                  <a:pt x="3927" y="17233"/>
                  <a:pt x="3927" y="16691"/>
                </a:cubicBezTo>
                <a:cubicBezTo>
                  <a:pt x="3927" y="16149"/>
                  <a:pt x="3487" y="15709"/>
                  <a:pt x="2945" y="15709"/>
                </a:cubicBezTo>
                <a:moveTo>
                  <a:pt x="4909" y="18655"/>
                </a:moveTo>
                <a:cubicBezTo>
                  <a:pt x="4367" y="18655"/>
                  <a:pt x="3927" y="19095"/>
                  <a:pt x="3927" y="19636"/>
                </a:cubicBezTo>
                <a:cubicBezTo>
                  <a:pt x="3927" y="20179"/>
                  <a:pt x="4367" y="20618"/>
                  <a:pt x="4909" y="20618"/>
                </a:cubicBezTo>
                <a:cubicBezTo>
                  <a:pt x="5451" y="20618"/>
                  <a:pt x="5891" y="20179"/>
                  <a:pt x="5891" y="19636"/>
                </a:cubicBezTo>
                <a:cubicBezTo>
                  <a:pt x="5891" y="19095"/>
                  <a:pt x="5451" y="18655"/>
                  <a:pt x="4909" y="18655"/>
                </a:cubicBezTo>
                <a:moveTo>
                  <a:pt x="7855" y="13745"/>
                </a:moveTo>
                <a:cubicBezTo>
                  <a:pt x="7313" y="13745"/>
                  <a:pt x="6873" y="14186"/>
                  <a:pt x="6873" y="14727"/>
                </a:cubicBezTo>
                <a:cubicBezTo>
                  <a:pt x="6873" y="15270"/>
                  <a:pt x="7313" y="15709"/>
                  <a:pt x="7855" y="15709"/>
                </a:cubicBezTo>
                <a:cubicBezTo>
                  <a:pt x="8396" y="15709"/>
                  <a:pt x="8836" y="15270"/>
                  <a:pt x="8836" y="14727"/>
                </a:cubicBezTo>
                <a:cubicBezTo>
                  <a:pt x="8836" y="14186"/>
                  <a:pt x="8396" y="13745"/>
                  <a:pt x="7855"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1" name="Shape 2971"/>
          <p:cNvSpPr/>
          <p:nvPr/>
        </p:nvSpPr>
        <p:spPr>
          <a:xfrm>
            <a:off x="306032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5709"/>
                </a:moveTo>
                <a:cubicBezTo>
                  <a:pt x="16555" y="15709"/>
                  <a:pt x="16433" y="15764"/>
                  <a:pt x="16344" y="15853"/>
                </a:cubicBezTo>
                <a:lnTo>
                  <a:pt x="13399" y="18798"/>
                </a:lnTo>
                <a:cubicBezTo>
                  <a:pt x="13310" y="18888"/>
                  <a:pt x="13255" y="19010"/>
                  <a:pt x="13255" y="19145"/>
                </a:cubicBezTo>
                <a:cubicBezTo>
                  <a:pt x="13255" y="19417"/>
                  <a:pt x="13474" y="19636"/>
                  <a:pt x="13745" y="19636"/>
                </a:cubicBezTo>
                <a:cubicBezTo>
                  <a:pt x="13881" y="19636"/>
                  <a:pt x="14003" y="19582"/>
                  <a:pt x="14093" y="19493"/>
                </a:cubicBezTo>
                <a:lnTo>
                  <a:pt x="17038" y="16547"/>
                </a:lnTo>
                <a:cubicBezTo>
                  <a:pt x="17127" y="16458"/>
                  <a:pt x="17182" y="16336"/>
                  <a:pt x="17182" y="16200"/>
                </a:cubicBezTo>
                <a:cubicBezTo>
                  <a:pt x="17182" y="15929"/>
                  <a:pt x="16962" y="15709"/>
                  <a:pt x="16691" y="15709"/>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7"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6382" y="15709"/>
                </a:moveTo>
                <a:cubicBezTo>
                  <a:pt x="6246" y="15709"/>
                  <a:pt x="6123" y="15764"/>
                  <a:pt x="6035" y="15853"/>
                </a:cubicBezTo>
                <a:lnTo>
                  <a:pt x="3090" y="18798"/>
                </a:lnTo>
                <a:cubicBezTo>
                  <a:pt x="3001" y="18888"/>
                  <a:pt x="2945" y="19010"/>
                  <a:pt x="2945" y="19145"/>
                </a:cubicBezTo>
                <a:cubicBezTo>
                  <a:pt x="2945" y="19417"/>
                  <a:pt x="3165" y="19636"/>
                  <a:pt x="3436" y="19636"/>
                </a:cubicBezTo>
                <a:cubicBezTo>
                  <a:pt x="3572" y="19636"/>
                  <a:pt x="3695" y="19582"/>
                  <a:pt x="3783" y="19493"/>
                </a:cubicBezTo>
                <a:lnTo>
                  <a:pt x="6729" y="16547"/>
                </a:lnTo>
                <a:cubicBezTo>
                  <a:pt x="6818" y="16458"/>
                  <a:pt x="6873" y="16336"/>
                  <a:pt x="6873" y="16200"/>
                </a:cubicBezTo>
                <a:cubicBezTo>
                  <a:pt x="6873" y="15929"/>
                  <a:pt x="6653" y="15709"/>
                  <a:pt x="6382" y="15709"/>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10" y="20851"/>
                  <a:pt x="7855" y="20974"/>
                  <a:pt x="7855" y="21109"/>
                </a:cubicBezTo>
                <a:cubicBezTo>
                  <a:pt x="7855" y="21380"/>
                  <a:pt x="8074" y="21600"/>
                  <a:pt x="8345" y="21600"/>
                </a:cubicBezTo>
                <a:cubicBezTo>
                  <a:pt x="8481" y="21600"/>
                  <a:pt x="8604"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2" name="Shape 2972"/>
          <p:cNvSpPr/>
          <p:nvPr/>
        </p:nvSpPr>
        <p:spPr>
          <a:xfrm>
            <a:off x="3460265"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3" name="Shape 2973"/>
          <p:cNvSpPr/>
          <p:nvPr/>
        </p:nvSpPr>
        <p:spPr>
          <a:xfrm>
            <a:off x="3860211" y="3893648"/>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1782" y="12505"/>
                </a:moveTo>
                <a:lnTo>
                  <a:pt x="4418" y="12505"/>
                </a:lnTo>
                <a:cubicBezTo>
                  <a:pt x="4147" y="12505"/>
                  <a:pt x="3927" y="12759"/>
                  <a:pt x="3927" y="13074"/>
                </a:cubicBezTo>
                <a:cubicBezTo>
                  <a:pt x="3927" y="13388"/>
                  <a:pt x="4147" y="13642"/>
                  <a:pt x="4418" y="13642"/>
                </a:cubicBezTo>
                <a:lnTo>
                  <a:pt x="11782" y="13642"/>
                </a:lnTo>
                <a:cubicBezTo>
                  <a:pt x="13408" y="13642"/>
                  <a:pt x="14727" y="15170"/>
                  <a:pt x="14727" y="17053"/>
                </a:cubicBezTo>
                <a:cubicBezTo>
                  <a:pt x="14727" y="18937"/>
                  <a:pt x="13408" y="20463"/>
                  <a:pt x="11782" y="20463"/>
                </a:cubicBezTo>
                <a:lnTo>
                  <a:pt x="11291" y="20463"/>
                </a:lnTo>
                <a:cubicBezTo>
                  <a:pt x="11020" y="20463"/>
                  <a:pt x="10800" y="20717"/>
                  <a:pt x="10800" y="21032"/>
                </a:cubicBezTo>
                <a:cubicBezTo>
                  <a:pt x="10800" y="21346"/>
                  <a:pt x="11020" y="21600"/>
                  <a:pt x="11291" y="21600"/>
                </a:cubicBezTo>
                <a:lnTo>
                  <a:pt x="11782" y="21600"/>
                </a:lnTo>
                <a:cubicBezTo>
                  <a:pt x="13951" y="21600"/>
                  <a:pt x="15709" y="19564"/>
                  <a:pt x="15709" y="17053"/>
                </a:cubicBezTo>
                <a:cubicBezTo>
                  <a:pt x="15709" y="14541"/>
                  <a:pt x="13951" y="12505"/>
                  <a:pt x="11782" y="12505"/>
                </a:cubicBezTo>
                <a:moveTo>
                  <a:pt x="18655" y="10232"/>
                </a:moveTo>
                <a:lnTo>
                  <a:pt x="2455" y="10232"/>
                </a:lnTo>
                <a:cubicBezTo>
                  <a:pt x="2183" y="10232"/>
                  <a:pt x="1964" y="10486"/>
                  <a:pt x="1964" y="10800"/>
                </a:cubicBezTo>
                <a:cubicBezTo>
                  <a:pt x="1964" y="11114"/>
                  <a:pt x="2183" y="11368"/>
                  <a:pt x="2455" y="11368"/>
                </a:cubicBezTo>
                <a:lnTo>
                  <a:pt x="18655" y="11368"/>
                </a:lnTo>
                <a:cubicBezTo>
                  <a:pt x="19739" y="11368"/>
                  <a:pt x="20618" y="12386"/>
                  <a:pt x="20618" y="13642"/>
                </a:cubicBezTo>
                <a:cubicBezTo>
                  <a:pt x="20618" y="14898"/>
                  <a:pt x="19739" y="15916"/>
                  <a:pt x="18655" y="15916"/>
                </a:cubicBezTo>
                <a:lnTo>
                  <a:pt x="18164" y="15916"/>
                </a:lnTo>
                <a:cubicBezTo>
                  <a:pt x="17892" y="15916"/>
                  <a:pt x="17673" y="16170"/>
                  <a:pt x="17673" y="16484"/>
                </a:cubicBezTo>
                <a:cubicBezTo>
                  <a:pt x="17673" y="16798"/>
                  <a:pt x="17892" y="17053"/>
                  <a:pt x="18164" y="17053"/>
                </a:cubicBezTo>
                <a:lnTo>
                  <a:pt x="18655" y="17053"/>
                </a:lnTo>
                <a:cubicBezTo>
                  <a:pt x="20281" y="17053"/>
                  <a:pt x="21600" y="15526"/>
                  <a:pt x="21600" y="13642"/>
                </a:cubicBezTo>
                <a:cubicBezTo>
                  <a:pt x="21600" y="11759"/>
                  <a:pt x="20281" y="10232"/>
                  <a:pt x="18655" y="10232"/>
                </a:cubicBezTo>
                <a:moveTo>
                  <a:pt x="17673" y="6821"/>
                </a:moveTo>
                <a:cubicBezTo>
                  <a:pt x="17673" y="5565"/>
                  <a:pt x="16794" y="4547"/>
                  <a:pt x="15709" y="4547"/>
                </a:cubicBezTo>
                <a:lnTo>
                  <a:pt x="15218" y="4547"/>
                </a:lnTo>
                <a:cubicBezTo>
                  <a:pt x="14947" y="4547"/>
                  <a:pt x="14727" y="4802"/>
                  <a:pt x="14727" y="5116"/>
                </a:cubicBezTo>
                <a:cubicBezTo>
                  <a:pt x="14727" y="5430"/>
                  <a:pt x="14947" y="5684"/>
                  <a:pt x="15218" y="5684"/>
                </a:cubicBezTo>
                <a:lnTo>
                  <a:pt x="15709" y="5684"/>
                </a:lnTo>
                <a:cubicBezTo>
                  <a:pt x="16251" y="5684"/>
                  <a:pt x="16691" y="6194"/>
                  <a:pt x="16691" y="6821"/>
                </a:cubicBezTo>
                <a:cubicBezTo>
                  <a:pt x="16691" y="7448"/>
                  <a:pt x="16251" y="7958"/>
                  <a:pt x="15709" y="7958"/>
                </a:cubicBezTo>
                <a:lnTo>
                  <a:pt x="491" y="7958"/>
                </a:lnTo>
                <a:cubicBezTo>
                  <a:pt x="220" y="7958"/>
                  <a:pt x="0" y="8212"/>
                  <a:pt x="0" y="8526"/>
                </a:cubicBezTo>
                <a:cubicBezTo>
                  <a:pt x="0" y="8841"/>
                  <a:pt x="220" y="9095"/>
                  <a:pt x="491" y="9095"/>
                </a:cubicBezTo>
                <a:lnTo>
                  <a:pt x="15709" y="9095"/>
                </a:lnTo>
                <a:cubicBezTo>
                  <a:pt x="16794" y="9095"/>
                  <a:pt x="17673" y="8077"/>
                  <a:pt x="17673" y="6821"/>
                </a:cubicBezTo>
                <a:moveTo>
                  <a:pt x="2455" y="6821"/>
                </a:moveTo>
                <a:lnTo>
                  <a:pt x="9818" y="6821"/>
                </a:lnTo>
                <a:cubicBezTo>
                  <a:pt x="11444" y="6821"/>
                  <a:pt x="12764" y="5294"/>
                  <a:pt x="12764" y="3411"/>
                </a:cubicBezTo>
                <a:cubicBezTo>
                  <a:pt x="12764" y="1528"/>
                  <a:pt x="11444" y="0"/>
                  <a:pt x="9818" y="0"/>
                </a:cubicBezTo>
                <a:lnTo>
                  <a:pt x="9327" y="0"/>
                </a:lnTo>
                <a:cubicBezTo>
                  <a:pt x="9056" y="0"/>
                  <a:pt x="8836" y="254"/>
                  <a:pt x="8836" y="568"/>
                </a:cubicBezTo>
                <a:cubicBezTo>
                  <a:pt x="8836" y="883"/>
                  <a:pt x="9056" y="1137"/>
                  <a:pt x="9327" y="1137"/>
                </a:cubicBezTo>
                <a:lnTo>
                  <a:pt x="9818" y="1137"/>
                </a:lnTo>
                <a:cubicBezTo>
                  <a:pt x="10903" y="1137"/>
                  <a:pt x="11782" y="2155"/>
                  <a:pt x="11782" y="3411"/>
                </a:cubicBezTo>
                <a:cubicBezTo>
                  <a:pt x="11782" y="4666"/>
                  <a:pt x="10903" y="5684"/>
                  <a:pt x="9818" y="5684"/>
                </a:cubicBezTo>
                <a:lnTo>
                  <a:pt x="2455" y="5684"/>
                </a:lnTo>
                <a:cubicBezTo>
                  <a:pt x="2183" y="5684"/>
                  <a:pt x="1964" y="5938"/>
                  <a:pt x="1964" y="6253"/>
                </a:cubicBezTo>
                <a:cubicBezTo>
                  <a:pt x="1964" y="6567"/>
                  <a:pt x="2183" y="6821"/>
                  <a:pt x="2455" y="682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4" name="Shape 2974"/>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480" y="13937"/>
                </a:moveTo>
                <a:cubicBezTo>
                  <a:pt x="14147" y="14117"/>
                  <a:pt x="13804" y="14208"/>
                  <a:pt x="13451" y="14208"/>
                </a:cubicBezTo>
                <a:cubicBezTo>
                  <a:pt x="12999" y="14208"/>
                  <a:pt x="12590" y="14119"/>
                  <a:pt x="12225" y="13943"/>
                </a:cubicBezTo>
                <a:cubicBezTo>
                  <a:pt x="11859" y="13768"/>
                  <a:pt x="11545" y="13525"/>
                  <a:pt x="11282" y="13217"/>
                </a:cubicBezTo>
                <a:cubicBezTo>
                  <a:pt x="11020" y="12909"/>
                  <a:pt x="10816" y="12544"/>
                  <a:pt x="10672" y="12121"/>
                </a:cubicBezTo>
                <a:cubicBezTo>
                  <a:pt x="10529" y="11698"/>
                  <a:pt x="10457" y="11236"/>
                  <a:pt x="10457" y="10734"/>
                </a:cubicBezTo>
                <a:cubicBezTo>
                  <a:pt x="10457" y="10268"/>
                  <a:pt x="10529" y="9832"/>
                  <a:pt x="10672" y="9427"/>
                </a:cubicBezTo>
                <a:cubicBezTo>
                  <a:pt x="10816" y="9022"/>
                  <a:pt x="11020" y="8668"/>
                  <a:pt x="11282" y="8364"/>
                </a:cubicBezTo>
                <a:cubicBezTo>
                  <a:pt x="11545" y="8060"/>
                  <a:pt x="11859" y="7823"/>
                  <a:pt x="12225" y="7651"/>
                </a:cubicBezTo>
                <a:cubicBezTo>
                  <a:pt x="12590" y="7479"/>
                  <a:pt x="12999" y="7393"/>
                  <a:pt x="13451" y="7393"/>
                </a:cubicBezTo>
                <a:cubicBezTo>
                  <a:pt x="13755" y="7393"/>
                  <a:pt x="14057" y="7456"/>
                  <a:pt x="14357" y="7579"/>
                </a:cubicBezTo>
                <a:cubicBezTo>
                  <a:pt x="14656" y="7702"/>
                  <a:pt x="14966" y="7948"/>
                  <a:pt x="15287" y="8318"/>
                </a:cubicBezTo>
                <a:lnTo>
                  <a:pt x="16494" y="7367"/>
                </a:lnTo>
                <a:cubicBezTo>
                  <a:pt x="16059" y="6830"/>
                  <a:pt x="15589" y="6449"/>
                  <a:pt x="15083" y="6225"/>
                </a:cubicBezTo>
                <a:cubicBezTo>
                  <a:pt x="14578" y="6000"/>
                  <a:pt x="14030" y="5888"/>
                  <a:pt x="13439" y="5888"/>
                </a:cubicBezTo>
                <a:cubicBezTo>
                  <a:pt x="12765" y="5888"/>
                  <a:pt x="12147" y="6005"/>
                  <a:pt x="11584" y="6238"/>
                </a:cubicBezTo>
                <a:cubicBezTo>
                  <a:pt x="11021" y="6471"/>
                  <a:pt x="10537" y="6804"/>
                  <a:pt x="10131" y="7235"/>
                </a:cubicBezTo>
                <a:cubicBezTo>
                  <a:pt x="9724" y="7666"/>
                  <a:pt x="9405" y="8188"/>
                  <a:pt x="9176" y="8800"/>
                </a:cubicBezTo>
                <a:cubicBezTo>
                  <a:pt x="8946" y="9412"/>
                  <a:pt x="8831" y="10092"/>
                  <a:pt x="8831" y="10840"/>
                </a:cubicBezTo>
                <a:cubicBezTo>
                  <a:pt x="8831" y="11571"/>
                  <a:pt x="8946" y="12235"/>
                  <a:pt x="9176" y="12835"/>
                </a:cubicBezTo>
                <a:cubicBezTo>
                  <a:pt x="9405" y="13433"/>
                  <a:pt x="9724" y="13946"/>
                  <a:pt x="10131" y="14373"/>
                </a:cubicBezTo>
                <a:cubicBezTo>
                  <a:pt x="10537" y="14800"/>
                  <a:pt x="11021" y="15130"/>
                  <a:pt x="11584" y="15363"/>
                </a:cubicBezTo>
                <a:cubicBezTo>
                  <a:pt x="12147" y="15597"/>
                  <a:pt x="12765" y="15713"/>
                  <a:pt x="13439" y="15713"/>
                </a:cubicBezTo>
                <a:cubicBezTo>
                  <a:pt x="14079" y="15713"/>
                  <a:pt x="14683" y="15581"/>
                  <a:pt x="15250" y="15317"/>
                </a:cubicBezTo>
                <a:cubicBezTo>
                  <a:pt x="15816" y="15053"/>
                  <a:pt x="16297" y="14630"/>
                  <a:pt x="16691" y="14049"/>
                </a:cubicBezTo>
                <a:lnTo>
                  <a:pt x="15410" y="13072"/>
                </a:lnTo>
                <a:cubicBezTo>
                  <a:pt x="15122" y="13468"/>
                  <a:pt x="14813" y="13756"/>
                  <a:pt x="14480" y="13937"/>
                </a:cubicBezTo>
                <a:moveTo>
                  <a:pt x="5891" y="6873"/>
                </a:moveTo>
                <a:cubicBezTo>
                  <a:pt x="5349" y="6873"/>
                  <a:pt x="4909" y="6433"/>
                  <a:pt x="4909" y="5891"/>
                </a:cubicBezTo>
                <a:cubicBezTo>
                  <a:pt x="4909" y="5349"/>
                  <a:pt x="5349" y="4909"/>
                  <a:pt x="5891" y="4909"/>
                </a:cubicBezTo>
                <a:cubicBezTo>
                  <a:pt x="6433" y="4909"/>
                  <a:pt x="6873" y="5349"/>
                  <a:pt x="6873" y="5891"/>
                </a:cubicBezTo>
                <a:cubicBezTo>
                  <a:pt x="6873" y="6433"/>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5" name="Shape 2975"/>
          <p:cNvSpPr/>
          <p:nvPr/>
        </p:nvSpPr>
        <p:spPr>
          <a:xfrm>
            <a:off x="4717237"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9825" y="15704"/>
                </a:moveTo>
                <a:lnTo>
                  <a:pt x="11291" y="15709"/>
                </a:lnTo>
                <a:lnTo>
                  <a:pt x="11291" y="11782"/>
                </a:lnTo>
                <a:lnTo>
                  <a:pt x="15218" y="11782"/>
                </a:lnTo>
                <a:lnTo>
                  <a:pt x="15218" y="10309"/>
                </a:lnTo>
                <a:lnTo>
                  <a:pt x="11291" y="10309"/>
                </a:lnTo>
                <a:lnTo>
                  <a:pt x="11291" y="7364"/>
                </a:lnTo>
                <a:lnTo>
                  <a:pt x="15709" y="7364"/>
                </a:lnTo>
                <a:lnTo>
                  <a:pt x="15711" y="5897"/>
                </a:lnTo>
                <a:lnTo>
                  <a:pt x="9825" y="5897"/>
                </a:lnTo>
                <a:cubicBezTo>
                  <a:pt x="9825" y="5897"/>
                  <a:pt x="9825" y="15704"/>
                  <a:pt x="9825" y="15704"/>
                </a:cubicBezTo>
                <a:close/>
                <a:moveTo>
                  <a:pt x="5891" y="6873"/>
                </a:moveTo>
                <a:cubicBezTo>
                  <a:pt x="5349" y="6873"/>
                  <a:pt x="4909" y="6434"/>
                  <a:pt x="4909" y="5891"/>
                </a:cubicBezTo>
                <a:cubicBezTo>
                  <a:pt x="4909" y="5349"/>
                  <a:pt x="5349" y="4909"/>
                  <a:pt x="5891" y="4909"/>
                </a:cubicBezTo>
                <a:cubicBezTo>
                  <a:pt x="6433" y="4909"/>
                  <a:pt x="6873" y="5349"/>
                  <a:pt x="6873" y="5891"/>
                </a:cubicBezTo>
                <a:cubicBezTo>
                  <a:pt x="6873" y="6434"/>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6" name="Shape 2976"/>
          <p:cNvSpPr/>
          <p:nvPr/>
        </p:nvSpPr>
        <p:spPr>
          <a:xfrm>
            <a:off x="5117183"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7" name="Shape 2977"/>
          <p:cNvSpPr/>
          <p:nvPr/>
        </p:nvSpPr>
        <p:spPr>
          <a:xfrm>
            <a:off x="5517129"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86" y="20524"/>
                </a:moveTo>
                <a:cubicBezTo>
                  <a:pt x="11664" y="20580"/>
                  <a:pt x="11237" y="20618"/>
                  <a:pt x="10800" y="20618"/>
                </a:cubicBezTo>
                <a:cubicBezTo>
                  <a:pt x="5377" y="20618"/>
                  <a:pt x="982" y="16223"/>
                  <a:pt x="982" y="10800"/>
                </a:cubicBezTo>
                <a:cubicBezTo>
                  <a:pt x="982" y="5378"/>
                  <a:pt x="5377" y="982"/>
                  <a:pt x="10800" y="982"/>
                </a:cubicBezTo>
                <a:cubicBezTo>
                  <a:pt x="11237" y="982"/>
                  <a:pt x="11665" y="1020"/>
                  <a:pt x="12086" y="1076"/>
                </a:cubicBezTo>
                <a:cubicBezTo>
                  <a:pt x="14339" y="3664"/>
                  <a:pt x="15709" y="7100"/>
                  <a:pt x="15709" y="10800"/>
                </a:cubicBezTo>
                <a:cubicBezTo>
                  <a:pt x="15709" y="14500"/>
                  <a:pt x="14339" y="17936"/>
                  <a:pt x="12086" y="20524"/>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8" name="Shape 2978"/>
          <p:cNvSpPr/>
          <p:nvPr/>
        </p:nvSpPr>
        <p:spPr>
          <a:xfrm>
            <a:off x="5917075"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0800" y="982"/>
                  <a:pt x="10800" y="20618"/>
                  <a:pt x="10800" y="20618"/>
                </a:cubicBezTo>
                <a:close/>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9" name="Shape 2979"/>
          <p:cNvSpPr/>
          <p:nvPr/>
        </p:nvSpPr>
        <p:spPr>
          <a:xfrm>
            <a:off x="6317021"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0" y="20533"/>
                </a:moveTo>
                <a:cubicBezTo>
                  <a:pt x="4730" y="19927"/>
                  <a:pt x="982" y="15805"/>
                  <a:pt x="982" y="10800"/>
                </a:cubicBezTo>
                <a:cubicBezTo>
                  <a:pt x="982" y="5795"/>
                  <a:pt x="4730" y="1673"/>
                  <a:pt x="9570" y="1067"/>
                </a:cubicBezTo>
                <a:cubicBezTo>
                  <a:pt x="7282" y="3663"/>
                  <a:pt x="5891" y="7068"/>
                  <a:pt x="5891" y="10800"/>
                </a:cubicBezTo>
                <a:cubicBezTo>
                  <a:pt x="5891" y="14532"/>
                  <a:pt x="7282" y="17937"/>
                  <a:pt x="9570" y="20533"/>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0" name="Shape 2980"/>
          <p:cNvSpPr/>
          <p:nvPr/>
        </p:nvSpPr>
        <p:spPr>
          <a:xfrm>
            <a:off x="6716967" y="3507986"/>
            <a:ext cx="209495" cy="209495"/>
          </a:xfrm>
          <a:prstGeom prst="ellipse">
            <a:avLst/>
          </a:pr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1" name="Shape 2981"/>
          <p:cNvSpPr/>
          <p:nvPr/>
        </p:nvSpPr>
        <p:spPr>
          <a:xfrm>
            <a:off x="7116912"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30" y="20533"/>
                </a:moveTo>
                <a:cubicBezTo>
                  <a:pt x="14318" y="17937"/>
                  <a:pt x="15709" y="14532"/>
                  <a:pt x="15709" y="10800"/>
                </a:cubicBezTo>
                <a:cubicBezTo>
                  <a:pt x="15709" y="7068"/>
                  <a:pt x="14318" y="3663"/>
                  <a:pt x="12030" y="1067"/>
                </a:cubicBezTo>
                <a:cubicBezTo>
                  <a:pt x="16870" y="1673"/>
                  <a:pt x="20618" y="5795"/>
                  <a:pt x="20618" y="10800"/>
                </a:cubicBezTo>
                <a:cubicBezTo>
                  <a:pt x="20618" y="15805"/>
                  <a:pt x="16870" y="19927"/>
                  <a:pt x="12030" y="20533"/>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2" name="Shape 2982"/>
          <p:cNvSpPr/>
          <p:nvPr/>
        </p:nvSpPr>
        <p:spPr>
          <a:xfrm>
            <a:off x="7516858"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lnTo>
                  <a:pt x="10800" y="982"/>
                </a:ln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3" name="Shape 2983"/>
          <p:cNvSpPr/>
          <p:nvPr/>
        </p:nvSpPr>
        <p:spPr>
          <a:xfrm>
            <a:off x="7916804"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10378" y="20618"/>
                  <a:pt x="9964" y="20583"/>
                  <a:pt x="9556" y="20531"/>
                </a:cubicBezTo>
                <a:cubicBezTo>
                  <a:pt x="7276" y="17937"/>
                  <a:pt x="5891" y="14524"/>
                  <a:pt x="5891" y="10800"/>
                </a:cubicBezTo>
                <a:cubicBezTo>
                  <a:pt x="5891" y="7076"/>
                  <a:pt x="7276" y="3663"/>
                  <a:pt x="9556" y="1069"/>
                </a:cubicBezTo>
                <a:cubicBezTo>
                  <a:pt x="9964" y="1017"/>
                  <a:pt x="10378"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4" name="Shape 2984"/>
          <p:cNvSpPr/>
          <p:nvPr/>
        </p:nvSpPr>
        <p:spPr>
          <a:xfrm>
            <a:off x="8373885" y="3507986"/>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6029" y="20618"/>
                  <a:pt x="2160" y="18860"/>
                  <a:pt x="2160" y="16691"/>
                </a:cubicBezTo>
                <a:cubicBezTo>
                  <a:pt x="2160" y="15238"/>
                  <a:pt x="3900" y="13973"/>
                  <a:pt x="6480" y="13293"/>
                </a:cubicBezTo>
                <a:lnTo>
                  <a:pt x="6480" y="2945"/>
                </a:lnTo>
                <a:cubicBezTo>
                  <a:pt x="6480" y="1861"/>
                  <a:pt x="8414" y="982"/>
                  <a:pt x="10800" y="982"/>
                </a:cubicBezTo>
                <a:cubicBezTo>
                  <a:pt x="13186" y="982"/>
                  <a:pt x="15120" y="1861"/>
                  <a:pt x="15120" y="2945"/>
                </a:cubicBezTo>
                <a:lnTo>
                  <a:pt x="15120" y="13293"/>
                </a:lnTo>
                <a:cubicBezTo>
                  <a:pt x="17700" y="13973"/>
                  <a:pt x="19440" y="15238"/>
                  <a:pt x="19440" y="16691"/>
                </a:cubicBezTo>
                <a:cubicBezTo>
                  <a:pt x="19440" y="18860"/>
                  <a:pt x="15571" y="20618"/>
                  <a:pt x="10800" y="20618"/>
                </a:cubicBezTo>
                <a:moveTo>
                  <a:pt x="17280" y="12770"/>
                </a:moveTo>
                <a:lnTo>
                  <a:pt x="17280" y="2945"/>
                </a:lnTo>
                <a:cubicBezTo>
                  <a:pt x="17280" y="1318"/>
                  <a:pt x="14378" y="0"/>
                  <a:pt x="10800" y="0"/>
                </a:cubicBezTo>
                <a:cubicBezTo>
                  <a:pt x="7221" y="0"/>
                  <a:pt x="4320" y="1318"/>
                  <a:pt x="4320" y="2945"/>
                </a:cubicBezTo>
                <a:lnTo>
                  <a:pt x="4320" y="12770"/>
                </a:lnTo>
                <a:cubicBezTo>
                  <a:pt x="1701" y="13666"/>
                  <a:pt x="0" y="15087"/>
                  <a:pt x="0" y="16691"/>
                </a:cubicBezTo>
                <a:cubicBezTo>
                  <a:pt x="0" y="19402"/>
                  <a:pt x="4835" y="21600"/>
                  <a:pt x="10800" y="21600"/>
                </a:cubicBezTo>
                <a:cubicBezTo>
                  <a:pt x="16763" y="21600"/>
                  <a:pt x="21600" y="19402"/>
                  <a:pt x="21600" y="16691"/>
                </a:cubicBezTo>
                <a:cubicBezTo>
                  <a:pt x="21600" y="15087"/>
                  <a:pt x="19899" y="13666"/>
                  <a:pt x="17280" y="12770"/>
                </a:cubicBezTo>
                <a:moveTo>
                  <a:pt x="12960" y="13917"/>
                </a:moveTo>
                <a:lnTo>
                  <a:pt x="12960" y="7855"/>
                </a:lnTo>
                <a:cubicBezTo>
                  <a:pt x="12960" y="7313"/>
                  <a:pt x="11992" y="6873"/>
                  <a:pt x="10800" y="6873"/>
                </a:cubicBezTo>
                <a:cubicBezTo>
                  <a:pt x="9608" y="6873"/>
                  <a:pt x="8640" y="7313"/>
                  <a:pt x="8640" y="7855"/>
                </a:cubicBezTo>
                <a:lnTo>
                  <a:pt x="8640" y="13917"/>
                </a:lnTo>
                <a:cubicBezTo>
                  <a:pt x="6126" y="14322"/>
                  <a:pt x="4320" y="15409"/>
                  <a:pt x="4320" y="16691"/>
                </a:cubicBezTo>
                <a:cubicBezTo>
                  <a:pt x="4320" y="18318"/>
                  <a:pt x="7221" y="19636"/>
                  <a:pt x="10800" y="19636"/>
                </a:cubicBezTo>
                <a:cubicBezTo>
                  <a:pt x="14378" y="19636"/>
                  <a:pt x="17280" y="18318"/>
                  <a:pt x="17280" y="16691"/>
                </a:cubicBezTo>
                <a:cubicBezTo>
                  <a:pt x="17280" y="15409"/>
                  <a:pt x="15475" y="14322"/>
                  <a:pt x="12960" y="139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96" name="Shape 2707"/>
          <p:cNvSpPr/>
          <p:nvPr/>
        </p:nvSpPr>
        <p:spPr>
          <a:xfrm>
            <a:off x="4228204" y="3078257"/>
            <a:ext cx="70858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Weather</a:t>
            </a:r>
          </a:p>
        </p:txBody>
      </p:sp>
      <p:sp>
        <p:nvSpPr>
          <p:cNvPr id="97" name="Shape 2707"/>
          <p:cNvSpPr/>
          <p:nvPr/>
        </p:nvSpPr>
        <p:spPr>
          <a:xfrm>
            <a:off x="4269912" y="657413"/>
            <a:ext cx="62516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Arrows</a:t>
            </a:r>
          </a:p>
        </p:txBody>
      </p:sp>
      <p:sp>
        <p:nvSpPr>
          <p:cNvPr id="98" name="Shape 2707"/>
          <p:cNvSpPr/>
          <p:nvPr/>
        </p:nvSpPr>
        <p:spPr>
          <a:xfrm>
            <a:off x="4207396" y="2054250"/>
            <a:ext cx="750198"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a:solidFill>
                  <a:schemeClr val="accent3"/>
                </a:solidFill>
                <a:latin typeface="Arial" panose="020B0604020202020204" pitchFamily="34" charset="0"/>
                <a:cs typeface="Arial" panose="020B0604020202020204" pitchFamily="34" charset="0"/>
              </a:rPr>
              <a:t>Location</a:t>
            </a:r>
          </a:p>
        </p:txBody>
      </p:sp>
    </p:spTree>
    <p:extLst>
      <p:ext uri="{BB962C8B-B14F-4D97-AF65-F5344CB8AC3E}">
        <p14:creationId xmlns:p14="http://schemas.microsoft.com/office/powerpoint/2010/main" val="18590315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id="{9256FF68-9801-B84E-AED2-47801F0C2FB6}"/>
              </a:ext>
            </a:extLst>
          </p:cNvPr>
          <p:cNvSpPr/>
          <p:nvPr/>
        </p:nvSpPr>
        <p:spPr>
          <a:xfrm rot="10800000" flipV="1">
            <a:off x="1188" y="0"/>
            <a:ext cx="914281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2" name="Group 1">
            <a:extLst>
              <a:ext uri="{FF2B5EF4-FFF2-40B4-BE49-F238E27FC236}">
                <a16:creationId xmlns:a16="http://schemas.microsoft.com/office/drawing/2014/main" id="{99B75920-E937-1748-B276-BE8AD24A6FCA}"/>
              </a:ext>
            </a:extLst>
          </p:cNvPr>
          <p:cNvGrpSpPr/>
          <p:nvPr/>
        </p:nvGrpSpPr>
        <p:grpSpPr>
          <a:xfrm>
            <a:off x="1041135" y="1268749"/>
            <a:ext cx="7061729" cy="3412452"/>
            <a:chOff x="3209292" y="3691995"/>
            <a:chExt cx="18831276" cy="9099872"/>
          </a:xfrm>
        </p:grpSpPr>
        <p:grpSp>
          <p:nvGrpSpPr>
            <p:cNvPr id="126" name="Group 125">
              <a:extLst>
                <a:ext uri="{FF2B5EF4-FFF2-40B4-BE49-F238E27FC236}">
                  <a16:creationId xmlns:a16="http://schemas.microsoft.com/office/drawing/2014/main" id="{53976A36-F0C8-B44F-97B2-B44FB55F5C23}"/>
                </a:ext>
              </a:extLst>
            </p:cNvPr>
            <p:cNvGrpSpPr/>
            <p:nvPr/>
          </p:nvGrpSpPr>
          <p:grpSpPr>
            <a:xfrm>
              <a:off x="3209292" y="3753014"/>
              <a:ext cx="17943828" cy="8876496"/>
              <a:chOff x="3843499" y="3719582"/>
              <a:chExt cx="16665619" cy="8244192"/>
            </a:xfrm>
            <a:solidFill>
              <a:schemeClr val="bg1"/>
            </a:solidFill>
          </p:grpSpPr>
          <p:sp>
            <p:nvSpPr>
              <p:cNvPr id="127" name="Freeform 781">
                <a:extLst>
                  <a:ext uri="{FF2B5EF4-FFF2-40B4-BE49-F238E27FC236}">
                    <a16:creationId xmlns:a16="http://schemas.microsoft.com/office/drawing/2014/main" id="{D8C38CD4-0F3C-424B-B322-AD6B8A5C2B2C}"/>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28" name="Freeform 403">
                <a:extLst>
                  <a:ext uri="{FF2B5EF4-FFF2-40B4-BE49-F238E27FC236}">
                    <a16:creationId xmlns:a16="http://schemas.microsoft.com/office/drawing/2014/main" id="{6E7D15CA-4343-3642-B9BC-724FE18A0A79}"/>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29" name="Freeform 404">
                <a:extLst>
                  <a:ext uri="{FF2B5EF4-FFF2-40B4-BE49-F238E27FC236}">
                    <a16:creationId xmlns:a16="http://schemas.microsoft.com/office/drawing/2014/main" id="{B39C3362-D10E-A449-8EBA-5A903C80F399}"/>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0" name="Freeform 405">
                <a:extLst>
                  <a:ext uri="{FF2B5EF4-FFF2-40B4-BE49-F238E27FC236}">
                    <a16:creationId xmlns:a16="http://schemas.microsoft.com/office/drawing/2014/main" id="{57C3D42E-4CBD-7841-889C-56E9BF209E3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1" name="Freeform 406">
                <a:extLst>
                  <a:ext uri="{FF2B5EF4-FFF2-40B4-BE49-F238E27FC236}">
                    <a16:creationId xmlns:a16="http://schemas.microsoft.com/office/drawing/2014/main" id="{3C2DAA39-840D-174C-BC2A-4D3AA29AEE05}"/>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2" name="Freeform 407">
                <a:extLst>
                  <a:ext uri="{FF2B5EF4-FFF2-40B4-BE49-F238E27FC236}">
                    <a16:creationId xmlns:a16="http://schemas.microsoft.com/office/drawing/2014/main" id="{1A09AC03-21DD-EB4D-81BF-68898A3D5FD6}"/>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3" name="Freeform 408">
                <a:extLst>
                  <a:ext uri="{FF2B5EF4-FFF2-40B4-BE49-F238E27FC236}">
                    <a16:creationId xmlns:a16="http://schemas.microsoft.com/office/drawing/2014/main" id="{5AEB5DBB-690D-A945-AA09-669F1109FE40}"/>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4" name="Freeform 409">
                <a:extLst>
                  <a:ext uri="{FF2B5EF4-FFF2-40B4-BE49-F238E27FC236}">
                    <a16:creationId xmlns:a16="http://schemas.microsoft.com/office/drawing/2014/main" id="{03F16651-985C-894D-91BF-A12F30B992B8}"/>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5" name="Freeform 410">
                <a:extLst>
                  <a:ext uri="{FF2B5EF4-FFF2-40B4-BE49-F238E27FC236}">
                    <a16:creationId xmlns:a16="http://schemas.microsoft.com/office/drawing/2014/main" id="{F7715155-7372-E447-8D08-BC1602345254}"/>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6" name="Freeform 411">
                <a:extLst>
                  <a:ext uri="{FF2B5EF4-FFF2-40B4-BE49-F238E27FC236}">
                    <a16:creationId xmlns:a16="http://schemas.microsoft.com/office/drawing/2014/main" id="{3E45C619-102C-3147-AD8E-10B47ED6A69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7" name="Freeform 412">
                <a:extLst>
                  <a:ext uri="{FF2B5EF4-FFF2-40B4-BE49-F238E27FC236}">
                    <a16:creationId xmlns:a16="http://schemas.microsoft.com/office/drawing/2014/main" id="{4F13D974-4A54-5143-A74B-F9F9B355DFB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8" name="Freeform 413">
                <a:extLst>
                  <a:ext uri="{FF2B5EF4-FFF2-40B4-BE49-F238E27FC236}">
                    <a16:creationId xmlns:a16="http://schemas.microsoft.com/office/drawing/2014/main" id="{608D3050-49A5-1844-87A5-E89F1C719758}"/>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39" name="Freeform 414">
                <a:extLst>
                  <a:ext uri="{FF2B5EF4-FFF2-40B4-BE49-F238E27FC236}">
                    <a16:creationId xmlns:a16="http://schemas.microsoft.com/office/drawing/2014/main" id="{A13887C7-5EB9-7948-B381-7698C620E6DC}"/>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0" name="Freeform 415">
                <a:extLst>
                  <a:ext uri="{FF2B5EF4-FFF2-40B4-BE49-F238E27FC236}">
                    <a16:creationId xmlns:a16="http://schemas.microsoft.com/office/drawing/2014/main" id="{C5FABA75-FBB2-F94E-A8D6-8B695C84D56E}"/>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1" name="Freeform 416">
                <a:extLst>
                  <a:ext uri="{FF2B5EF4-FFF2-40B4-BE49-F238E27FC236}">
                    <a16:creationId xmlns:a16="http://schemas.microsoft.com/office/drawing/2014/main" id="{B583A149-09FF-3042-9A2B-846180521371}"/>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2" name="Freeform 417">
                <a:extLst>
                  <a:ext uri="{FF2B5EF4-FFF2-40B4-BE49-F238E27FC236}">
                    <a16:creationId xmlns:a16="http://schemas.microsoft.com/office/drawing/2014/main" id="{0D4138FC-2434-4C46-B5DF-7B2110D96815}"/>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3" name="Freeform 418">
                <a:extLst>
                  <a:ext uri="{FF2B5EF4-FFF2-40B4-BE49-F238E27FC236}">
                    <a16:creationId xmlns:a16="http://schemas.microsoft.com/office/drawing/2014/main" id="{55D8CF99-F4B7-4B4C-9C06-AF1F6FA6F14B}"/>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4" name="Freeform 419">
                <a:extLst>
                  <a:ext uri="{FF2B5EF4-FFF2-40B4-BE49-F238E27FC236}">
                    <a16:creationId xmlns:a16="http://schemas.microsoft.com/office/drawing/2014/main" id="{BFA28A00-0643-4442-891B-5256D86CB221}"/>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5" name="Freeform 420">
                <a:extLst>
                  <a:ext uri="{FF2B5EF4-FFF2-40B4-BE49-F238E27FC236}">
                    <a16:creationId xmlns:a16="http://schemas.microsoft.com/office/drawing/2014/main" id="{871F37BE-A72F-054E-AD0C-DD433D3CB214}"/>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6" name="Freeform 421">
                <a:extLst>
                  <a:ext uri="{FF2B5EF4-FFF2-40B4-BE49-F238E27FC236}">
                    <a16:creationId xmlns:a16="http://schemas.microsoft.com/office/drawing/2014/main" id="{2D77AB3F-6C90-0144-98C1-85CCCD57264B}"/>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7" name="Freeform 422">
                <a:extLst>
                  <a:ext uri="{FF2B5EF4-FFF2-40B4-BE49-F238E27FC236}">
                    <a16:creationId xmlns:a16="http://schemas.microsoft.com/office/drawing/2014/main" id="{EB07E2EF-8093-C14E-963C-22A83E644383}"/>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8" name="Freeform 423">
                <a:extLst>
                  <a:ext uri="{FF2B5EF4-FFF2-40B4-BE49-F238E27FC236}">
                    <a16:creationId xmlns:a16="http://schemas.microsoft.com/office/drawing/2014/main" id="{2C76390E-6833-0C44-927F-6226DEEF26E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49" name="Freeform 424">
                <a:extLst>
                  <a:ext uri="{FF2B5EF4-FFF2-40B4-BE49-F238E27FC236}">
                    <a16:creationId xmlns:a16="http://schemas.microsoft.com/office/drawing/2014/main" id="{E971D467-9E5D-FF40-88DC-FDA0ACA04A6D}"/>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0" name="Freeform 425">
                <a:extLst>
                  <a:ext uri="{FF2B5EF4-FFF2-40B4-BE49-F238E27FC236}">
                    <a16:creationId xmlns:a16="http://schemas.microsoft.com/office/drawing/2014/main" id="{943F8EC6-00BF-6643-BB70-ED2E6AEE01F9}"/>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1" name="Freeform 426">
                <a:extLst>
                  <a:ext uri="{FF2B5EF4-FFF2-40B4-BE49-F238E27FC236}">
                    <a16:creationId xmlns:a16="http://schemas.microsoft.com/office/drawing/2014/main" id="{269D0AFA-6B97-0749-A65E-C05093900F8E}"/>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2" name="Freeform 427">
                <a:extLst>
                  <a:ext uri="{FF2B5EF4-FFF2-40B4-BE49-F238E27FC236}">
                    <a16:creationId xmlns:a16="http://schemas.microsoft.com/office/drawing/2014/main" id="{23415B42-69C9-9740-9B61-F6601B5E22C3}"/>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3" name="Freeform 428">
                <a:extLst>
                  <a:ext uri="{FF2B5EF4-FFF2-40B4-BE49-F238E27FC236}">
                    <a16:creationId xmlns:a16="http://schemas.microsoft.com/office/drawing/2014/main" id="{B13B0DF3-0521-014D-9F03-23672582569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4" name="Freeform 429">
                <a:extLst>
                  <a:ext uri="{FF2B5EF4-FFF2-40B4-BE49-F238E27FC236}">
                    <a16:creationId xmlns:a16="http://schemas.microsoft.com/office/drawing/2014/main" id="{A0ACAE68-9642-1447-ABD0-CB8B8AE0FD7E}"/>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grpSp>
            <p:nvGrpSpPr>
              <p:cNvPr id="155" name="Group 154">
                <a:extLst>
                  <a:ext uri="{FF2B5EF4-FFF2-40B4-BE49-F238E27FC236}">
                    <a16:creationId xmlns:a16="http://schemas.microsoft.com/office/drawing/2014/main" id="{91B99AC9-DC25-8546-93DE-0759D18EC775}"/>
                  </a:ext>
                </a:extLst>
              </p:cNvPr>
              <p:cNvGrpSpPr/>
              <p:nvPr/>
            </p:nvGrpSpPr>
            <p:grpSpPr>
              <a:xfrm>
                <a:off x="17709756" y="6761778"/>
                <a:ext cx="697449" cy="662593"/>
                <a:chOff x="5961121" y="2686387"/>
                <a:chExt cx="288233" cy="273757"/>
              </a:xfrm>
              <a:grpFill/>
            </p:grpSpPr>
            <p:sp>
              <p:nvSpPr>
                <p:cNvPr id="520" name="Freeform 430">
                  <a:extLst>
                    <a:ext uri="{FF2B5EF4-FFF2-40B4-BE49-F238E27FC236}">
                      <a16:creationId xmlns:a16="http://schemas.microsoft.com/office/drawing/2014/main" id="{E3A7A116-7E3F-944B-A5A8-FB2D574DDD56}"/>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21" name="Freeform 431">
                  <a:extLst>
                    <a:ext uri="{FF2B5EF4-FFF2-40B4-BE49-F238E27FC236}">
                      <a16:creationId xmlns:a16="http://schemas.microsoft.com/office/drawing/2014/main" id="{C8036AA9-EC50-9A43-826B-CED89AD7CF77}"/>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grpSp>
          <p:sp>
            <p:nvSpPr>
              <p:cNvPr id="156" name="Freeform 432">
                <a:extLst>
                  <a:ext uri="{FF2B5EF4-FFF2-40B4-BE49-F238E27FC236}">
                    <a16:creationId xmlns:a16="http://schemas.microsoft.com/office/drawing/2014/main" id="{C9F0AB5E-1124-0B45-B599-2FBEDAC3A586}"/>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7" name="Freeform 433">
                <a:extLst>
                  <a:ext uri="{FF2B5EF4-FFF2-40B4-BE49-F238E27FC236}">
                    <a16:creationId xmlns:a16="http://schemas.microsoft.com/office/drawing/2014/main" id="{3CA857EB-2320-0C42-AD5A-E02B09D60CB5}"/>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8" name="Freeform 434">
                <a:extLst>
                  <a:ext uri="{FF2B5EF4-FFF2-40B4-BE49-F238E27FC236}">
                    <a16:creationId xmlns:a16="http://schemas.microsoft.com/office/drawing/2014/main" id="{3EBA49BE-B8F7-A248-BAD7-D09EA541DC3F}"/>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59" name="Freeform 435">
                <a:extLst>
                  <a:ext uri="{FF2B5EF4-FFF2-40B4-BE49-F238E27FC236}">
                    <a16:creationId xmlns:a16="http://schemas.microsoft.com/office/drawing/2014/main" id="{B775854E-3660-AB46-A2F9-59DBF021CCE8}"/>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0" name="Freeform 436">
                <a:extLst>
                  <a:ext uri="{FF2B5EF4-FFF2-40B4-BE49-F238E27FC236}">
                    <a16:creationId xmlns:a16="http://schemas.microsoft.com/office/drawing/2014/main" id="{B845136F-C44F-EC43-8B5B-91557822418B}"/>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1" name="Freeform 437">
                <a:extLst>
                  <a:ext uri="{FF2B5EF4-FFF2-40B4-BE49-F238E27FC236}">
                    <a16:creationId xmlns:a16="http://schemas.microsoft.com/office/drawing/2014/main" id="{EFDC1262-F384-344F-8F1E-C34ACEC3EB0F}"/>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2" name="Freeform 438">
                <a:extLst>
                  <a:ext uri="{FF2B5EF4-FFF2-40B4-BE49-F238E27FC236}">
                    <a16:creationId xmlns:a16="http://schemas.microsoft.com/office/drawing/2014/main" id="{1C30A3BC-64B3-104E-9164-C95244594FE0}"/>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3" name="Freeform 439">
                <a:extLst>
                  <a:ext uri="{FF2B5EF4-FFF2-40B4-BE49-F238E27FC236}">
                    <a16:creationId xmlns:a16="http://schemas.microsoft.com/office/drawing/2014/main" id="{627FA898-C5D9-7B40-A4B7-3226866145A6}"/>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4" name="Freeform 440">
                <a:extLst>
                  <a:ext uri="{FF2B5EF4-FFF2-40B4-BE49-F238E27FC236}">
                    <a16:creationId xmlns:a16="http://schemas.microsoft.com/office/drawing/2014/main" id="{412E10EC-793A-044A-9D6A-F1456DBF9E55}"/>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5" name="Freeform 441">
                <a:extLst>
                  <a:ext uri="{FF2B5EF4-FFF2-40B4-BE49-F238E27FC236}">
                    <a16:creationId xmlns:a16="http://schemas.microsoft.com/office/drawing/2014/main" id="{C8ED253B-65A9-4D40-8335-0CAF77434C1E}"/>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6" name="Freeform 442">
                <a:extLst>
                  <a:ext uri="{FF2B5EF4-FFF2-40B4-BE49-F238E27FC236}">
                    <a16:creationId xmlns:a16="http://schemas.microsoft.com/office/drawing/2014/main" id="{5BFD9CCD-19B5-7547-96A6-E3AFD1C1D2D8}"/>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7" name="Freeform 443">
                <a:extLst>
                  <a:ext uri="{FF2B5EF4-FFF2-40B4-BE49-F238E27FC236}">
                    <a16:creationId xmlns:a16="http://schemas.microsoft.com/office/drawing/2014/main" id="{B4DC68F3-32E9-5447-98A6-AC29732DE11F}"/>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8" name="Freeform 444">
                <a:extLst>
                  <a:ext uri="{FF2B5EF4-FFF2-40B4-BE49-F238E27FC236}">
                    <a16:creationId xmlns:a16="http://schemas.microsoft.com/office/drawing/2014/main" id="{291269F8-E03C-D849-96D1-E66055E128D9}"/>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69" name="Freeform 445">
                <a:extLst>
                  <a:ext uri="{FF2B5EF4-FFF2-40B4-BE49-F238E27FC236}">
                    <a16:creationId xmlns:a16="http://schemas.microsoft.com/office/drawing/2014/main" id="{EE95BD15-8881-C548-BFAB-E06FAA5F4601}"/>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0" name="Freeform 446">
                <a:extLst>
                  <a:ext uri="{FF2B5EF4-FFF2-40B4-BE49-F238E27FC236}">
                    <a16:creationId xmlns:a16="http://schemas.microsoft.com/office/drawing/2014/main" id="{0F9AE5CD-8CB0-B54C-9D81-89FDB4D00639}"/>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1" name="Freeform 447">
                <a:extLst>
                  <a:ext uri="{FF2B5EF4-FFF2-40B4-BE49-F238E27FC236}">
                    <a16:creationId xmlns:a16="http://schemas.microsoft.com/office/drawing/2014/main" id="{21B77C3B-0904-0343-97FE-43F6AAB7B3A1}"/>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2" name="Freeform 448">
                <a:extLst>
                  <a:ext uri="{FF2B5EF4-FFF2-40B4-BE49-F238E27FC236}">
                    <a16:creationId xmlns:a16="http://schemas.microsoft.com/office/drawing/2014/main" id="{CC28734D-C22B-4644-90A4-6C063145575A}"/>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3" name="Freeform 449">
                <a:extLst>
                  <a:ext uri="{FF2B5EF4-FFF2-40B4-BE49-F238E27FC236}">
                    <a16:creationId xmlns:a16="http://schemas.microsoft.com/office/drawing/2014/main" id="{3C36E338-D618-0B4D-B83C-78CB01193442}"/>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4" name="Freeform 450">
                <a:extLst>
                  <a:ext uri="{FF2B5EF4-FFF2-40B4-BE49-F238E27FC236}">
                    <a16:creationId xmlns:a16="http://schemas.microsoft.com/office/drawing/2014/main" id="{8CFBF097-71EE-1941-8214-91EDE71FE2DE}"/>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5" name="Freeform 451">
                <a:extLst>
                  <a:ext uri="{FF2B5EF4-FFF2-40B4-BE49-F238E27FC236}">
                    <a16:creationId xmlns:a16="http://schemas.microsoft.com/office/drawing/2014/main" id="{EBEC40FA-9B4E-1A4C-BB29-12A0D1FD62D2}"/>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6" name="Freeform 452">
                <a:extLst>
                  <a:ext uri="{FF2B5EF4-FFF2-40B4-BE49-F238E27FC236}">
                    <a16:creationId xmlns:a16="http://schemas.microsoft.com/office/drawing/2014/main" id="{8DCE3842-DA03-F54F-9AAF-4EAEA9435F69}"/>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7" name="Freeform 453">
                <a:extLst>
                  <a:ext uri="{FF2B5EF4-FFF2-40B4-BE49-F238E27FC236}">
                    <a16:creationId xmlns:a16="http://schemas.microsoft.com/office/drawing/2014/main" id="{5390F68D-9299-C149-AACE-966D4E921CB3}"/>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8" name="Freeform 454">
                <a:extLst>
                  <a:ext uri="{FF2B5EF4-FFF2-40B4-BE49-F238E27FC236}">
                    <a16:creationId xmlns:a16="http://schemas.microsoft.com/office/drawing/2014/main" id="{5EDE4B32-00DF-8548-B277-8BC03FCBB185}"/>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79" name="Freeform 455">
                <a:extLst>
                  <a:ext uri="{FF2B5EF4-FFF2-40B4-BE49-F238E27FC236}">
                    <a16:creationId xmlns:a16="http://schemas.microsoft.com/office/drawing/2014/main" id="{E153288B-C377-4048-B234-4595E59BAD8B}"/>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0" name="Freeform 456">
                <a:extLst>
                  <a:ext uri="{FF2B5EF4-FFF2-40B4-BE49-F238E27FC236}">
                    <a16:creationId xmlns:a16="http://schemas.microsoft.com/office/drawing/2014/main" id="{279404A1-70F4-D94A-8284-5FCD3C999051}"/>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1" name="Freeform 457">
                <a:extLst>
                  <a:ext uri="{FF2B5EF4-FFF2-40B4-BE49-F238E27FC236}">
                    <a16:creationId xmlns:a16="http://schemas.microsoft.com/office/drawing/2014/main" id="{80DDCB5B-4AD9-B44A-B56F-9E23F5BE19D8}"/>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2" name="Freeform 458">
                <a:extLst>
                  <a:ext uri="{FF2B5EF4-FFF2-40B4-BE49-F238E27FC236}">
                    <a16:creationId xmlns:a16="http://schemas.microsoft.com/office/drawing/2014/main" id="{11BB6454-F875-EA40-99C5-1BAC4365EA85}"/>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3" name="Freeform 459">
                <a:extLst>
                  <a:ext uri="{FF2B5EF4-FFF2-40B4-BE49-F238E27FC236}">
                    <a16:creationId xmlns:a16="http://schemas.microsoft.com/office/drawing/2014/main" id="{CB3B69E1-89D8-1041-B847-4826BAC91D83}"/>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4" name="Freeform 460">
                <a:extLst>
                  <a:ext uri="{FF2B5EF4-FFF2-40B4-BE49-F238E27FC236}">
                    <a16:creationId xmlns:a16="http://schemas.microsoft.com/office/drawing/2014/main" id="{9EA81206-A168-0848-8594-D6CD16E3A668}"/>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5" name="Freeform 461">
                <a:extLst>
                  <a:ext uri="{FF2B5EF4-FFF2-40B4-BE49-F238E27FC236}">
                    <a16:creationId xmlns:a16="http://schemas.microsoft.com/office/drawing/2014/main" id="{08AD3170-794B-D349-8AF4-93FCA1DFF2AF}"/>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6" name="Freeform 462">
                <a:extLst>
                  <a:ext uri="{FF2B5EF4-FFF2-40B4-BE49-F238E27FC236}">
                    <a16:creationId xmlns:a16="http://schemas.microsoft.com/office/drawing/2014/main" id="{47F7C44C-1381-0B45-818C-2149462F1BCE}"/>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7" name="Freeform 463">
                <a:extLst>
                  <a:ext uri="{FF2B5EF4-FFF2-40B4-BE49-F238E27FC236}">
                    <a16:creationId xmlns:a16="http://schemas.microsoft.com/office/drawing/2014/main" id="{B0B6D346-1684-C845-BE15-1B16508B48AF}"/>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8" name="Freeform 464">
                <a:extLst>
                  <a:ext uri="{FF2B5EF4-FFF2-40B4-BE49-F238E27FC236}">
                    <a16:creationId xmlns:a16="http://schemas.microsoft.com/office/drawing/2014/main" id="{6484AD93-E695-B24F-99B6-B8304585FF24}"/>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89" name="Freeform 465">
                <a:extLst>
                  <a:ext uri="{FF2B5EF4-FFF2-40B4-BE49-F238E27FC236}">
                    <a16:creationId xmlns:a16="http://schemas.microsoft.com/office/drawing/2014/main" id="{4A23A782-A392-E44B-B932-6ED10FA07A4D}"/>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0" name="Freeform 466">
                <a:extLst>
                  <a:ext uri="{FF2B5EF4-FFF2-40B4-BE49-F238E27FC236}">
                    <a16:creationId xmlns:a16="http://schemas.microsoft.com/office/drawing/2014/main" id="{48FF5161-605F-374D-8063-3C988D0DE73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1" name="Freeform 467">
                <a:extLst>
                  <a:ext uri="{FF2B5EF4-FFF2-40B4-BE49-F238E27FC236}">
                    <a16:creationId xmlns:a16="http://schemas.microsoft.com/office/drawing/2014/main" id="{F1137952-CAD3-BE46-ACA2-CFDC2F44E81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2" name="Freeform 468">
                <a:extLst>
                  <a:ext uri="{FF2B5EF4-FFF2-40B4-BE49-F238E27FC236}">
                    <a16:creationId xmlns:a16="http://schemas.microsoft.com/office/drawing/2014/main" id="{76540667-EEA5-2646-9C96-C3C10F79824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3" name="Freeform 469">
                <a:extLst>
                  <a:ext uri="{FF2B5EF4-FFF2-40B4-BE49-F238E27FC236}">
                    <a16:creationId xmlns:a16="http://schemas.microsoft.com/office/drawing/2014/main" id="{47C00660-2EAC-9846-9C1B-B1562781802E}"/>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4" name="Freeform 470">
                <a:extLst>
                  <a:ext uri="{FF2B5EF4-FFF2-40B4-BE49-F238E27FC236}">
                    <a16:creationId xmlns:a16="http://schemas.microsoft.com/office/drawing/2014/main" id="{07C2D098-1E20-A847-AE41-A6E8CB9BA1D8}"/>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5" name="Freeform 471">
                <a:extLst>
                  <a:ext uri="{FF2B5EF4-FFF2-40B4-BE49-F238E27FC236}">
                    <a16:creationId xmlns:a16="http://schemas.microsoft.com/office/drawing/2014/main" id="{B76BD06D-7C8B-E74F-959C-29A884C40046}"/>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6" name="Freeform 472">
                <a:extLst>
                  <a:ext uri="{FF2B5EF4-FFF2-40B4-BE49-F238E27FC236}">
                    <a16:creationId xmlns:a16="http://schemas.microsoft.com/office/drawing/2014/main" id="{7059ABC9-013B-BD45-9967-DB065C73F066}"/>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7" name="Freeform 473">
                <a:extLst>
                  <a:ext uri="{FF2B5EF4-FFF2-40B4-BE49-F238E27FC236}">
                    <a16:creationId xmlns:a16="http://schemas.microsoft.com/office/drawing/2014/main" id="{9CDC5ADB-2DD3-8E45-B563-4C9768A036E4}"/>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8" name="Freeform 474">
                <a:extLst>
                  <a:ext uri="{FF2B5EF4-FFF2-40B4-BE49-F238E27FC236}">
                    <a16:creationId xmlns:a16="http://schemas.microsoft.com/office/drawing/2014/main" id="{90DE8701-BE86-D845-9899-0B9EB827D64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199" name="Freeform 475">
                <a:extLst>
                  <a:ext uri="{FF2B5EF4-FFF2-40B4-BE49-F238E27FC236}">
                    <a16:creationId xmlns:a16="http://schemas.microsoft.com/office/drawing/2014/main" id="{500D68D0-79AA-7A49-826F-541F6EED1512}"/>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0" name="Freeform 476">
                <a:extLst>
                  <a:ext uri="{FF2B5EF4-FFF2-40B4-BE49-F238E27FC236}">
                    <a16:creationId xmlns:a16="http://schemas.microsoft.com/office/drawing/2014/main" id="{49FEB55C-0B86-454C-89EF-10719AE19F96}"/>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1" name="Freeform 477">
                <a:extLst>
                  <a:ext uri="{FF2B5EF4-FFF2-40B4-BE49-F238E27FC236}">
                    <a16:creationId xmlns:a16="http://schemas.microsoft.com/office/drawing/2014/main" id="{14D84A96-A540-3849-B965-6B733F04FCDF}"/>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2" name="Freeform 478">
                <a:extLst>
                  <a:ext uri="{FF2B5EF4-FFF2-40B4-BE49-F238E27FC236}">
                    <a16:creationId xmlns:a16="http://schemas.microsoft.com/office/drawing/2014/main" id="{BE1C2153-C045-5947-BDA8-0D32B6A68CDF}"/>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3" name="Freeform 479">
                <a:extLst>
                  <a:ext uri="{FF2B5EF4-FFF2-40B4-BE49-F238E27FC236}">
                    <a16:creationId xmlns:a16="http://schemas.microsoft.com/office/drawing/2014/main" id="{1DF9757B-2B17-DB47-93A0-CEECC88E8CF6}"/>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4" name="Freeform 480">
                <a:extLst>
                  <a:ext uri="{FF2B5EF4-FFF2-40B4-BE49-F238E27FC236}">
                    <a16:creationId xmlns:a16="http://schemas.microsoft.com/office/drawing/2014/main" id="{BCBE99F0-0410-674D-9BA9-10CB8F931F19}"/>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5" name="Freeform 481">
                <a:extLst>
                  <a:ext uri="{FF2B5EF4-FFF2-40B4-BE49-F238E27FC236}">
                    <a16:creationId xmlns:a16="http://schemas.microsoft.com/office/drawing/2014/main" id="{11350A23-0810-C344-80A6-CA434533C5EC}"/>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6" name="Freeform 482">
                <a:extLst>
                  <a:ext uri="{FF2B5EF4-FFF2-40B4-BE49-F238E27FC236}">
                    <a16:creationId xmlns:a16="http://schemas.microsoft.com/office/drawing/2014/main" id="{19C82B1A-E465-7C40-8A7A-6F4D9157B017}"/>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7" name="Freeform 483">
                <a:extLst>
                  <a:ext uri="{FF2B5EF4-FFF2-40B4-BE49-F238E27FC236}">
                    <a16:creationId xmlns:a16="http://schemas.microsoft.com/office/drawing/2014/main" id="{81FE6F81-9D6A-FD46-A7C2-462ABFCCD8AC}"/>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8" name="Freeform 484">
                <a:extLst>
                  <a:ext uri="{FF2B5EF4-FFF2-40B4-BE49-F238E27FC236}">
                    <a16:creationId xmlns:a16="http://schemas.microsoft.com/office/drawing/2014/main" id="{972C2056-4BA1-434C-8229-1F0F1E49F2F8}"/>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09" name="Freeform 485">
                <a:extLst>
                  <a:ext uri="{FF2B5EF4-FFF2-40B4-BE49-F238E27FC236}">
                    <a16:creationId xmlns:a16="http://schemas.microsoft.com/office/drawing/2014/main" id="{781EA042-DD69-5F42-9222-057DE1DAE88A}"/>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0" name="Freeform 486">
                <a:extLst>
                  <a:ext uri="{FF2B5EF4-FFF2-40B4-BE49-F238E27FC236}">
                    <a16:creationId xmlns:a16="http://schemas.microsoft.com/office/drawing/2014/main" id="{B19C97F2-57D2-6F47-B96F-F8DE9386F179}"/>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1" name="Freeform 487">
                <a:extLst>
                  <a:ext uri="{FF2B5EF4-FFF2-40B4-BE49-F238E27FC236}">
                    <a16:creationId xmlns:a16="http://schemas.microsoft.com/office/drawing/2014/main" id="{BE329FFE-68B1-8D49-A413-13AFF47CB339}"/>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2" name="Freeform 488">
                <a:extLst>
                  <a:ext uri="{FF2B5EF4-FFF2-40B4-BE49-F238E27FC236}">
                    <a16:creationId xmlns:a16="http://schemas.microsoft.com/office/drawing/2014/main" id="{DC5814BB-C1A4-AB4E-899E-2BBDB7105288}"/>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3" name="Freeform 489">
                <a:extLst>
                  <a:ext uri="{FF2B5EF4-FFF2-40B4-BE49-F238E27FC236}">
                    <a16:creationId xmlns:a16="http://schemas.microsoft.com/office/drawing/2014/main" id="{35356882-C1F4-1A4C-8E2D-295116615E7A}"/>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4" name="Freeform 490">
                <a:extLst>
                  <a:ext uri="{FF2B5EF4-FFF2-40B4-BE49-F238E27FC236}">
                    <a16:creationId xmlns:a16="http://schemas.microsoft.com/office/drawing/2014/main" id="{A1A558EF-590A-C742-BB48-60293515E477}"/>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5" name="Freeform 491">
                <a:extLst>
                  <a:ext uri="{FF2B5EF4-FFF2-40B4-BE49-F238E27FC236}">
                    <a16:creationId xmlns:a16="http://schemas.microsoft.com/office/drawing/2014/main" id="{97EF96AE-AA67-884D-8B8B-BB4D4F9B9EA5}"/>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6" name="Freeform 492">
                <a:extLst>
                  <a:ext uri="{FF2B5EF4-FFF2-40B4-BE49-F238E27FC236}">
                    <a16:creationId xmlns:a16="http://schemas.microsoft.com/office/drawing/2014/main" id="{4F92D126-8F6D-EF4B-B0B0-A57377A362BF}"/>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7" name="Freeform 493">
                <a:extLst>
                  <a:ext uri="{FF2B5EF4-FFF2-40B4-BE49-F238E27FC236}">
                    <a16:creationId xmlns:a16="http://schemas.microsoft.com/office/drawing/2014/main" id="{5823F5B5-B05C-4940-9918-C8BF221628CF}"/>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8" name="Freeform 494">
                <a:extLst>
                  <a:ext uri="{FF2B5EF4-FFF2-40B4-BE49-F238E27FC236}">
                    <a16:creationId xmlns:a16="http://schemas.microsoft.com/office/drawing/2014/main" id="{19F31319-4769-6345-AAA4-FB83C36E964C}"/>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19" name="Freeform 495">
                <a:extLst>
                  <a:ext uri="{FF2B5EF4-FFF2-40B4-BE49-F238E27FC236}">
                    <a16:creationId xmlns:a16="http://schemas.microsoft.com/office/drawing/2014/main" id="{E1E68E44-7AAC-F64F-B1BA-E5E396A7E586}"/>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0" name="Freeform 496">
                <a:extLst>
                  <a:ext uri="{FF2B5EF4-FFF2-40B4-BE49-F238E27FC236}">
                    <a16:creationId xmlns:a16="http://schemas.microsoft.com/office/drawing/2014/main" id="{06ACC18E-79FA-2A4E-A395-22265D2921A2}"/>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1" name="Freeform 497">
                <a:extLst>
                  <a:ext uri="{FF2B5EF4-FFF2-40B4-BE49-F238E27FC236}">
                    <a16:creationId xmlns:a16="http://schemas.microsoft.com/office/drawing/2014/main" id="{16CBFE19-B184-2F41-AD79-1C7AF24CB299}"/>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2" name="Freeform 498">
                <a:extLst>
                  <a:ext uri="{FF2B5EF4-FFF2-40B4-BE49-F238E27FC236}">
                    <a16:creationId xmlns:a16="http://schemas.microsoft.com/office/drawing/2014/main" id="{8EF342B0-8A23-7F4C-B629-65F15011D2C9}"/>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3" name="Freeform 499">
                <a:extLst>
                  <a:ext uri="{FF2B5EF4-FFF2-40B4-BE49-F238E27FC236}">
                    <a16:creationId xmlns:a16="http://schemas.microsoft.com/office/drawing/2014/main" id="{CDB4936F-2ED7-8D44-B4FF-BBFEE69B07C6}"/>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4" name="Freeform 500">
                <a:extLst>
                  <a:ext uri="{FF2B5EF4-FFF2-40B4-BE49-F238E27FC236}">
                    <a16:creationId xmlns:a16="http://schemas.microsoft.com/office/drawing/2014/main" id="{721E916D-1A1B-0041-ACA6-E7F21B50FF6E}"/>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5" name="Freeform 501">
                <a:extLst>
                  <a:ext uri="{FF2B5EF4-FFF2-40B4-BE49-F238E27FC236}">
                    <a16:creationId xmlns:a16="http://schemas.microsoft.com/office/drawing/2014/main" id="{3A1B3184-3EDB-DC42-8369-459EB83BE6B7}"/>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6" name="Freeform 502">
                <a:extLst>
                  <a:ext uri="{FF2B5EF4-FFF2-40B4-BE49-F238E27FC236}">
                    <a16:creationId xmlns:a16="http://schemas.microsoft.com/office/drawing/2014/main" id="{32A255C1-A45B-2944-99CA-6C0FF8509FE6}"/>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7" name="Freeform 503">
                <a:extLst>
                  <a:ext uri="{FF2B5EF4-FFF2-40B4-BE49-F238E27FC236}">
                    <a16:creationId xmlns:a16="http://schemas.microsoft.com/office/drawing/2014/main" id="{E6F9CA63-A3FA-ED4D-BA57-76911F3436BF}"/>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8" name="Freeform 504">
                <a:extLst>
                  <a:ext uri="{FF2B5EF4-FFF2-40B4-BE49-F238E27FC236}">
                    <a16:creationId xmlns:a16="http://schemas.microsoft.com/office/drawing/2014/main" id="{8558EAF6-262F-1A44-BEB5-D18B3849B18A}"/>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29" name="Freeform 505">
                <a:extLst>
                  <a:ext uri="{FF2B5EF4-FFF2-40B4-BE49-F238E27FC236}">
                    <a16:creationId xmlns:a16="http://schemas.microsoft.com/office/drawing/2014/main" id="{190742D1-4687-8942-815D-3F72FD85A000}"/>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0" name="Freeform 506">
                <a:extLst>
                  <a:ext uri="{FF2B5EF4-FFF2-40B4-BE49-F238E27FC236}">
                    <a16:creationId xmlns:a16="http://schemas.microsoft.com/office/drawing/2014/main" id="{9E5DEF84-CF5F-2F44-B920-54ED554435BE}"/>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1" name="Freeform 507">
                <a:extLst>
                  <a:ext uri="{FF2B5EF4-FFF2-40B4-BE49-F238E27FC236}">
                    <a16:creationId xmlns:a16="http://schemas.microsoft.com/office/drawing/2014/main" id="{CCE2A7E2-2E3E-F545-8541-5DBD824BC99F}"/>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2" name="Freeform 508">
                <a:extLst>
                  <a:ext uri="{FF2B5EF4-FFF2-40B4-BE49-F238E27FC236}">
                    <a16:creationId xmlns:a16="http://schemas.microsoft.com/office/drawing/2014/main" id="{037E67FE-C3A6-4D4F-A2BC-C1C6E4F9E8DC}"/>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3" name="Freeform 509">
                <a:extLst>
                  <a:ext uri="{FF2B5EF4-FFF2-40B4-BE49-F238E27FC236}">
                    <a16:creationId xmlns:a16="http://schemas.microsoft.com/office/drawing/2014/main" id="{A13F11C7-3717-A741-B18B-607108B33771}"/>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4" name="Freeform 510">
                <a:extLst>
                  <a:ext uri="{FF2B5EF4-FFF2-40B4-BE49-F238E27FC236}">
                    <a16:creationId xmlns:a16="http://schemas.microsoft.com/office/drawing/2014/main" id="{4684F5B4-3594-B043-9EDE-65BC400BFE63}"/>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5" name="Freeform 511">
                <a:extLst>
                  <a:ext uri="{FF2B5EF4-FFF2-40B4-BE49-F238E27FC236}">
                    <a16:creationId xmlns:a16="http://schemas.microsoft.com/office/drawing/2014/main" id="{DDC45861-89CA-524B-B8C8-B7DB8E2BFEEE}"/>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6" name="Freeform 512">
                <a:extLst>
                  <a:ext uri="{FF2B5EF4-FFF2-40B4-BE49-F238E27FC236}">
                    <a16:creationId xmlns:a16="http://schemas.microsoft.com/office/drawing/2014/main" id="{42663440-7291-814B-8B23-1FA04F34C16B}"/>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7" name="Freeform 513">
                <a:extLst>
                  <a:ext uri="{FF2B5EF4-FFF2-40B4-BE49-F238E27FC236}">
                    <a16:creationId xmlns:a16="http://schemas.microsoft.com/office/drawing/2014/main" id="{EF075AF4-2096-6A46-AEF1-E9DE87E88CFD}"/>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8" name="Freeform 514">
                <a:extLst>
                  <a:ext uri="{FF2B5EF4-FFF2-40B4-BE49-F238E27FC236}">
                    <a16:creationId xmlns:a16="http://schemas.microsoft.com/office/drawing/2014/main" id="{53127A63-B06F-5C4D-9544-E3038367C52F}"/>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39" name="Freeform 515">
                <a:extLst>
                  <a:ext uri="{FF2B5EF4-FFF2-40B4-BE49-F238E27FC236}">
                    <a16:creationId xmlns:a16="http://schemas.microsoft.com/office/drawing/2014/main" id="{F71C9817-9DF5-CC4F-ADFA-1FC62BE9B17E}"/>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0" name="Freeform 516">
                <a:extLst>
                  <a:ext uri="{FF2B5EF4-FFF2-40B4-BE49-F238E27FC236}">
                    <a16:creationId xmlns:a16="http://schemas.microsoft.com/office/drawing/2014/main" id="{AC390FFD-2A02-0E47-AEAA-7EAE2DC50836}"/>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1" name="Freeform 517">
                <a:extLst>
                  <a:ext uri="{FF2B5EF4-FFF2-40B4-BE49-F238E27FC236}">
                    <a16:creationId xmlns:a16="http://schemas.microsoft.com/office/drawing/2014/main" id="{751F4134-8377-0B4A-8EE0-5D9E5AEFBB5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2" name="Freeform 518">
                <a:extLst>
                  <a:ext uri="{FF2B5EF4-FFF2-40B4-BE49-F238E27FC236}">
                    <a16:creationId xmlns:a16="http://schemas.microsoft.com/office/drawing/2014/main" id="{A51E2180-E88F-0F40-B5E0-492658E069C3}"/>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3" name="Freeform 519">
                <a:extLst>
                  <a:ext uri="{FF2B5EF4-FFF2-40B4-BE49-F238E27FC236}">
                    <a16:creationId xmlns:a16="http://schemas.microsoft.com/office/drawing/2014/main" id="{B7048D03-B7A7-CE42-9D45-D8665DF3C142}"/>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4" name="Freeform 520">
                <a:extLst>
                  <a:ext uri="{FF2B5EF4-FFF2-40B4-BE49-F238E27FC236}">
                    <a16:creationId xmlns:a16="http://schemas.microsoft.com/office/drawing/2014/main" id="{12424FBE-2D2F-7349-8F5C-E45D23C58446}"/>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5" name="Freeform 521">
                <a:extLst>
                  <a:ext uri="{FF2B5EF4-FFF2-40B4-BE49-F238E27FC236}">
                    <a16:creationId xmlns:a16="http://schemas.microsoft.com/office/drawing/2014/main" id="{7B88D608-3F51-8546-B7EB-6A5CA0023BAF}"/>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6" name="Freeform 522">
                <a:extLst>
                  <a:ext uri="{FF2B5EF4-FFF2-40B4-BE49-F238E27FC236}">
                    <a16:creationId xmlns:a16="http://schemas.microsoft.com/office/drawing/2014/main" id="{76FD4243-EA7F-1F49-8CA8-CEF0E732ACDF}"/>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7" name="Freeform 523">
                <a:extLst>
                  <a:ext uri="{FF2B5EF4-FFF2-40B4-BE49-F238E27FC236}">
                    <a16:creationId xmlns:a16="http://schemas.microsoft.com/office/drawing/2014/main" id="{AF4D68E4-3D37-664F-8583-83FF5F7E308F}"/>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8" name="Freeform 524">
                <a:extLst>
                  <a:ext uri="{FF2B5EF4-FFF2-40B4-BE49-F238E27FC236}">
                    <a16:creationId xmlns:a16="http://schemas.microsoft.com/office/drawing/2014/main" id="{08B5A2D2-279E-1742-82E4-3CF99BEFC534}"/>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49" name="Freeform 525">
                <a:extLst>
                  <a:ext uri="{FF2B5EF4-FFF2-40B4-BE49-F238E27FC236}">
                    <a16:creationId xmlns:a16="http://schemas.microsoft.com/office/drawing/2014/main" id="{07D486BE-ABAA-4449-A914-7244179F3FA5}"/>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0" name="Freeform 526">
                <a:extLst>
                  <a:ext uri="{FF2B5EF4-FFF2-40B4-BE49-F238E27FC236}">
                    <a16:creationId xmlns:a16="http://schemas.microsoft.com/office/drawing/2014/main" id="{A70FCA01-71DB-8A4F-AE7A-D8FD7ACF39C2}"/>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1" name="Freeform 527">
                <a:extLst>
                  <a:ext uri="{FF2B5EF4-FFF2-40B4-BE49-F238E27FC236}">
                    <a16:creationId xmlns:a16="http://schemas.microsoft.com/office/drawing/2014/main" id="{5270C636-DBFC-1340-958D-12A20DBAA815}"/>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2" name="Freeform 528">
                <a:extLst>
                  <a:ext uri="{FF2B5EF4-FFF2-40B4-BE49-F238E27FC236}">
                    <a16:creationId xmlns:a16="http://schemas.microsoft.com/office/drawing/2014/main" id="{947C9C61-D3C5-E541-81D2-E990FAC12A39}"/>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3" name="Freeform 529">
                <a:extLst>
                  <a:ext uri="{FF2B5EF4-FFF2-40B4-BE49-F238E27FC236}">
                    <a16:creationId xmlns:a16="http://schemas.microsoft.com/office/drawing/2014/main" id="{5B16A678-E42D-8E42-B41F-BF7AE355DD66}"/>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4" name="Freeform 530">
                <a:extLst>
                  <a:ext uri="{FF2B5EF4-FFF2-40B4-BE49-F238E27FC236}">
                    <a16:creationId xmlns:a16="http://schemas.microsoft.com/office/drawing/2014/main" id="{5735CF2B-06AE-6D4A-BF7F-C9694FA1B9A9}"/>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5" name="Freeform 531">
                <a:extLst>
                  <a:ext uri="{FF2B5EF4-FFF2-40B4-BE49-F238E27FC236}">
                    <a16:creationId xmlns:a16="http://schemas.microsoft.com/office/drawing/2014/main" id="{CD3F9914-3F6B-284E-8328-CDF870F45A46}"/>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6" name="Freeform 532">
                <a:extLst>
                  <a:ext uri="{FF2B5EF4-FFF2-40B4-BE49-F238E27FC236}">
                    <a16:creationId xmlns:a16="http://schemas.microsoft.com/office/drawing/2014/main" id="{09936061-639F-164C-9889-7E909FDEABB6}"/>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7" name="Freeform 533">
                <a:extLst>
                  <a:ext uri="{FF2B5EF4-FFF2-40B4-BE49-F238E27FC236}">
                    <a16:creationId xmlns:a16="http://schemas.microsoft.com/office/drawing/2014/main" id="{A38B662B-7D9D-7E43-B6BD-C4ED881EB050}"/>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8" name="Freeform 534">
                <a:extLst>
                  <a:ext uri="{FF2B5EF4-FFF2-40B4-BE49-F238E27FC236}">
                    <a16:creationId xmlns:a16="http://schemas.microsoft.com/office/drawing/2014/main" id="{0E2E1AA5-1B66-9A4D-AD3C-87C4359919B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59" name="Freeform 535">
                <a:extLst>
                  <a:ext uri="{FF2B5EF4-FFF2-40B4-BE49-F238E27FC236}">
                    <a16:creationId xmlns:a16="http://schemas.microsoft.com/office/drawing/2014/main" id="{E080F111-15FE-F645-AE8C-B72CD10CBEE0}"/>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0" name="Freeform 536">
                <a:extLst>
                  <a:ext uri="{FF2B5EF4-FFF2-40B4-BE49-F238E27FC236}">
                    <a16:creationId xmlns:a16="http://schemas.microsoft.com/office/drawing/2014/main" id="{7143EE67-3F32-524B-9D39-54F18F79E1A7}"/>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1" name="Freeform 537">
                <a:extLst>
                  <a:ext uri="{FF2B5EF4-FFF2-40B4-BE49-F238E27FC236}">
                    <a16:creationId xmlns:a16="http://schemas.microsoft.com/office/drawing/2014/main" id="{126D4BD0-43A8-8847-8CE4-FF36D63E4223}"/>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2" name="Freeform 538">
                <a:extLst>
                  <a:ext uri="{FF2B5EF4-FFF2-40B4-BE49-F238E27FC236}">
                    <a16:creationId xmlns:a16="http://schemas.microsoft.com/office/drawing/2014/main" id="{C529BD20-2646-4541-B065-BA0A3020B946}"/>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3" name="Freeform 539">
                <a:extLst>
                  <a:ext uri="{FF2B5EF4-FFF2-40B4-BE49-F238E27FC236}">
                    <a16:creationId xmlns:a16="http://schemas.microsoft.com/office/drawing/2014/main" id="{0CFE4B14-E43B-0641-8D7B-FF302E1F6943}"/>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4" name="Freeform 540">
                <a:extLst>
                  <a:ext uri="{FF2B5EF4-FFF2-40B4-BE49-F238E27FC236}">
                    <a16:creationId xmlns:a16="http://schemas.microsoft.com/office/drawing/2014/main" id="{C4CD5AE3-A0F6-904D-BEC3-CA8FF81F8EE1}"/>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5" name="Freeform 541">
                <a:extLst>
                  <a:ext uri="{FF2B5EF4-FFF2-40B4-BE49-F238E27FC236}">
                    <a16:creationId xmlns:a16="http://schemas.microsoft.com/office/drawing/2014/main" id="{6CB650F1-D4EC-4A4B-A8A2-D734EE29F99B}"/>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6" name="Freeform 542">
                <a:extLst>
                  <a:ext uri="{FF2B5EF4-FFF2-40B4-BE49-F238E27FC236}">
                    <a16:creationId xmlns:a16="http://schemas.microsoft.com/office/drawing/2014/main" id="{DA1EEC03-3445-254F-A5CD-E4B88955F327}"/>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7" name="Freeform 543">
                <a:extLst>
                  <a:ext uri="{FF2B5EF4-FFF2-40B4-BE49-F238E27FC236}">
                    <a16:creationId xmlns:a16="http://schemas.microsoft.com/office/drawing/2014/main" id="{8BF2874C-9699-2B40-9356-907507900D37}"/>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8" name="Freeform 544">
                <a:extLst>
                  <a:ext uri="{FF2B5EF4-FFF2-40B4-BE49-F238E27FC236}">
                    <a16:creationId xmlns:a16="http://schemas.microsoft.com/office/drawing/2014/main" id="{9DA64A8E-2969-5C42-8631-045E0C96B71C}"/>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69" name="Freeform 545">
                <a:extLst>
                  <a:ext uri="{FF2B5EF4-FFF2-40B4-BE49-F238E27FC236}">
                    <a16:creationId xmlns:a16="http://schemas.microsoft.com/office/drawing/2014/main" id="{E757A698-3098-8D41-BDF4-1FC9B6F8A9A6}"/>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0" name="Freeform 546">
                <a:extLst>
                  <a:ext uri="{FF2B5EF4-FFF2-40B4-BE49-F238E27FC236}">
                    <a16:creationId xmlns:a16="http://schemas.microsoft.com/office/drawing/2014/main" id="{6D9D932D-AA38-CD4A-836F-D1579A2BDBBB}"/>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1" name="Freeform 547">
                <a:extLst>
                  <a:ext uri="{FF2B5EF4-FFF2-40B4-BE49-F238E27FC236}">
                    <a16:creationId xmlns:a16="http://schemas.microsoft.com/office/drawing/2014/main" id="{7B60C973-26EF-B04F-960F-8A3D479AA8B1}"/>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2" name="Freeform 548">
                <a:extLst>
                  <a:ext uri="{FF2B5EF4-FFF2-40B4-BE49-F238E27FC236}">
                    <a16:creationId xmlns:a16="http://schemas.microsoft.com/office/drawing/2014/main" id="{9228C744-8072-2740-B693-E5D22A88EC58}"/>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3" name="Freeform 549">
                <a:extLst>
                  <a:ext uri="{FF2B5EF4-FFF2-40B4-BE49-F238E27FC236}">
                    <a16:creationId xmlns:a16="http://schemas.microsoft.com/office/drawing/2014/main" id="{90668128-1AA2-6744-A26B-08E97DE8D531}"/>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4" name="Freeform 550">
                <a:extLst>
                  <a:ext uri="{FF2B5EF4-FFF2-40B4-BE49-F238E27FC236}">
                    <a16:creationId xmlns:a16="http://schemas.microsoft.com/office/drawing/2014/main" id="{7BEA9EF7-83C9-E643-A5AA-FD1B5568C7B7}"/>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5" name="Freeform 551">
                <a:extLst>
                  <a:ext uri="{FF2B5EF4-FFF2-40B4-BE49-F238E27FC236}">
                    <a16:creationId xmlns:a16="http://schemas.microsoft.com/office/drawing/2014/main" id="{3F08C62A-25CC-F34C-BFDB-89B9F75DD4F5}"/>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6" name="Freeform 552">
                <a:extLst>
                  <a:ext uri="{FF2B5EF4-FFF2-40B4-BE49-F238E27FC236}">
                    <a16:creationId xmlns:a16="http://schemas.microsoft.com/office/drawing/2014/main" id="{34427D78-07A0-6B46-9EAD-582DF4304A54}"/>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7" name="Freeform 553">
                <a:extLst>
                  <a:ext uri="{FF2B5EF4-FFF2-40B4-BE49-F238E27FC236}">
                    <a16:creationId xmlns:a16="http://schemas.microsoft.com/office/drawing/2014/main" id="{E512F8F4-D661-4A44-B79C-15C51F88E9A9}"/>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8" name="Freeform 554">
                <a:extLst>
                  <a:ext uri="{FF2B5EF4-FFF2-40B4-BE49-F238E27FC236}">
                    <a16:creationId xmlns:a16="http://schemas.microsoft.com/office/drawing/2014/main" id="{DB5D89A1-89AE-7240-B62B-F67854DC59D5}"/>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79" name="Freeform 555">
                <a:extLst>
                  <a:ext uri="{FF2B5EF4-FFF2-40B4-BE49-F238E27FC236}">
                    <a16:creationId xmlns:a16="http://schemas.microsoft.com/office/drawing/2014/main" id="{A51BE021-B51A-CE49-94D5-291C19ECF096}"/>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0" name="Freeform 556">
                <a:extLst>
                  <a:ext uri="{FF2B5EF4-FFF2-40B4-BE49-F238E27FC236}">
                    <a16:creationId xmlns:a16="http://schemas.microsoft.com/office/drawing/2014/main" id="{832DFBB6-D843-3D46-890F-7E1B5A7CAA7B}"/>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1" name="Freeform 557">
                <a:extLst>
                  <a:ext uri="{FF2B5EF4-FFF2-40B4-BE49-F238E27FC236}">
                    <a16:creationId xmlns:a16="http://schemas.microsoft.com/office/drawing/2014/main" id="{282E7B3A-0595-4F42-BFFB-EF78D052247B}"/>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2" name="Freeform 558">
                <a:extLst>
                  <a:ext uri="{FF2B5EF4-FFF2-40B4-BE49-F238E27FC236}">
                    <a16:creationId xmlns:a16="http://schemas.microsoft.com/office/drawing/2014/main" id="{59DD89EE-48FE-6844-A367-DCB2F3EF9249}"/>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3" name="Freeform 559">
                <a:extLst>
                  <a:ext uri="{FF2B5EF4-FFF2-40B4-BE49-F238E27FC236}">
                    <a16:creationId xmlns:a16="http://schemas.microsoft.com/office/drawing/2014/main" id="{5264C71A-075B-E542-AC06-8BFA939CFAE1}"/>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4" name="Freeform 560">
                <a:extLst>
                  <a:ext uri="{FF2B5EF4-FFF2-40B4-BE49-F238E27FC236}">
                    <a16:creationId xmlns:a16="http://schemas.microsoft.com/office/drawing/2014/main" id="{A08614F1-6F36-F047-B423-DE9BEC0AA50B}"/>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5" name="Freeform 561">
                <a:extLst>
                  <a:ext uri="{FF2B5EF4-FFF2-40B4-BE49-F238E27FC236}">
                    <a16:creationId xmlns:a16="http://schemas.microsoft.com/office/drawing/2014/main" id="{933E42C9-4597-4A4A-AC02-4C3F659C22A7}"/>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6" name="Freeform 562">
                <a:extLst>
                  <a:ext uri="{FF2B5EF4-FFF2-40B4-BE49-F238E27FC236}">
                    <a16:creationId xmlns:a16="http://schemas.microsoft.com/office/drawing/2014/main" id="{685A6F32-67BD-9549-9F6B-C128EBCEFC04}"/>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7" name="Freeform 563">
                <a:extLst>
                  <a:ext uri="{FF2B5EF4-FFF2-40B4-BE49-F238E27FC236}">
                    <a16:creationId xmlns:a16="http://schemas.microsoft.com/office/drawing/2014/main" id="{C93AF010-A7E8-C94F-8DD6-C5F64BDBCC69}"/>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8" name="Freeform 564">
                <a:extLst>
                  <a:ext uri="{FF2B5EF4-FFF2-40B4-BE49-F238E27FC236}">
                    <a16:creationId xmlns:a16="http://schemas.microsoft.com/office/drawing/2014/main" id="{EFFCD170-EEAC-2B4A-8436-C27ED38D155D}"/>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89" name="Freeform 565">
                <a:extLst>
                  <a:ext uri="{FF2B5EF4-FFF2-40B4-BE49-F238E27FC236}">
                    <a16:creationId xmlns:a16="http://schemas.microsoft.com/office/drawing/2014/main" id="{8878D84E-8132-574E-8398-2A42E11834B3}"/>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0" name="Freeform 566">
                <a:extLst>
                  <a:ext uri="{FF2B5EF4-FFF2-40B4-BE49-F238E27FC236}">
                    <a16:creationId xmlns:a16="http://schemas.microsoft.com/office/drawing/2014/main" id="{273F090E-D482-1245-BC3E-EF22993DE29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1" name="Freeform 567">
                <a:extLst>
                  <a:ext uri="{FF2B5EF4-FFF2-40B4-BE49-F238E27FC236}">
                    <a16:creationId xmlns:a16="http://schemas.microsoft.com/office/drawing/2014/main" id="{49F86A92-567B-234A-B63E-4623FE89ED7A}"/>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2" name="Freeform 568">
                <a:extLst>
                  <a:ext uri="{FF2B5EF4-FFF2-40B4-BE49-F238E27FC236}">
                    <a16:creationId xmlns:a16="http://schemas.microsoft.com/office/drawing/2014/main" id="{095A195A-2025-9940-A6F7-3458635F902C}"/>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3" name="Freeform 569">
                <a:extLst>
                  <a:ext uri="{FF2B5EF4-FFF2-40B4-BE49-F238E27FC236}">
                    <a16:creationId xmlns:a16="http://schemas.microsoft.com/office/drawing/2014/main" id="{9640749A-D282-8D41-8D06-271D5F7B855D}"/>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4" name="Freeform 570">
                <a:extLst>
                  <a:ext uri="{FF2B5EF4-FFF2-40B4-BE49-F238E27FC236}">
                    <a16:creationId xmlns:a16="http://schemas.microsoft.com/office/drawing/2014/main" id="{0F138684-285A-484F-BCD0-F8CA34FB4CC9}"/>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5" name="Freeform 571">
                <a:extLst>
                  <a:ext uri="{FF2B5EF4-FFF2-40B4-BE49-F238E27FC236}">
                    <a16:creationId xmlns:a16="http://schemas.microsoft.com/office/drawing/2014/main" id="{CB9B77A3-0453-2746-B876-719F494B3879}"/>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6" name="Freeform 572">
                <a:extLst>
                  <a:ext uri="{FF2B5EF4-FFF2-40B4-BE49-F238E27FC236}">
                    <a16:creationId xmlns:a16="http://schemas.microsoft.com/office/drawing/2014/main" id="{4CAB5A38-07CC-BD4E-B8FC-27963050A724}"/>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7" name="Freeform 573">
                <a:extLst>
                  <a:ext uri="{FF2B5EF4-FFF2-40B4-BE49-F238E27FC236}">
                    <a16:creationId xmlns:a16="http://schemas.microsoft.com/office/drawing/2014/main" id="{7896AB7F-9CC8-6149-AD1C-23AAFA0DACF4}"/>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8" name="Freeform 574">
                <a:extLst>
                  <a:ext uri="{FF2B5EF4-FFF2-40B4-BE49-F238E27FC236}">
                    <a16:creationId xmlns:a16="http://schemas.microsoft.com/office/drawing/2014/main" id="{491A9C5E-AA8E-3C45-9A2F-9644977FDEC6}"/>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299" name="Freeform 575">
                <a:extLst>
                  <a:ext uri="{FF2B5EF4-FFF2-40B4-BE49-F238E27FC236}">
                    <a16:creationId xmlns:a16="http://schemas.microsoft.com/office/drawing/2014/main" id="{D55E8DD4-446F-FD45-8AE9-329D8DC6242E}"/>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0" name="Freeform 576">
                <a:extLst>
                  <a:ext uri="{FF2B5EF4-FFF2-40B4-BE49-F238E27FC236}">
                    <a16:creationId xmlns:a16="http://schemas.microsoft.com/office/drawing/2014/main" id="{B245066D-BCAC-1D4D-A81F-129F6F20CC24}"/>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1" name="Freeform 577">
                <a:extLst>
                  <a:ext uri="{FF2B5EF4-FFF2-40B4-BE49-F238E27FC236}">
                    <a16:creationId xmlns:a16="http://schemas.microsoft.com/office/drawing/2014/main" id="{9889C509-73EC-4A41-845B-97263137E050}"/>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2" name="Freeform 578">
                <a:extLst>
                  <a:ext uri="{FF2B5EF4-FFF2-40B4-BE49-F238E27FC236}">
                    <a16:creationId xmlns:a16="http://schemas.microsoft.com/office/drawing/2014/main" id="{D270908E-288B-2D4D-AD0E-49092AF82A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3" name="Freeform 579">
                <a:extLst>
                  <a:ext uri="{FF2B5EF4-FFF2-40B4-BE49-F238E27FC236}">
                    <a16:creationId xmlns:a16="http://schemas.microsoft.com/office/drawing/2014/main" id="{9A454C6C-48F8-CF4D-AEE6-D33D33BD0FCC}"/>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4" name="Freeform 580">
                <a:extLst>
                  <a:ext uri="{FF2B5EF4-FFF2-40B4-BE49-F238E27FC236}">
                    <a16:creationId xmlns:a16="http://schemas.microsoft.com/office/drawing/2014/main" id="{F59E2D32-762F-D14F-8161-967DBE0412A8}"/>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5" name="Freeform 581">
                <a:extLst>
                  <a:ext uri="{FF2B5EF4-FFF2-40B4-BE49-F238E27FC236}">
                    <a16:creationId xmlns:a16="http://schemas.microsoft.com/office/drawing/2014/main" id="{B147C00B-A235-B443-86F3-9E559A15222B}"/>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6" name="Freeform 582">
                <a:extLst>
                  <a:ext uri="{FF2B5EF4-FFF2-40B4-BE49-F238E27FC236}">
                    <a16:creationId xmlns:a16="http://schemas.microsoft.com/office/drawing/2014/main" id="{AC9F2F1E-6DF9-DB44-8B59-5D5E1E6306C5}"/>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7" name="Freeform 583">
                <a:extLst>
                  <a:ext uri="{FF2B5EF4-FFF2-40B4-BE49-F238E27FC236}">
                    <a16:creationId xmlns:a16="http://schemas.microsoft.com/office/drawing/2014/main" id="{9C6E1E6F-B79E-304C-A71E-5F4B7021F971}"/>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8" name="Freeform 584">
                <a:extLst>
                  <a:ext uri="{FF2B5EF4-FFF2-40B4-BE49-F238E27FC236}">
                    <a16:creationId xmlns:a16="http://schemas.microsoft.com/office/drawing/2014/main" id="{A6A64AFF-5675-A344-8B31-DF337ECE331D}"/>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09" name="Freeform 585">
                <a:extLst>
                  <a:ext uri="{FF2B5EF4-FFF2-40B4-BE49-F238E27FC236}">
                    <a16:creationId xmlns:a16="http://schemas.microsoft.com/office/drawing/2014/main" id="{18D8080B-8DFC-284F-97DF-1F074050EBC4}"/>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0" name="Freeform 586">
                <a:extLst>
                  <a:ext uri="{FF2B5EF4-FFF2-40B4-BE49-F238E27FC236}">
                    <a16:creationId xmlns:a16="http://schemas.microsoft.com/office/drawing/2014/main" id="{F7B5393D-518E-3040-B9AB-3D115F02321A}"/>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1" name="Freeform 587">
                <a:extLst>
                  <a:ext uri="{FF2B5EF4-FFF2-40B4-BE49-F238E27FC236}">
                    <a16:creationId xmlns:a16="http://schemas.microsoft.com/office/drawing/2014/main" id="{51D3A40C-CC34-4A40-86B7-62488BDD9697}"/>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2" name="Freeform 588">
                <a:extLst>
                  <a:ext uri="{FF2B5EF4-FFF2-40B4-BE49-F238E27FC236}">
                    <a16:creationId xmlns:a16="http://schemas.microsoft.com/office/drawing/2014/main" id="{6C25FA5F-2DE2-6E48-897A-6C06EFC512D8}"/>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3" name="Freeform 589">
                <a:extLst>
                  <a:ext uri="{FF2B5EF4-FFF2-40B4-BE49-F238E27FC236}">
                    <a16:creationId xmlns:a16="http://schemas.microsoft.com/office/drawing/2014/main" id="{DFC2653F-460A-0A4F-924F-041B84600947}"/>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4" name="Freeform 590">
                <a:extLst>
                  <a:ext uri="{FF2B5EF4-FFF2-40B4-BE49-F238E27FC236}">
                    <a16:creationId xmlns:a16="http://schemas.microsoft.com/office/drawing/2014/main" id="{C8E96277-91FB-B14C-BBAC-23C1F325A3BD}"/>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5" name="Freeform 591">
                <a:extLst>
                  <a:ext uri="{FF2B5EF4-FFF2-40B4-BE49-F238E27FC236}">
                    <a16:creationId xmlns:a16="http://schemas.microsoft.com/office/drawing/2014/main" id="{A19868B3-8717-A044-B3E1-32BF7D7F0AB2}"/>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6" name="Freeform 592">
                <a:extLst>
                  <a:ext uri="{FF2B5EF4-FFF2-40B4-BE49-F238E27FC236}">
                    <a16:creationId xmlns:a16="http://schemas.microsoft.com/office/drawing/2014/main" id="{8171CEBB-5DB5-9440-B540-FC03023C7B10}"/>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7" name="Freeform 593">
                <a:extLst>
                  <a:ext uri="{FF2B5EF4-FFF2-40B4-BE49-F238E27FC236}">
                    <a16:creationId xmlns:a16="http://schemas.microsoft.com/office/drawing/2014/main" id="{8F6FD7BA-6AAF-1E4E-AD82-6C63A2740135}"/>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8" name="Freeform 594">
                <a:extLst>
                  <a:ext uri="{FF2B5EF4-FFF2-40B4-BE49-F238E27FC236}">
                    <a16:creationId xmlns:a16="http://schemas.microsoft.com/office/drawing/2014/main" id="{FFD904A4-BFFF-9648-A634-3367BCA81246}"/>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19" name="Freeform 595">
                <a:extLst>
                  <a:ext uri="{FF2B5EF4-FFF2-40B4-BE49-F238E27FC236}">
                    <a16:creationId xmlns:a16="http://schemas.microsoft.com/office/drawing/2014/main" id="{616CC8CA-EA41-A34D-9EED-70CC43857E44}"/>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0" name="Freeform 596">
                <a:extLst>
                  <a:ext uri="{FF2B5EF4-FFF2-40B4-BE49-F238E27FC236}">
                    <a16:creationId xmlns:a16="http://schemas.microsoft.com/office/drawing/2014/main" id="{262B5446-D2E2-5F47-A90F-356CEC8F28C0}"/>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1" name="Freeform 597">
                <a:extLst>
                  <a:ext uri="{FF2B5EF4-FFF2-40B4-BE49-F238E27FC236}">
                    <a16:creationId xmlns:a16="http://schemas.microsoft.com/office/drawing/2014/main" id="{1E2250C1-5312-BF42-A210-D52FBB728F10}"/>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2" name="Freeform 598">
                <a:extLst>
                  <a:ext uri="{FF2B5EF4-FFF2-40B4-BE49-F238E27FC236}">
                    <a16:creationId xmlns:a16="http://schemas.microsoft.com/office/drawing/2014/main" id="{1CDE95ED-E3F5-594D-8835-D228AFA16B81}"/>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3" name="Freeform 599">
                <a:extLst>
                  <a:ext uri="{FF2B5EF4-FFF2-40B4-BE49-F238E27FC236}">
                    <a16:creationId xmlns:a16="http://schemas.microsoft.com/office/drawing/2014/main" id="{594CE1AD-150E-3340-A9A9-C72B16300377}"/>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4" name="Freeform 600">
                <a:extLst>
                  <a:ext uri="{FF2B5EF4-FFF2-40B4-BE49-F238E27FC236}">
                    <a16:creationId xmlns:a16="http://schemas.microsoft.com/office/drawing/2014/main" id="{E5353346-68C6-C44D-8A87-71D96CBA0BD2}"/>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5" name="Freeform 601">
                <a:extLst>
                  <a:ext uri="{FF2B5EF4-FFF2-40B4-BE49-F238E27FC236}">
                    <a16:creationId xmlns:a16="http://schemas.microsoft.com/office/drawing/2014/main" id="{07B57458-F2F8-F840-AEA1-F72267FC5010}"/>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6" name="Freeform 602">
                <a:extLst>
                  <a:ext uri="{FF2B5EF4-FFF2-40B4-BE49-F238E27FC236}">
                    <a16:creationId xmlns:a16="http://schemas.microsoft.com/office/drawing/2014/main" id="{92C73698-B40B-444B-8D30-5F4F5E457ECE}"/>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7" name="Freeform 604">
                <a:extLst>
                  <a:ext uri="{FF2B5EF4-FFF2-40B4-BE49-F238E27FC236}">
                    <a16:creationId xmlns:a16="http://schemas.microsoft.com/office/drawing/2014/main" id="{857C1313-94AE-1643-A46D-264787C2F9CB}"/>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8" name="Freeform 605">
                <a:extLst>
                  <a:ext uri="{FF2B5EF4-FFF2-40B4-BE49-F238E27FC236}">
                    <a16:creationId xmlns:a16="http://schemas.microsoft.com/office/drawing/2014/main" id="{9D157FE7-AD70-D245-BBAB-D44482F5CC4C}"/>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29" name="Freeform 606">
                <a:extLst>
                  <a:ext uri="{FF2B5EF4-FFF2-40B4-BE49-F238E27FC236}">
                    <a16:creationId xmlns:a16="http://schemas.microsoft.com/office/drawing/2014/main" id="{D69151CA-0CDB-A440-935E-C65652B4833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0" name="Freeform 607">
                <a:extLst>
                  <a:ext uri="{FF2B5EF4-FFF2-40B4-BE49-F238E27FC236}">
                    <a16:creationId xmlns:a16="http://schemas.microsoft.com/office/drawing/2014/main" id="{5B77CAB5-8B79-A44B-A7DC-1FB23EBABF05}"/>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1" name="Freeform 608">
                <a:extLst>
                  <a:ext uri="{FF2B5EF4-FFF2-40B4-BE49-F238E27FC236}">
                    <a16:creationId xmlns:a16="http://schemas.microsoft.com/office/drawing/2014/main" id="{4F9BF6EB-094B-7049-AF0E-F01E081671D8}"/>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2" name="Freeform 609">
                <a:extLst>
                  <a:ext uri="{FF2B5EF4-FFF2-40B4-BE49-F238E27FC236}">
                    <a16:creationId xmlns:a16="http://schemas.microsoft.com/office/drawing/2014/main" id="{726F5D26-F3BD-0B47-AC1B-0CC9482A1918}"/>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3" name="Freeform 610">
                <a:extLst>
                  <a:ext uri="{FF2B5EF4-FFF2-40B4-BE49-F238E27FC236}">
                    <a16:creationId xmlns:a16="http://schemas.microsoft.com/office/drawing/2014/main" id="{7DCA656D-7181-B34D-8B49-9DAA88B9184E}"/>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4" name="Freeform 611">
                <a:extLst>
                  <a:ext uri="{FF2B5EF4-FFF2-40B4-BE49-F238E27FC236}">
                    <a16:creationId xmlns:a16="http://schemas.microsoft.com/office/drawing/2014/main" id="{7A774192-1556-CF4C-B43D-C821F260EF1B}"/>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5" name="Freeform 612">
                <a:extLst>
                  <a:ext uri="{FF2B5EF4-FFF2-40B4-BE49-F238E27FC236}">
                    <a16:creationId xmlns:a16="http://schemas.microsoft.com/office/drawing/2014/main" id="{F6BEAFAA-575E-E846-AFFC-EA7E3BEF7F21}"/>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6" name="Rectangle 613">
                <a:extLst>
                  <a:ext uri="{FF2B5EF4-FFF2-40B4-BE49-F238E27FC236}">
                    <a16:creationId xmlns:a16="http://schemas.microsoft.com/office/drawing/2014/main" id="{570F7D0E-B615-0D4B-B7D8-3FD2C7643E6F}"/>
                  </a:ext>
                </a:extLst>
              </p:cNvPr>
              <p:cNvSpPr>
                <a:spLocks noChangeArrowheads="1"/>
              </p:cNvSpPr>
              <p:nvPr/>
            </p:nvSpPr>
            <p:spPr bwMode="auto">
              <a:xfrm>
                <a:off x="12451788" y="5197675"/>
                <a:ext cx="3187" cy="3188"/>
              </a:xfrm>
              <a:prstGeom prst="rect">
                <a:avLst/>
              </a:pr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7" name="Freeform 614">
                <a:extLst>
                  <a:ext uri="{FF2B5EF4-FFF2-40B4-BE49-F238E27FC236}">
                    <a16:creationId xmlns:a16="http://schemas.microsoft.com/office/drawing/2014/main" id="{06730383-E34B-9B42-A028-DEFBCDAC14FD}"/>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8" name="Freeform 615">
                <a:extLst>
                  <a:ext uri="{FF2B5EF4-FFF2-40B4-BE49-F238E27FC236}">
                    <a16:creationId xmlns:a16="http://schemas.microsoft.com/office/drawing/2014/main" id="{1A7048B1-C3F7-9F4B-8D88-2EB0BAFC2D03}"/>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39" name="Freeform 616">
                <a:extLst>
                  <a:ext uri="{FF2B5EF4-FFF2-40B4-BE49-F238E27FC236}">
                    <a16:creationId xmlns:a16="http://schemas.microsoft.com/office/drawing/2014/main" id="{F80E96BC-6452-404C-AECA-8A128BFEEE1E}"/>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0" name="Freeform 617">
                <a:extLst>
                  <a:ext uri="{FF2B5EF4-FFF2-40B4-BE49-F238E27FC236}">
                    <a16:creationId xmlns:a16="http://schemas.microsoft.com/office/drawing/2014/main" id="{A7682532-4B84-8146-BFAA-58C7EC92811E}"/>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1" name="Freeform 618">
                <a:extLst>
                  <a:ext uri="{FF2B5EF4-FFF2-40B4-BE49-F238E27FC236}">
                    <a16:creationId xmlns:a16="http://schemas.microsoft.com/office/drawing/2014/main" id="{B1C7959D-C58D-DA43-8FA0-A3B80C0E6017}"/>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2" name="Freeform 619">
                <a:extLst>
                  <a:ext uri="{FF2B5EF4-FFF2-40B4-BE49-F238E27FC236}">
                    <a16:creationId xmlns:a16="http://schemas.microsoft.com/office/drawing/2014/main" id="{B0983EEE-73CF-6C45-8EE8-B1A5668C2DFF}"/>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3" name="Freeform 620">
                <a:extLst>
                  <a:ext uri="{FF2B5EF4-FFF2-40B4-BE49-F238E27FC236}">
                    <a16:creationId xmlns:a16="http://schemas.microsoft.com/office/drawing/2014/main" id="{104D832D-B8E6-8940-AC93-17465029159E}"/>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4" name="Freeform 621">
                <a:extLst>
                  <a:ext uri="{FF2B5EF4-FFF2-40B4-BE49-F238E27FC236}">
                    <a16:creationId xmlns:a16="http://schemas.microsoft.com/office/drawing/2014/main" id="{8266007A-31AC-354C-819C-CC1DB38BB8B6}"/>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5" name="Freeform 622">
                <a:extLst>
                  <a:ext uri="{FF2B5EF4-FFF2-40B4-BE49-F238E27FC236}">
                    <a16:creationId xmlns:a16="http://schemas.microsoft.com/office/drawing/2014/main" id="{4A080474-4C8B-494A-8431-0F076134C984}"/>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6" name="Freeform 623">
                <a:extLst>
                  <a:ext uri="{FF2B5EF4-FFF2-40B4-BE49-F238E27FC236}">
                    <a16:creationId xmlns:a16="http://schemas.microsoft.com/office/drawing/2014/main" id="{B06BD972-E815-3F41-979F-E01BF5B51EFA}"/>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7" name="Freeform 624">
                <a:extLst>
                  <a:ext uri="{FF2B5EF4-FFF2-40B4-BE49-F238E27FC236}">
                    <a16:creationId xmlns:a16="http://schemas.microsoft.com/office/drawing/2014/main" id="{02C29C02-B28B-AD4A-AF80-29147C506D80}"/>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8" name="Freeform 625">
                <a:extLst>
                  <a:ext uri="{FF2B5EF4-FFF2-40B4-BE49-F238E27FC236}">
                    <a16:creationId xmlns:a16="http://schemas.microsoft.com/office/drawing/2014/main" id="{3AE1D0AF-4D3D-2E44-BA0A-0589C717AB3F}"/>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49" name="Freeform 626">
                <a:extLst>
                  <a:ext uri="{FF2B5EF4-FFF2-40B4-BE49-F238E27FC236}">
                    <a16:creationId xmlns:a16="http://schemas.microsoft.com/office/drawing/2014/main" id="{589BC082-EB6B-BC41-A201-D4F495353F73}"/>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0" name="Freeform 627">
                <a:extLst>
                  <a:ext uri="{FF2B5EF4-FFF2-40B4-BE49-F238E27FC236}">
                    <a16:creationId xmlns:a16="http://schemas.microsoft.com/office/drawing/2014/main" id="{72286ADC-B226-9A45-A495-7379DD444ED6}"/>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1" name="Freeform 628">
                <a:extLst>
                  <a:ext uri="{FF2B5EF4-FFF2-40B4-BE49-F238E27FC236}">
                    <a16:creationId xmlns:a16="http://schemas.microsoft.com/office/drawing/2014/main" id="{8BA2B30C-43F7-9C47-9206-81946C5624CE}"/>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2" name="Freeform 629">
                <a:extLst>
                  <a:ext uri="{FF2B5EF4-FFF2-40B4-BE49-F238E27FC236}">
                    <a16:creationId xmlns:a16="http://schemas.microsoft.com/office/drawing/2014/main" id="{20B9FC18-3504-7C48-B83B-58D6B5407952}"/>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3" name="Freeform 630">
                <a:extLst>
                  <a:ext uri="{FF2B5EF4-FFF2-40B4-BE49-F238E27FC236}">
                    <a16:creationId xmlns:a16="http://schemas.microsoft.com/office/drawing/2014/main" id="{16830D52-6BDF-464F-95B2-2A39217244B5}"/>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4" name="Freeform 631">
                <a:extLst>
                  <a:ext uri="{FF2B5EF4-FFF2-40B4-BE49-F238E27FC236}">
                    <a16:creationId xmlns:a16="http://schemas.microsoft.com/office/drawing/2014/main" id="{A3BFC7CE-232A-D048-8061-CBE330D4B61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5" name="Freeform 632">
                <a:extLst>
                  <a:ext uri="{FF2B5EF4-FFF2-40B4-BE49-F238E27FC236}">
                    <a16:creationId xmlns:a16="http://schemas.microsoft.com/office/drawing/2014/main" id="{109C20B9-1CA0-CE42-9D58-1E6DCDAF3260}"/>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6" name="Freeform 633">
                <a:extLst>
                  <a:ext uri="{FF2B5EF4-FFF2-40B4-BE49-F238E27FC236}">
                    <a16:creationId xmlns:a16="http://schemas.microsoft.com/office/drawing/2014/main" id="{634DB45E-F785-994B-BCA0-F3C9C67AFA13}"/>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7" name="Freeform 634">
                <a:extLst>
                  <a:ext uri="{FF2B5EF4-FFF2-40B4-BE49-F238E27FC236}">
                    <a16:creationId xmlns:a16="http://schemas.microsoft.com/office/drawing/2014/main" id="{247CB344-FD2D-4A47-BF89-4AFC7BE61C9D}"/>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8" name="Freeform 635">
                <a:extLst>
                  <a:ext uri="{FF2B5EF4-FFF2-40B4-BE49-F238E27FC236}">
                    <a16:creationId xmlns:a16="http://schemas.microsoft.com/office/drawing/2014/main" id="{26714342-B772-8F44-86E4-FDBDEC2BF4E6}"/>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59" name="Freeform 636">
                <a:extLst>
                  <a:ext uri="{FF2B5EF4-FFF2-40B4-BE49-F238E27FC236}">
                    <a16:creationId xmlns:a16="http://schemas.microsoft.com/office/drawing/2014/main" id="{C5C5936B-CB72-4741-9332-47DB15B5F84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0" name="Freeform 637">
                <a:extLst>
                  <a:ext uri="{FF2B5EF4-FFF2-40B4-BE49-F238E27FC236}">
                    <a16:creationId xmlns:a16="http://schemas.microsoft.com/office/drawing/2014/main" id="{ABE5F613-6630-8444-858B-24C58B18E519}"/>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1" name="Freeform 638">
                <a:extLst>
                  <a:ext uri="{FF2B5EF4-FFF2-40B4-BE49-F238E27FC236}">
                    <a16:creationId xmlns:a16="http://schemas.microsoft.com/office/drawing/2014/main" id="{0CCC14C2-2A77-C34E-9887-53F392590D78}"/>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2" name="Freeform 639">
                <a:extLst>
                  <a:ext uri="{FF2B5EF4-FFF2-40B4-BE49-F238E27FC236}">
                    <a16:creationId xmlns:a16="http://schemas.microsoft.com/office/drawing/2014/main" id="{58DC6A8C-91BD-FF4E-9FFC-3423E69432E4}"/>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3" name="Freeform 640">
                <a:extLst>
                  <a:ext uri="{FF2B5EF4-FFF2-40B4-BE49-F238E27FC236}">
                    <a16:creationId xmlns:a16="http://schemas.microsoft.com/office/drawing/2014/main" id="{A0A7B52F-5EBC-774C-BC55-A5D4E149106A}"/>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4" name="Freeform 641">
                <a:extLst>
                  <a:ext uri="{FF2B5EF4-FFF2-40B4-BE49-F238E27FC236}">
                    <a16:creationId xmlns:a16="http://schemas.microsoft.com/office/drawing/2014/main" id="{477A81DB-5DF7-C940-B8CA-FD649898250E}"/>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5" name="Freeform 642">
                <a:extLst>
                  <a:ext uri="{FF2B5EF4-FFF2-40B4-BE49-F238E27FC236}">
                    <a16:creationId xmlns:a16="http://schemas.microsoft.com/office/drawing/2014/main" id="{9A76BB97-3535-DE45-A77B-4D26804E7744}"/>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6" name="Freeform 643">
                <a:extLst>
                  <a:ext uri="{FF2B5EF4-FFF2-40B4-BE49-F238E27FC236}">
                    <a16:creationId xmlns:a16="http://schemas.microsoft.com/office/drawing/2014/main" id="{659B0C1E-5DEA-644E-9411-3E1BFDD27B53}"/>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7" name="Freeform 644">
                <a:extLst>
                  <a:ext uri="{FF2B5EF4-FFF2-40B4-BE49-F238E27FC236}">
                    <a16:creationId xmlns:a16="http://schemas.microsoft.com/office/drawing/2014/main" id="{94B87D21-B828-784D-B2EF-517344F18FEF}"/>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8" name="Freeform 645">
                <a:extLst>
                  <a:ext uri="{FF2B5EF4-FFF2-40B4-BE49-F238E27FC236}">
                    <a16:creationId xmlns:a16="http://schemas.microsoft.com/office/drawing/2014/main" id="{40B9011B-C256-6547-AE72-448FC2371E44}"/>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69" name="Freeform 646">
                <a:extLst>
                  <a:ext uri="{FF2B5EF4-FFF2-40B4-BE49-F238E27FC236}">
                    <a16:creationId xmlns:a16="http://schemas.microsoft.com/office/drawing/2014/main" id="{EE33EBCE-DA9D-244D-BBF8-DEE084096B31}"/>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0" name="Freeform 647">
                <a:extLst>
                  <a:ext uri="{FF2B5EF4-FFF2-40B4-BE49-F238E27FC236}">
                    <a16:creationId xmlns:a16="http://schemas.microsoft.com/office/drawing/2014/main" id="{33AAE5F4-BDE2-2747-BB59-3B1F059C085D}"/>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1" name="Freeform 648">
                <a:extLst>
                  <a:ext uri="{FF2B5EF4-FFF2-40B4-BE49-F238E27FC236}">
                    <a16:creationId xmlns:a16="http://schemas.microsoft.com/office/drawing/2014/main" id="{4B6B7A8D-F7D2-3C40-8940-55B7E338F327}"/>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2" name="Freeform 649">
                <a:extLst>
                  <a:ext uri="{FF2B5EF4-FFF2-40B4-BE49-F238E27FC236}">
                    <a16:creationId xmlns:a16="http://schemas.microsoft.com/office/drawing/2014/main" id="{E8953421-7C95-5B42-B934-3F6E44703BF1}"/>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3" name="Freeform 650">
                <a:extLst>
                  <a:ext uri="{FF2B5EF4-FFF2-40B4-BE49-F238E27FC236}">
                    <a16:creationId xmlns:a16="http://schemas.microsoft.com/office/drawing/2014/main" id="{3CA123D4-77F1-B040-AED4-6092CCB1A768}"/>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4" name="Freeform 651">
                <a:extLst>
                  <a:ext uri="{FF2B5EF4-FFF2-40B4-BE49-F238E27FC236}">
                    <a16:creationId xmlns:a16="http://schemas.microsoft.com/office/drawing/2014/main" id="{F466A740-561A-2D4B-AC2A-10E1FB2E98D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5" name="Freeform 652">
                <a:extLst>
                  <a:ext uri="{FF2B5EF4-FFF2-40B4-BE49-F238E27FC236}">
                    <a16:creationId xmlns:a16="http://schemas.microsoft.com/office/drawing/2014/main" id="{8869EEB9-5F60-0C43-BA90-42513D32818D}"/>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6" name="Freeform 653">
                <a:extLst>
                  <a:ext uri="{FF2B5EF4-FFF2-40B4-BE49-F238E27FC236}">
                    <a16:creationId xmlns:a16="http://schemas.microsoft.com/office/drawing/2014/main" id="{F863CDC4-A5B3-0046-8A52-1EE65A625385}"/>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7" name="Freeform 654">
                <a:extLst>
                  <a:ext uri="{FF2B5EF4-FFF2-40B4-BE49-F238E27FC236}">
                    <a16:creationId xmlns:a16="http://schemas.microsoft.com/office/drawing/2014/main" id="{D7A13EC7-2F2C-DC47-BCD1-2FB17EC62F32}"/>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8" name="Freeform 655">
                <a:extLst>
                  <a:ext uri="{FF2B5EF4-FFF2-40B4-BE49-F238E27FC236}">
                    <a16:creationId xmlns:a16="http://schemas.microsoft.com/office/drawing/2014/main" id="{D460E51F-9F6C-8141-9673-58C2BA56BE58}"/>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79" name="Freeform 656">
                <a:extLst>
                  <a:ext uri="{FF2B5EF4-FFF2-40B4-BE49-F238E27FC236}">
                    <a16:creationId xmlns:a16="http://schemas.microsoft.com/office/drawing/2014/main" id="{0B407E0E-0352-DC44-83A1-C2161310280B}"/>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0" name="Freeform 657">
                <a:extLst>
                  <a:ext uri="{FF2B5EF4-FFF2-40B4-BE49-F238E27FC236}">
                    <a16:creationId xmlns:a16="http://schemas.microsoft.com/office/drawing/2014/main" id="{CAC6AAA3-B475-1A49-996E-F3A8E824C1E6}"/>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1" name="Freeform 658">
                <a:extLst>
                  <a:ext uri="{FF2B5EF4-FFF2-40B4-BE49-F238E27FC236}">
                    <a16:creationId xmlns:a16="http://schemas.microsoft.com/office/drawing/2014/main" id="{C1A0FD9B-7FAF-A24D-AC0C-EF7C4AB2F9E3}"/>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2" name="Freeform 659">
                <a:extLst>
                  <a:ext uri="{FF2B5EF4-FFF2-40B4-BE49-F238E27FC236}">
                    <a16:creationId xmlns:a16="http://schemas.microsoft.com/office/drawing/2014/main" id="{0F9E1D37-A6DE-4A47-A495-D6AE60733F97}"/>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3" name="Freeform 660">
                <a:extLst>
                  <a:ext uri="{FF2B5EF4-FFF2-40B4-BE49-F238E27FC236}">
                    <a16:creationId xmlns:a16="http://schemas.microsoft.com/office/drawing/2014/main" id="{87588DEA-96C8-1A45-8DAE-1586E3CD216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4" name="Freeform 661">
                <a:extLst>
                  <a:ext uri="{FF2B5EF4-FFF2-40B4-BE49-F238E27FC236}">
                    <a16:creationId xmlns:a16="http://schemas.microsoft.com/office/drawing/2014/main" id="{3DCDE57D-C3B4-2640-AB20-67D8B046140C}"/>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5" name="Freeform 662">
                <a:extLst>
                  <a:ext uri="{FF2B5EF4-FFF2-40B4-BE49-F238E27FC236}">
                    <a16:creationId xmlns:a16="http://schemas.microsoft.com/office/drawing/2014/main" id="{ABA94F58-F82C-EF4C-B5F9-3199852A0A23}"/>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6" name="Freeform 663">
                <a:extLst>
                  <a:ext uri="{FF2B5EF4-FFF2-40B4-BE49-F238E27FC236}">
                    <a16:creationId xmlns:a16="http://schemas.microsoft.com/office/drawing/2014/main" id="{9BDC2168-BD8B-DE47-8BD3-E43B07A2FD6E}"/>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7" name="Freeform 664">
                <a:extLst>
                  <a:ext uri="{FF2B5EF4-FFF2-40B4-BE49-F238E27FC236}">
                    <a16:creationId xmlns:a16="http://schemas.microsoft.com/office/drawing/2014/main" id="{CD7843C2-8CFB-494E-9B0F-3C196B425B16}"/>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8" name="Freeform 665">
                <a:extLst>
                  <a:ext uri="{FF2B5EF4-FFF2-40B4-BE49-F238E27FC236}">
                    <a16:creationId xmlns:a16="http://schemas.microsoft.com/office/drawing/2014/main" id="{72404E71-C281-1146-A781-838290F72BEB}"/>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89" name="Freeform 666">
                <a:extLst>
                  <a:ext uri="{FF2B5EF4-FFF2-40B4-BE49-F238E27FC236}">
                    <a16:creationId xmlns:a16="http://schemas.microsoft.com/office/drawing/2014/main" id="{4606E1F7-ACA6-DE49-8413-86DB29C3B18D}"/>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0" name="Freeform 667">
                <a:extLst>
                  <a:ext uri="{FF2B5EF4-FFF2-40B4-BE49-F238E27FC236}">
                    <a16:creationId xmlns:a16="http://schemas.microsoft.com/office/drawing/2014/main" id="{EE197517-96DB-3241-83D6-B20ECA4B3177}"/>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1" name="Freeform 668">
                <a:extLst>
                  <a:ext uri="{FF2B5EF4-FFF2-40B4-BE49-F238E27FC236}">
                    <a16:creationId xmlns:a16="http://schemas.microsoft.com/office/drawing/2014/main" id="{82347D5C-BEF2-4844-AB1A-E7D1130FCD6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2" name="Freeform 669">
                <a:extLst>
                  <a:ext uri="{FF2B5EF4-FFF2-40B4-BE49-F238E27FC236}">
                    <a16:creationId xmlns:a16="http://schemas.microsoft.com/office/drawing/2014/main" id="{F78AEE0F-7A22-0F4A-8F7E-365924F841FF}"/>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3" name="Freeform 670">
                <a:extLst>
                  <a:ext uri="{FF2B5EF4-FFF2-40B4-BE49-F238E27FC236}">
                    <a16:creationId xmlns:a16="http://schemas.microsoft.com/office/drawing/2014/main" id="{58AA64DC-3837-F140-B1E8-52F25B288F85}"/>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4" name="Freeform 671">
                <a:extLst>
                  <a:ext uri="{FF2B5EF4-FFF2-40B4-BE49-F238E27FC236}">
                    <a16:creationId xmlns:a16="http://schemas.microsoft.com/office/drawing/2014/main" id="{EFB8DC94-1007-5949-9025-47C15A681F75}"/>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5" name="Freeform 672">
                <a:extLst>
                  <a:ext uri="{FF2B5EF4-FFF2-40B4-BE49-F238E27FC236}">
                    <a16:creationId xmlns:a16="http://schemas.microsoft.com/office/drawing/2014/main" id="{BAB3BC6D-4D7E-3948-8C3D-142D6D876300}"/>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6" name="Freeform 673">
                <a:extLst>
                  <a:ext uri="{FF2B5EF4-FFF2-40B4-BE49-F238E27FC236}">
                    <a16:creationId xmlns:a16="http://schemas.microsoft.com/office/drawing/2014/main" id="{03E1431E-5AE6-DA48-9C58-1C516F87C7D1}"/>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7" name="Freeform 674">
                <a:extLst>
                  <a:ext uri="{FF2B5EF4-FFF2-40B4-BE49-F238E27FC236}">
                    <a16:creationId xmlns:a16="http://schemas.microsoft.com/office/drawing/2014/main" id="{9B700C31-9960-D845-99D6-A58A7ED2E88E}"/>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8" name="Freeform 675">
                <a:extLst>
                  <a:ext uri="{FF2B5EF4-FFF2-40B4-BE49-F238E27FC236}">
                    <a16:creationId xmlns:a16="http://schemas.microsoft.com/office/drawing/2014/main" id="{576C4C3B-5419-4749-86B4-580473195F7A}"/>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399" name="Freeform 676">
                <a:extLst>
                  <a:ext uri="{FF2B5EF4-FFF2-40B4-BE49-F238E27FC236}">
                    <a16:creationId xmlns:a16="http://schemas.microsoft.com/office/drawing/2014/main" id="{5DEC2AAE-7DD4-214A-8DCD-67A33061A4A0}"/>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0" name="Freeform 677">
                <a:extLst>
                  <a:ext uri="{FF2B5EF4-FFF2-40B4-BE49-F238E27FC236}">
                    <a16:creationId xmlns:a16="http://schemas.microsoft.com/office/drawing/2014/main" id="{DDB592EB-6478-204A-AC68-B2C25E84741C}"/>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1" name="Freeform 678">
                <a:extLst>
                  <a:ext uri="{FF2B5EF4-FFF2-40B4-BE49-F238E27FC236}">
                    <a16:creationId xmlns:a16="http://schemas.microsoft.com/office/drawing/2014/main" id="{66414922-844B-824F-B08C-5F99DC4660A6}"/>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2" name="Freeform 679">
                <a:extLst>
                  <a:ext uri="{FF2B5EF4-FFF2-40B4-BE49-F238E27FC236}">
                    <a16:creationId xmlns:a16="http://schemas.microsoft.com/office/drawing/2014/main" id="{C7EC20A4-51CC-2B43-99B5-D491A45F59E8}"/>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3" name="Freeform 680">
                <a:extLst>
                  <a:ext uri="{FF2B5EF4-FFF2-40B4-BE49-F238E27FC236}">
                    <a16:creationId xmlns:a16="http://schemas.microsoft.com/office/drawing/2014/main" id="{BD19A76B-B353-0749-BCA0-660FCD55CDAA}"/>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4" name="Freeform 681">
                <a:extLst>
                  <a:ext uri="{FF2B5EF4-FFF2-40B4-BE49-F238E27FC236}">
                    <a16:creationId xmlns:a16="http://schemas.microsoft.com/office/drawing/2014/main" id="{8FBBE1AA-85CB-5241-92B9-77F8744E2DAC}"/>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5" name="Freeform 682">
                <a:extLst>
                  <a:ext uri="{FF2B5EF4-FFF2-40B4-BE49-F238E27FC236}">
                    <a16:creationId xmlns:a16="http://schemas.microsoft.com/office/drawing/2014/main" id="{47A6571D-5BAC-AD4B-8921-96849D56E82F}"/>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6" name="Freeform 683">
                <a:extLst>
                  <a:ext uri="{FF2B5EF4-FFF2-40B4-BE49-F238E27FC236}">
                    <a16:creationId xmlns:a16="http://schemas.microsoft.com/office/drawing/2014/main" id="{256673C4-8DAD-BB4E-989D-6D8A99681F29}"/>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7" name="Freeform 684">
                <a:extLst>
                  <a:ext uri="{FF2B5EF4-FFF2-40B4-BE49-F238E27FC236}">
                    <a16:creationId xmlns:a16="http://schemas.microsoft.com/office/drawing/2014/main" id="{9F203005-65D7-104E-8494-99AC08BEAC72}"/>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8" name="Freeform 685">
                <a:extLst>
                  <a:ext uri="{FF2B5EF4-FFF2-40B4-BE49-F238E27FC236}">
                    <a16:creationId xmlns:a16="http://schemas.microsoft.com/office/drawing/2014/main" id="{45B15E5C-4099-914B-9925-7AB6E22A40A3}"/>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09" name="Freeform 686">
                <a:extLst>
                  <a:ext uri="{FF2B5EF4-FFF2-40B4-BE49-F238E27FC236}">
                    <a16:creationId xmlns:a16="http://schemas.microsoft.com/office/drawing/2014/main" id="{6FDA4D92-C37C-694F-B6AF-A4202D68A1EE}"/>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0" name="Freeform 687">
                <a:extLst>
                  <a:ext uri="{FF2B5EF4-FFF2-40B4-BE49-F238E27FC236}">
                    <a16:creationId xmlns:a16="http://schemas.microsoft.com/office/drawing/2014/main" id="{23F76769-1AF1-0C4C-A472-9F7FB535A4BC}"/>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1" name="Freeform 688">
                <a:extLst>
                  <a:ext uri="{FF2B5EF4-FFF2-40B4-BE49-F238E27FC236}">
                    <a16:creationId xmlns:a16="http://schemas.microsoft.com/office/drawing/2014/main" id="{02476632-FB32-BC4D-8917-B7E85EB6A2C2}"/>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2" name="Freeform 689">
                <a:extLst>
                  <a:ext uri="{FF2B5EF4-FFF2-40B4-BE49-F238E27FC236}">
                    <a16:creationId xmlns:a16="http://schemas.microsoft.com/office/drawing/2014/main" id="{AB4E541C-187E-1E42-B47B-EEC06BE18DF3}"/>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3" name="Freeform 690">
                <a:extLst>
                  <a:ext uri="{FF2B5EF4-FFF2-40B4-BE49-F238E27FC236}">
                    <a16:creationId xmlns:a16="http://schemas.microsoft.com/office/drawing/2014/main" id="{A36909FF-48CB-8940-AFB0-F4CBC29E5758}"/>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4" name="Freeform 691">
                <a:extLst>
                  <a:ext uri="{FF2B5EF4-FFF2-40B4-BE49-F238E27FC236}">
                    <a16:creationId xmlns:a16="http://schemas.microsoft.com/office/drawing/2014/main" id="{2ACB6E01-86E0-9C49-B67F-1705D6B437EB}"/>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5" name="Freeform 692">
                <a:extLst>
                  <a:ext uri="{FF2B5EF4-FFF2-40B4-BE49-F238E27FC236}">
                    <a16:creationId xmlns:a16="http://schemas.microsoft.com/office/drawing/2014/main" id="{9A960093-E760-554D-B634-D4909AA57594}"/>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6" name="Freeform 693">
                <a:extLst>
                  <a:ext uri="{FF2B5EF4-FFF2-40B4-BE49-F238E27FC236}">
                    <a16:creationId xmlns:a16="http://schemas.microsoft.com/office/drawing/2014/main" id="{9C5CB81E-BDE8-5E48-A870-5FDAADFC58E9}"/>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7" name="Freeform 694">
                <a:extLst>
                  <a:ext uri="{FF2B5EF4-FFF2-40B4-BE49-F238E27FC236}">
                    <a16:creationId xmlns:a16="http://schemas.microsoft.com/office/drawing/2014/main" id="{205BF4A7-7902-2A41-A886-838D7B58DD0B}"/>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8" name="Freeform 695">
                <a:extLst>
                  <a:ext uri="{FF2B5EF4-FFF2-40B4-BE49-F238E27FC236}">
                    <a16:creationId xmlns:a16="http://schemas.microsoft.com/office/drawing/2014/main" id="{E0D38C17-41DB-904C-B77A-3233F0524C0F}"/>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19" name="Freeform 696">
                <a:extLst>
                  <a:ext uri="{FF2B5EF4-FFF2-40B4-BE49-F238E27FC236}">
                    <a16:creationId xmlns:a16="http://schemas.microsoft.com/office/drawing/2014/main" id="{0E57815C-C93F-DD4F-8CF1-B7BB642238D9}"/>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0" name="Freeform 697">
                <a:extLst>
                  <a:ext uri="{FF2B5EF4-FFF2-40B4-BE49-F238E27FC236}">
                    <a16:creationId xmlns:a16="http://schemas.microsoft.com/office/drawing/2014/main" id="{2973E6C0-D7F7-8541-B7AB-5E05AE2FE54C}"/>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1" name="Freeform 698">
                <a:extLst>
                  <a:ext uri="{FF2B5EF4-FFF2-40B4-BE49-F238E27FC236}">
                    <a16:creationId xmlns:a16="http://schemas.microsoft.com/office/drawing/2014/main" id="{9F498D11-9AE1-B543-869D-8146909E59F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2" name="Freeform 699">
                <a:extLst>
                  <a:ext uri="{FF2B5EF4-FFF2-40B4-BE49-F238E27FC236}">
                    <a16:creationId xmlns:a16="http://schemas.microsoft.com/office/drawing/2014/main" id="{4963D8B7-A03B-594A-84F0-8F86014D0E66}"/>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3" name="Freeform 700">
                <a:extLst>
                  <a:ext uri="{FF2B5EF4-FFF2-40B4-BE49-F238E27FC236}">
                    <a16:creationId xmlns:a16="http://schemas.microsoft.com/office/drawing/2014/main" id="{CC56AF95-51C7-BE44-841B-5FC950D4D2BC}"/>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4" name="Freeform 701">
                <a:extLst>
                  <a:ext uri="{FF2B5EF4-FFF2-40B4-BE49-F238E27FC236}">
                    <a16:creationId xmlns:a16="http://schemas.microsoft.com/office/drawing/2014/main" id="{8F7CA3F2-FE1F-7A4A-9409-46CDF898B92B}"/>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5" name="Freeform 702">
                <a:extLst>
                  <a:ext uri="{FF2B5EF4-FFF2-40B4-BE49-F238E27FC236}">
                    <a16:creationId xmlns:a16="http://schemas.microsoft.com/office/drawing/2014/main" id="{6328526C-DBFD-EB4E-8C6C-685549BCF59F}"/>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6" name="Freeform 703">
                <a:extLst>
                  <a:ext uri="{FF2B5EF4-FFF2-40B4-BE49-F238E27FC236}">
                    <a16:creationId xmlns:a16="http://schemas.microsoft.com/office/drawing/2014/main" id="{430A117E-D965-9F46-9D78-A89F24DDBE34}"/>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7" name="Freeform 704">
                <a:extLst>
                  <a:ext uri="{FF2B5EF4-FFF2-40B4-BE49-F238E27FC236}">
                    <a16:creationId xmlns:a16="http://schemas.microsoft.com/office/drawing/2014/main" id="{8A1AE52F-8280-EA4C-883A-226CCFBB4FC6}"/>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8" name="Freeform 705">
                <a:extLst>
                  <a:ext uri="{FF2B5EF4-FFF2-40B4-BE49-F238E27FC236}">
                    <a16:creationId xmlns:a16="http://schemas.microsoft.com/office/drawing/2014/main" id="{2D11DF85-2739-EB47-B95C-C4E5C062D592}"/>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29" name="Freeform 706">
                <a:extLst>
                  <a:ext uri="{FF2B5EF4-FFF2-40B4-BE49-F238E27FC236}">
                    <a16:creationId xmlns:a16="http://schemas.microsoft.com/office/drawing/2014/main" id="{3018BAB7-A11C-8C44-BA09-E5A33E4E8091}"/>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0" name="Freeform 707">
                <a:extLst>
                  <a:ext uri="{FF2B5EF4-FFF2-40B4-BE49-F238E27FC236}">
                    <a16:creationId xmlns:a16="http://schemas.microsoft.com/office/drawing/2014/main" id="{C263F025-1D0E-E840-9178-83A006D6821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1" name="Freeform 708">
                <a:extLst>
                  <a:ext uri="{FF2B5EF4-FFF2-40B4-BE49-F238E27FC236}">
                    <a16:creationId xmlns:a16="http://schemas.microsoft.com/office/drawing/2014/main" id="{EA1ADDDF-298A-1747-95CD-6E32C2F3D62A}"/>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2" name="Freeform 709">
                <a:extLst>
                  <a:ext uri="{FF2B5EF4-FFF2-40B4-BE49-F238E27FC236}">
                    <a16:creationId xmlns:a16="http://schemas.microsoft.com/office/drawing/2014/main" id="{DD9256FA-99A0-4243-ABF7-3D3A966E6B3F}"/>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3" name="Freeform 710">
                <a:extLst>
                  <a:ext uri="{FF2B5EF4-FFF2-40B4-BE49-F238E27FC236}">
                    <a16:creationId xmlns:a16="http://schemas.microsoft.com/office/drawing/2014/main" id="{40CBCB53-96AE-2843-9D73-E050B0E56925}"/>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4" name="Freeform 711">
                <a:extLst>
                  <a:ext uri="{FF2B5EF4-FFF2-40B4-BE49-F238E27FC236}">
                    <a16:creationId xmlns:a16="http://schemas.microsoft.com/office/drawing/2014/main" id="{E79C1A1E-A090-EB4F-A234-8CA9D05E01DF}"/>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5" name="Freeform 712">
                <a:extLst>
                  <a:ext uri="{FF2B5EF4-FFF2-40B4-BE49-F238E27FC236}">
                    <a16:creationId xmlns:a16="http://schemas.microsoft.com/office/drawing/2014/main" id="{DBAF0897-B957-3B4F-8707-B31049A89551}"/>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6" name="Freeform 713">
                <a:extLst>
                  <a:ext uri="{FF2B5EF4-FFF2-40B4-BE49-F238E27FC236}">
                    <a16:creationId xmlns:a16="http://schemas.microsoft.com/office/drawing/2014/main" id="{E30A6E7D-7AC8-144A-90AE-A6B28878DFA9}"/>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7" name="Freeform 714">
                <a:extLst>
                  <a:ext uri="{FF2B5EF4-FFF2-40B4-BE49-F238E27FC236}">
                    <a16:creationId xmlns:a16="http://schemas.microsoft.com/office/drawing/2014/main" id="{B21EFDBF-804F-AD46-B387-8A7F59A999D2}"/>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8" name="Freeform 715">
                <a:extLst>
                  <a:ext uri="{FF2B5EF4-FFF2-40B4-BE49-F238E27FC236}">
                    <a16:creationId xmlns:a16="http://schemas.microsoft.com/office/drawing/2014/main" id="{2E30C601-3944-8E46-BB6E-438229D66D79}"/>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39" name="Freeform 716">
                <a:extLst>
                  <a:ext uri="{FF2B5EF4-FFF2-40B4-BE49-F238E27FC236}">
                    <a16:creationId xmlns:a16="http://schemas.microsoft.com/office/drawing/2014/main" id="{6C12ACEF-7AA0-7B49-A88C-48FE1DD3DBE8}"/>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0" name="Freeform 717">
                <a:extLst>
                  <a:ext uri="{FF2B5EF4-FFF2-40B4-BE49-F238E27FC236}">
                    <a16:creationId xmlns:a16="http://schemas.microsoft.com/office/drawing/2014/main" id="{96F8EE19-F4CD-814A-B7FF-E85961EE755E}"/>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1" name="Freeform 718">
                <a:extLst>
                  <a:ext uri="{FF2B5EF4-FFF2-40B4-BE49-F238E27FC236}">
                    <a16:creationId xmlns:a16="http://schemas.microsoft.com/office/drawing/2014/main" id="{49EABED3-E43D-9F48-B9ED-614B60677A4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2" name="Freeform 719">
                <a:extLst>
                  <a:ext uri="{FF2B5EF4-FFF2-40B4-BE49-F238E27FC236}">
                    <a16:creationId xmlns:a16="http://schemas.microsoft.com/office/drawing/2014/main" id="{D7523C75-68A9-B54F-A349-D56A8692C5A6}"/>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3" name="Freeform 720">
                <a:extLst>
                  <a:ext uri="{FF2B5EF4-FFF2-40B4-BE49-F238E27FC236}">
                    <a16:creationId xmlns:a16="http://schemas.microsoft.com/office/drawing/2014/main" id="{B2B18723-2D82-184A-9DF5-10F7AB0673C3}"/>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4" name="Freeform 721">
                <a:extLst>
                  <a:ext uri="{FF2B5EF4-FFF2-40B4-BE49-F238E27FC236}">
                    <a16:creationId xmlns:a16="http://schemas.microsoft.com/office/drawing/2014/main" id="{4625E99D-CA63-004D-A931-BE19646C25CC}"/>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5" name="Freeform 722">
                <a:extLst>
                  <a:ext uri="{FF2B5EF4-FFF2-40B4-BE49-F238E27FC236}">
                    <a16:creationId xmlns:a16="http://schemas.microsoft.com/office/drawing/2014/main" id="{F0EEF004-35B8-A541-B07C-66B0CA517A7A}"/>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6" name="Freeform 723">
                <a:extLst>
                  <a:ext uri="{FF2B5EF4-FFF2-40B4-BE49-F238E27FC236}">
                    <a16:creationId xmlns:a16="http://schemas.microsoft.com/office/drawing/2014/main" id="{674C18CC-C490-2342-BB16-8F14F1B15FD9}"/>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7" name="Freeform 724">
                <a:extLst>
                  <a:ext uri="{FF2B5EF4-FFF2-40B4-BE49-F238E27FC236}">
                    <a16:creationId xmlns:a16="http://schemas.microsoft.com/office/drawing/2014/main" id="{F36952B0-71B6-5344-AA27-7B54A51197F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8" name="Freeform 725">
                <a:extLst>
                  <a:ext uri="{FF2B5EF4-FFF2-40B4-BE49-F238E27FC236}">
                    <a16:creationId xmlns:a16="http://schemas.microsoft.com/office/drawing/2014/main" id="{1FBA6964-C1AA-564B-9546-2FAD6A6757A2}"/>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49" name="Freeform 726">
                <a:extLst>
                  <a:ext uri="{FF2B5EF4-FFF2-40B4-BE49-F238E27FC236}">
                    <a16:creationId xmlns:a16="http://schemas.microsoft.com/office/drawing/2014/main" id="{0E1FCD5C-46E9-2E46-945A-D7B688376EBE}"/>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0" name="Freeform 727">
                <a:extLst>
                  <a:ext uri="{FF2B5EF4-FFF2-40B4-BE49-F238E27FC236}">
                    <a16:creationId xmlns:a16="http://schemas.microsoft.com/office/drawing/2014/main" id="{3A484815-E2C4-5144-8757-CD815675F753}"/>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1" name="Freeform 728">
                <a:extLst>
                  <a:ext uri="{FF2B5EF4-FFF2-40B4-BE49-F238E27FC236}">
                    <a16:creationId xmlns:a16="http://schemas.microsoft.com/office/drawing/2014/main" id="{B21E3AA6-455A-8844-A14D-FF3FBE493E80}"/>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2" name="Freeform 729">
                <a:extLst>
                  <a:ext uri="{FF2B5EF4-FFF2-40B4-BE49-F238E27FC236}">
                    <a16:creationId xmlns:a16="http://schemas.microsoft.com/office/drawing/2014/main" id="{E6FA442C-8597-3C47-B6CE-EDB9989F42D9}"/>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3" name="Freeform 730">
                <a:extLst>
                  <a:ext uri="{FF2B5EF4-FFF2-40B4-BE49-F238E27FC236}">
                    <a16:creationId xmlns:a16="http://schemas.microsoft.com/office/drawing/2014/main" id="{A4494551-A1B8-0440-A2B0-F7693125B984}"/>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4" name="Freeform 731">
                <a:extLst>
                  <a:ext uri="{FF2B5EF4-FFF2-40B4-BE49-F238E27FC236}">
                    <a16:creationId xmlns:a16="http://schemas.microsoft.com/office/drawing/2014/main" id="{05A977E8-9833-9144-B3A3-D6BF2D0E4583}"/>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5" name="Freeform 732">
                <a:extLst>
                  <a:ext uri="{FF2B5EF4-FFF2-40B4-BE49-F238E27FC236}">
                    <a16:creationId xmlns:a16="http://schemas.microsoft.com/office/drawing/2014/main" id="{6B98B36D-DD03-8347-BB13-66D465A0855C}"/>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6" name="Freeform 733">
                <a:extLst>
                  <a:ext uri="{FF2B5EF4-FFF2-40B4-BE49-F238E27FC236}">
                    <a16:creationId xmlns:a16="http://schemas.microsoft.com/office/drawing/2014/main" id="{A04FF41E-395C-5F4B-9641-71ECD5C1FA01}"/>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7" name="Freeform 734">
                <a:extLst>
                  <a:ext uri="{FF2B5EF4-FFF2-40B4-BE49-F238E27FC236}">
                    <a16:creationId xmlns:a16="http://schemas.microsoft.com/office/drawing/2014/main" id="{8D543E20-F844-984B-9C56-E34CC9E0CB3D}"/>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8" name="Freeform 735">
                <a:extLst>
                  <a:ext uri="{FF2B5EF4-FFF2-40B4-BE49-F238E27FC236}">
                    <a16:creationId xmlns:a16="http://schemas.microsoft.com/office/drawing/2014/main" id="{E71A0716-0E5C-3C44-861E-7195AC22BDE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59" name="Freeform 736">
                <a:extLst>
                  <a:ext uri="{FF2B5EF4-FFF2-40B4-BE49-F238E27FC236}">
                    <a16:creationId xmlns:a16="http://schemas.microsoft.com/office/drawing/2014/main" id="{1346F1FD-394F-F04A-B502-ECD9F6342B67}"/>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0" name="Freeform 737">
                <a:extLst>
                  <a:ext uri="{FF2B5EF4-FFF2-40B4-BE49-F238E27FC236}">
                    <a16:creationId xmlns:a16="http://schemas.microsoft.com/office/drawing/2014/main" id="{B85BD7B7-C8D5-8846-A1D3-24463648288A}"/>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1" name="Freeform 738">
                <a:extLst>
                  <a:ext uri="{FF2B5EF4-FFF2-40B4-BE49-F238E27FC236}">
                    <a16:creationId xmlns:a16="http://schemas.microsoft.com/office/drawing/2014/main" id="{E2F0BFB0-2BA6-8E44-BCB2-FFE460A005BC}"/>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2" name="Freeform 739">
                <a:extLst>
                  <a:ext uri="{FF2B5EF4-FFF2-40B4-BE49-F238E27FC236}">
                    <a16:creationId xmlns:a16="http://schemas.microsoft.com/office/drawing/2014/main" id="{33415000-4A3C-B341-A141-BA2697DAAC4E}"/>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3" name="Freeform 740">
                <a:extLst>
                  <a:ext uri="{FF2B5EF4-FFF2-40B4-BE49-F238E27FC236}">
                    <a16:creationId xmlns:a16="http://schemas.microsoft.com/office/drawing/2014/main" id="{296AE222-D986-C040-8098-CF31E687DAE9}"/>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4" name="Freeform 741">
                <a:extLst>
                  <a:ext uri="{FF2B5EF4-FFF2-40B4-BE49-F238E27FC236}">
                    <a16:creationId xmlns:a16="http://schemas.microsoft.com/office/drawing/2014/main" id="{DB6F0340-4F23-7F4D-B17F-BFC7DB593DAB}"/>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5" name="Freeform 742">
                <a:extLst>
                  <a:ext uri="{FF2B5EF4-FFF2-40B4-BE49-F238E27FC236}">
                    <a16:creationId xmlns:a16="http://schemas.microsoft.com/office/drawing/2014/main" id="{D077FE35-B410-D04A-AD67-5B613F188040}"/>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6" name="Freeform 743">
                <a:extLst>
                  <a:ext uri="{FF2B5EF4-FFF2-40B4-BE49-F238E27FC236}">
                    <a16:creationId xmlns:a16="http://schemas.microsoft.com/office/drawing/2014/main" id="{795956D7-F719-F147-815C-1855236AD7F4}"/>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7" name="Freeform 744">
                <a:extLst>
                  <a:ext uri="{FF2B5EF4-FFF2-40B4-BE49-F238E27FC236}">
                    <a16:creationId xmlns:a16="http://schemas.microsoft.com/office/drawing/2014/main" id="{1CDDE763-FEB3-8B4C-9947-99455FC89D97}"/>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8" name="Freeform 745">
                <a:extLst>
                  <a:ext uri="{FF2B5EF4-FFF2-40B4-BE49-F238E27FC236}">
                    <a16:creationId xmlns:a16="http://schemas.microsoft.com/office/drawing/2014/main" id="{6A6287A0-E383-2240-B550-AD9EB39BAD0C}"/>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69" name="Freeform 746">
                <a:extLst>
                  <a:ext uri="{FF2B5EF4-FFF2-40B4-BE49-F238E27FC236}">
                    <a16:creationId xmlns:a16="http://schemas.microsoft.com/office/drawing/2014/main" id="{20A4EE98-E57C-4A4B-8230-E298551ED9D6}"/>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0" name="Freeform 747">
                <a:extLst>
                  <a:ext uri="{FF2B5EF4-FFF2-40B4-BE49-F238E27FC236}">
                    <a16:creationId xmlns:a16="http://schemas.microsoft.com/office/drawing/2014/main" id="{87BB8123-8783-6F46-AB72-043E210EFD7A}"/>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1" name="Freeform 748">
                <a:extLst>
                  <a:ext uri="{FF2B5EF4-FFF2-40B4-BE49-F238E27FC236}">
                    <a16:creationId xmlns:a16="http://schemas.microsoft.com/office/drawing/2014/main" id="{16F734A0-0A5E-3A46-AAA5-82F9600FD4BF}"/>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2" name="Freeform 749">
                <a:extLst>
                  <a:ext uri="{FF2B5EF4-FFF2-40B4-BE49-F238E27FC236}">
                    <a16:creationId xmlns:a16="http://schemas.microsoft.com/office/drawing/2014/main" id="{02981D75-C1C5-174C-A8E6-DC0BB9FC20B5}"/>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3" name="Freeform 750">
                <a:extLst>
                  <a:ext uri="{FF2B5EF4-FFF2-40B4-BE49-F238E27FC236}">
                    <a16:creationId xmlns:a16="http://schemas.microsoft.com/office/drawing/2014/main" id="{31B75900-439E-924F-87E7-85406009F97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4" name="Freeform 751">
                <a:extLst>
                  <a:ext uri="{FF2B5EF4-FFF2-40B4-BE49-F238E27FC236}">
                    <a16:creationId xmlns:a16="http://schemas.microsoft.com/office/drawing/2014/main" id="{9D0A6CE2-40D5-7C49-AB00-777F3CC16DA3}"/>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5" name="Freeform 752">
                <a:extLst>
                  <a:ext uri="{FF2B5EF4-FFF2-40B4-BE49-F238E27FC236}">
                    <a16:creationId xmlns:a16="http://schemas.microsoft.com/office/drawing/2014/main" id="{41808E06-58BA-5E49-BD83-51D28CEE8D05}"/>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6" name="Freeform 753">
                <a:extLst>
                  <a:ext uri="{FF2B5EF4-FFF2-40B4-BE49-F238E27FC236}">
                    <a16:creationId xmlns:a16="http://schemas.microsoft.com/office/drawing/2014/main" id="{EDC3FCAB-4630-3A41-AD23-7F0FB41EF76D}"/>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7" name="Freeform 754">
                <a:extLst>
                  <a:ext uri="{FF2B5EF4-FFF2-40B4-BE49-F238E27FC236}">
                    <a16:creationId xmlns:a16="http://schemas.microsoft.com/office/drawing/2014/main" id="{E317F0CA-59F7-2B45-8BEE-5DA7BF052631}"/>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8" name="Freeform 755">
                <a:extLst>
                  <a:ext uri="{FF2B5EF4-FFF2-40B4-BE49-F238E27FC236}">
                    <a16:creationId xmlns:a16="http://schemas.microsoft.com/office/drawing/2014/main" id="{D6B14FE0-5274-E048-97A6-EB0AA162B4B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79" name="Freeform 756">
                <a:extLst>
                  <a:ext uri="{FF2B5EF4-FFF2-40B4-BE49-F238E27FC236}">
                    <a16:creationId xmlns:a16="http://schemas.microsoft.com/office/drawing/2014/main" id="{106F5E11-51CD-BE42-A4AE-842A400520CD}"/>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0" name="Freeform 757">
                <a:extLst>
                  <a:ext uri="{FF2B5EF4-FFF2-40B4-BE49-F238E27FC236}">
                    <a16:creationId xmlns:a16="http://schemas.microsoft.com/office/drawing/2014/main" id="{795C9C68-2900-4648-A5CF-15010F2E08A0}"/>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1" name="Freeform 758">
                <a:extLst>
                  <a:ext uri="{FF2B5EF4-FFF2-40B4-BE49-F238E27FC236}">
                    <a16:creationId xmlns:a16="http://schemas.microsoft.com/office/drawing/2014/main" id="{FD9C28B7-89B8-9642-B49A-E0CA4CDF13E3}"/>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2" name="Freeform 759">
                <a:extLst>
                  <a:ext uri="{FF2B5EF4-FFF2-40B4-BE49-F238E27FC236}">
                    <a16:creationId xmlns:a16="http://schemas.microsoft.com/office/drawing/2014/main" id="{B78AAB46-F487-994E-8C0A-BE8216509FDF}"/>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3" name="Freeform 760">
                <a:extLst>
                  <a:ext uri="{FF2B5EF4-FFF2-40B4-BE49-F238E27FC236}">
                    <a16:creationId xmlns:a16="http://schemas.microsoft.com/office/drawing/2014/main" id="{654EEF9B-3652-BD4C-BF40-8A5FF98F829E}"/>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4" name="Freeform 761">
                <a:extLst>
                  <a:ext uri="{FF2B5EF4-FFF2-40B4-BE49-F238E27FC236}">
                    <a16:creationId xmlns:a16="http://schemas.microsoft.com/office/drawing/2014/main" id="{140D5C22-B774-1948-ABCF-B9D45B0CDE7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5" name="Freeform 762">
                <a:extLst>
                  <a:ext uri="{FF2B5EF4-FFF2-40B4-BE49-F238E27FC236}">
                    <a16:creationId xmlns:a16="http://schemas.microsoft.com/office/drawing/2014/main" id="{B46929C8-44A3-D44B-A4BD-24C4671ED1B0}"/>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6" name="Freeform 763">
                <a:extLst>
                  <a:ext uri="{FF2B5EF4-FFF2-40B4-BE49-F238E27FC236}">
                    <a16:creationId xmlns:a16="http://schemas.microsoft.com/office/drawing/2014/main" id="{B67E5888-A08B-EB4B-983A-C98672DA95FF}"/>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7" name="Freeform 764">
                <a:extLst>
                  <a:ext uri="{FF2B5EF4-FFF2-40B4-BE49-F238E27FC236}">
                    <a16:creationId xmlns:a16="http://schemas.microsoft.com/office/drawing/2014/main" id="{4C161053-4F4A-5D43-9644-6F413723712B}"/>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8" name="Freeform 765">
                <a:extLst>
                  <a:ext uri="{FF2B5EF4-FFF2-40B4-BE49-F238E27FC236}">
                    <a16:creationId xmlns:a16="http://schemas.microsoft.com/office/drawing/2014/main" id="{B021E607-B922-004B-AFA0-C6749FC59FBB}"/>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89" name="Freeform 766">
                <a:extLst>
                  <a:ext uri="{FF2B5EF4-FFF2-40B4-BE49-F238E27FC236}">
                    <a16:creationId xmlns:a16="http://schemas.microsoft.com/office/drawing/2014/main" id="{A0BEEFAB-1BB4-4143-8F4F-EBDD7D60D73A}"/>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0" name="Freeform 767">
                <a:extLst>
                  <a:ext uri="{FF2B5EF4-FFF2-40B4-BE49-F238E27FC236}">
                    <a16:creationId xmlns:a16="http://schemas.microsoft.com/office/drawing/2014/main" id="{3DAF049E-1D11-D446-ABA9-A1F68084A920}"/>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1" name="Freeform 768">
                <a:extLst>
                  <a:ext uri="{FF2B5EF4-FFF2-40B4-BE49-F238E27FC236}">
                    <a16:creationId xmlns:a16="http://schemas.microsoft.com/office/drawing/2014/main" id="{5CC6D78E-3059-0145-9EC3-9DFB3963B2B8}"/>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2" name="Freeform 769">
                <a:extLst>
                  <a:ext uri="{FF2B5EF4-FFF2-40B4-BE49-F238E27FC236}">
                    <a16:creationId xmlns:a16="http://schemas.microsoft.com/office/drawing/2014/main" id="{5D5F436A-604C-7B47-AF23-C27EA6B321B0}"/>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3" name="Freeform 770">
                <a:extLst>
                  <a:ext uri="{FF2B5EF4-FFF2-40B4-BE49-F238E27FC236}">
                    <a16:creationId xmlns:a16="http://schemas.microsoft.com/office/drawing/2014/main" id="{C6177C6B-877A-AE4E-8271-215CC84043C8}"/>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4" name="Freeform 771">
                <a:extLst>
                  <a:ext uri="{FF2B5EF4-FFF2-40B4-BE49-F238E27FC236}">
                    <a16:creationId xmlns:a16="http://schemas.microsoft.com/office/drawing/2014/main" id="{D7072BDF-1605-A846-BF2A-C7AAA314963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5" name="Freeform 772">
                <a:extLst>
                  <a:ext uri="{FF2B5EF4-FFF2-40B4-BE49-F238E27FC236}">
                    <a16:creationId xmlns:a16="http://schemas.microsoft.com/office/drawing/2014/main" id="{C8DF286C-5073-3D4C-9BEB-C7DDD429A30D}"/>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6" name="Freeform 773">
                <a:extLst>
                  <a:ext uri="{FF2B5EF4-FFF2-40B4-BE49-F238E27FC236}">
                    <a16:creationId xmlns:a16="http://schemas.microsoft.com/office/drawing/2014/main" id="{6E823DE3-E8E3-3846-9417-4BFCD4CC3144}"/>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7" name="Freeform 774">
                <a:extLst>
                  <a:ext uri="{FF2B5EF4-FFF2-40B4-BE49-F238E27FC236}">
                    <a16:creationId xmlns:a16="http://schemas.microsoft.com/office/drawing/2014/main" id="{6952871D-7A73-9C41-8618-45CEBD0A53DC}"/>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8" name="Freeform 775">
                <a:extLst>
                  <a:ext uri="{FF2B5EF4-FFF2-40B4-BE49-F238E27FC236}">
                    <a16:creationId xmlns:a16="http://schemas.microsoft.com/office/drawing/2014/main" id="{33B3FB99-E1AE-1341-86F1-0AACA41D5C95}"/>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499" name="Freeform 776">
                <a:extLst>
                  <a:ext uri="{FF2B5EF4-FFF2-40B4-BE49-F238E27FC236}">
                    <a16:creationId xmlns:a16="http://schemas.microsoft.com/office/drawing/2014/main" id="{4EF4BCBF-E26C-8A4A-B625-FB861A6C6782}"/>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0" name="Freeform 777">
                <a:extLst>
                  <a:ext uri="{FF2B5EF4-FFF2-40B4-BE49-F238E27FC236}">
                    <a16:creationId xmlns:a16="http://schemas.microsoft.com/office/drawing/2014/main" id="{C9BDD678-A66D-3C49-A08C-5A23CB707D59}"/>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1" name="Freeform 778">
                <a:extLst>
                  <a:ext uri="{FF2B5EF4-FFF2-40B4-BE49-F238E27FC236}">
                    <a16:creationId xmlns:a16="http://schemas.microsoft.com/office/drawing/2014/main" id="{5C68C57B-DCC2-824E-A9BD-789B7C84FABB}"/>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2" name="Freeform 779">
                <a:extLst>
                  <a:ext uri="{FF2B5EF4-FFF2-40B4-BE49-F238E27FC236}">
                    <a16:creationId xmlns:a16="http://schemas.microsoft.com/office/drawing/2014/main" id="{9B6CD754-06B7-2F41-AD21-5DC86B8262E0}"/>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3" name="Freeform 780">
                <a:extLst>
                  <a:ext uri="{FF2B5EF4-FFF2-40B4-BE49-F238E27FC236}">
                    <a16:creationId xmlns:a16="http://schemas.microsoft.com/office/drawing/2014/main" id="{203FC4FD-4B73-C248-81C2-008F8DC3C128}"/>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4" name="Freeform 782">
                <a:extLst>
                  <a:ext uri="{FF2B5EF4-FFF2-40B4-BE49-F238E27FC236}">
                    <a16:creationId xmlns:a16="http://schemas.microsoft.com/office/drawing/2014/main" id="{37225409-8795-4E4D-98DA-EB3C1433B31E}"/>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5" name="Freeform 783">
                <a:extLst>
                  <a:ext uri="{FF2B5EF4-FFF2-40B4-BE49-F238E27FC236}">
                    <a16:creationId xmlns:a16="http://schemas.microsoft.com/office/drawing/2014/main" id="{275BEB78-1DF2-0649-9BEE-D2ECBC570C17}"/>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6" name="Freeform 784">
                <a:extLst>
                  <a:ext uri="{FF2B5EF4-FFF2-40B4-BE49-F238E27FC236}">
                    <a16:creationId xmlns:a16="http://schemas.microsoft.com/office/drawing/2014/main" id="{DFB49345-9A63-9643-804F-D9D9BC3DB56A}"/>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7" name="Freeform 785">
                <a:extLst>
                  <a:ext uri="{FF2B5EF4-FFF2-40B4-BE49-F238E27FC236}">
                    <a16:creationId xmlns:a16="http://schemas.microsoft.com/office/drawing/2014/main" id="{5927DB09-5640-5641-B41E-4BF2AACF0DCA}"/>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8" name="Freeform 786">
                <a:extLst>
                  <a:ext uri="{FF2B5EF4-FFF2-40B4-BE49-F238E27FC236}">
                    <a16:creationId xmlns:a16="http://schemas.microsoft.com/office/drawing/2014/main" id="{AE6EB726-3DB1-7D4B-86C9-7384C8E7C024}"/>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09" name="Freeform 787">
                <a:extLst>
                  <a:ext uri="{FF2B5EF4-FFF2-40B4-BE49-F238E27FC236}">
                    <a16:creationId xmlns:a16="http://schemas.microsoft.com/office/drawing/2014/main" id="{3FCC88E3-0519-D441-B40D-E763ABB7A613}"/>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0" name="Freeform 788">
                <a:extLst>
                  <a:ext uri="{FF2B5EF4-FFF2-40B4-BE49-F238E27FC236}">
                    <a16:creationId xmlns:a16="http://schemas.microsoft.com/office/drawing/2014/main" id="{60CDCA13-8F11-BC43-AF35-BE90FFAD8321}"/>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1" name="Freeform 789">
                <a:extLst>
                  <a:ext uri="{FF2B5EF4-FFF2-40B4-BE49-F238E27FC236}">
                    <a16:creationId xmlns:a16="http://schemas.microsoft.com/office/drawing/2014/main" id="{CDBAB6C6-BCA0-7747-998D-C4D187F910E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2" name="Freeform 790">
                <a:extLst>
                  <a:ext uri="{FF2B5EF4-FFF2-40B4-BE49-F238E27FC236}">
                    <a16:creationId xmlns:a16="http://schemas.microsoft.com/office/drawing/2014/main" id="{4C150778-48FA-2C45-B81F-F420E4813261}"/>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3" name="Freeform 791">
                <a:extLst>
                  <a:ext uri="{FF2B5EF4-FFF2-40B4-BE49-F238E27FC236}">
                    <a16:creationId xmlns:a16="http://schemas.microsoft.com/office/drawing/2014/main" id="{CB47BCED-71D8-1440-83D6-EDC10A9EF8F4}"/>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4" name="Freeform 792">
                <a:extLst>
                  <a:ext uri="{FF2B5EF4-FFF2-40B4-BE49-F238E27FC236}">
                    <a16:creationId xmlns:a16="http://schemas.microsoft.com/office/drawing/2014/main" id="{452F1D1F-B3AD-BE42-A716-AE26727E0D2B}"/>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5" name="Freeform 793">
                <a:extLst>
                  <a:ext uri="{FF2B5EF4-FFF2-40B4-BE49-F238E27FC236}">
                    <a16:creationId xmlns:a16="http://schemas.microsoft.com/office/drawing/2014/main" id="{50FCB546-7A5D-A440-8F55-622E62596C88}"/>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6" name="Freeform 794">
                <a:extLst>
                  <a:ext uri="{FF2B5EF4-FFF2-40B4-BE49-F238E27FC236}">
                    <a16:creationId xmlns:a16="http://schemas.microsoft.com/office/drawing/2014/main" id="{668CB123-CD56-8442-BE57-7815A4AB1E6F}"/>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7" name="Freeform 795">
                <a:extLst>
                  <a:ext uri="{FF2B5EF4-FFF2-40B4-BE49-F238E27FC236}">
                    <a16:creationId xmlns:a16="http://schemas.microsoft.com/office/drawing/2014/main" id="{212F6968-E059-2046-8018-2C4746364C26}"/>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8" name="Freeform 796">
                <a:extLst>
                  <a:ext uri="{FF2B5EF4-FFF2-40B4-BE49-F238E27FC236}">
                    <a16:creationId xmlns:a16="http://schemas.microsoft.com/office/drawing/2014/main" id="{E492CC98-4779-924F-954B-260D69069979}"/>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sp>
            <p:nvSpPr>
              <p:cNvPr id="519" name="Freeform 797">
                <a:extLst>
                  <a:ext uri="{FF2B5EF4-FFF2-40B4-BE49-F238E27FC236}">
                    <a16:creationId xmlns:a16="http://schemas.microsoft.com/office/drawing/2014/main" id="{4475C058-EC27-884D-B5F4-654956836647}"/>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chemeClr val="bg1"/>
                </a:solidFill>
                <a:prstDash val="solid"/>
                <a:round/>
                <a:headEnd/>
                <a:tailEnd/>
              </a:ln>
            </p:spPr>
            <p:txBody>
              <a:bodyPr/>
              <a:lstStyle/>
              <a:p>
                <a:pPr defTabSz="685663">
                  <a:defRPr/>
                </a:pPr>
                <a:endParaRPr lang="id-ID" sz="675" b="1">
                  <a:latin typeface="Lato" panose="020F0502020204030203" pitchFamily="34" charset="0"/>
                  <a:ea typeface="Lato" panose="020F0502020204030203" pitchFamily="34" charset="0"/>
                  <a:cs typeface="Lato" panose="020F0502020204030203" pitchFamily="34" charset="0"/>
                </a:endParaRPr>
              </a:p>
            </p:txBody>
          </p:sp>
        </p:grpSp>
        <p:sp>
          <p:nvSpPr>
            <p:cNvPr id="522" name="Oval 521">
              <a:extLst>
                <a:ext uri="{FF2B5EF4-FFF2-40B4-BE49-F238E27FC236}">
                  <a16:creationId xmlns:a16="http://schemas.microsoft.com/office/drawing/2014/main" id="{CE6CCCD5-49BF-604A-AB00-97C550BB7775}"/>
                </a:ext>
              </a:extLst>
            </p:cNvPr>
            <p:cNvSpPr/>
            <p:nvPr/>
          </p:nvSpPr>
          <p:spPr>
            <a:xfrm>
              <a:off x="4024036" y="6301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a:latin typeface="Lato" panose="020F0502020204030203" pitchFamily="34" charset="0"/>
                <a:ea typeface="Lato" panose="020F0502020204030203" pitchFamily="34" charset="0"/>
                <a:cs typeface="Lato" panose="020F0502020204030203" pitchFamily="34" charset="0"/>
              </a:endParaRPr>
            </a:p>
          </p:txBody>
        </p:sp>
        <p:sp>
          <p:nvSpPr>
            <p:cNvPr id="523" name="TextBox 522">
              <a:extLst>
                <a:ext uri="{FF2B5EF4-FFF2-40B4-BE49-F238E27FC236}">
                  <a16:creationId xmlns:a16="http://schemas.microsoft.com/office/drawing/2014/main" id="{37F2488F-8D9A-FD47-86E0-450C966FD290}"/>
                </a:ext>
              </a:extLst>
            </p:cNvPr>
            <p:cNvSpPr txBox="1"/>
            <p:nvPr/>
          </p:nvSpPr>
          <p:spPr>
            <a:xfrm>
              <a:off x="3659268" y="9376870"/>
              <a:ext cx="3642880" cy="553997"/>
            </a:xfrm>
            <a:prstGeom prst="rect">
              <a:avLst/>
            </a:prstGeom>
            <a:noFill/>
          </p:spPr>
          <p:txBody>
            <a:bodyPr wrap="none" rtlCol="0">
              <a:spAutoFit/>
            </a:bodyPr>
            <a:lstStyle/>
            <a:p>
              <a:pPr algn="ctr"/>
              <a:r>
                <a:rPr lang="en-US" sz="750" spc="225">
                  <a:solidFill>
                    <a:schemeClr val="bg1"/>
                  </a:solidFill>
                  <a:latin typeface="Arial" panose="020B0604020202020204" pitchFamily="34" charset="0"/>
                  <a:ea typeface="Roboto" panose="02000000000000000000" pitchFamily="2" charset="0"/>
                  <a:cs typeface="Arial" panose="020B0604020202020204" pitchFamily="34" charset="0"/>
                </a:rPr>
                <a:t>NORTH AMERICA</a:t>
              </a:r>
              <a:endParaRPr lang="en-US" sz="675" spc="225">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4" name="TextBox 523">
              <a:extLst>
                <a:ext uri="{FF2B5EF4-FFF2-40B4-BE49-F238E27FC236}">
                  <a16:creationId xmlns:a16="http://schemas.microsoft.com/office/drawing/2014/main" id="{14DA59F0-0EA5-2344-B9B1-96A408833BEC}"/>
                </a:ext>
              </a:extLst>
            </p:cNvPr>
            <p:cNvSpPr txBox="1"/>
            <p:nvPr/>
          </p:nvSpPr>
          <p:spPr>
            <a:xfrm>
              <a:off x="4636065" y="7206502"/>
              <a:ext cx="1877440" cy="1077219"/>
            </a:xfrm>
            <a:prstGeom prst="rect">
              <a:avLst/>
            </a:prstGeom>
            <a:noFill/>
          </p:spPr>
          <p:txBody>
            <a:bodyPr wrap="none" rtlCol="0">
              <a:spAutoFit/>
            </a:bodyPr>
            <a:lstStyle/>
            <a:p>
              <a:pPr algn="ctr"/>
              <a:r>
                <a:rPr lang="en-US" sz="2025">
                  <a:solidFill>
                    <a:schemeClr val="bg1"/>
                  </a:solidFill>
                  <a:latin typeface="Arial" panose="020B0604020202020204" pitchFamily="34" charset="0"/>
                  <a:ea typeface="Roboto" panose="02000000000000000000" pitchFamily="2" charset="0"/>
                  <a:cs typeface="Arial" panose="020B0604020202020204" pitchFamily="34" charset="0"/>
                </a:rPr>
                <a:t>45%</a:t>
              </a:r>
              <a:endParaRPr lang="en-US" sz="300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5" name="Oval 524">
              <a:extLst>
                <a:ext uri="{FF2B5EF4-FFF2-40B4-BE49-F238E27FC236}">
                  <a16:creationId xmlns:a16="http://schemas.microsoft.com/office/drawing/2014/main" id="{31A14F7B-7F90-3B46-86DA-729271067FB6}"/>
                </a:ext>
              </a:extLst>
            </p:cNvPr>
            <p:cNvSpPr/>
            <p:nvPr/>
          </p:nvSpPr>
          <p:spPr>
            <a:xfrm>
              <a:off x="11431294" y="9162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a:latin typeface="Lato" panose="020F0502020204030203" pitchFamily="34" charset="0"/>
                <a:ea typeface="Lato" panose="020F0502020204030203" pitchFamily="34" charset="0"/>
                <a:cs typeface="Lato" panose="020F0502020204030203" pitchFamily="34" charset="0"/>
              </a:endParaRPr>
            </a:p>
          </p:txBody>
        </p:sp>
        <p:sp>
          <p:nvSpPr>
            <p:cNvPr id="526" name="TextBox 525">
              <a:extLst>
                <a:ext uri="{FF2B5EF4-FFF2-40B4-BE49-F238E27FC236}">
                  <a16:creationId xmlns:a16="http://schemas.microsoft.com/office/drawing/2014/main" id="{F47DE469-2D7D-204E-8C94-7C303AA142A2}"/>
                </a:ext>
              </a:extLst>
            </p:cNvPr>
            <p:cNvSpPr txBox="1"/>
            <p:nvPr/>
          </p:nvSpPr>
          <p:spPr>
            <a:xfrm>
              <a:off x="11940699" y="12237870"/>
              <a:ext cx="1894536" cy="553997"/>
            </a:xfrm>
            <a:prstGeom prst="rect">
              <a:avLst/>
            </a:prstGeom>
            <a:noFill/>
          </p:spPr>
          <p:txBody>
            <a:bodyPr wrap="none" rtlCol="0">
              <a:spAutoFit/>
            </a:bodyPr>
            <a:lstStyle/>
            <a:p>
              <a:pPr algn="ctr"/>
              <a:r>
                <a:rPr lang="en-US" sz="750" spc="225">
                  <a:solidFill>
                    <a:schemeClr val="bg1"/>
                  </a:solidFill>
                  <a:latin typeface="Arial" panose="020B0604020202020204" pitchFamily="34" charset="0"/>
                  <a:ea typeface="Roboto" panose="02000000000000000000" pitchFamily="2" charset="0"/>
                  <a:cs typeface="Arial" panose="020B0604020202020204" pitchFamily="34" charset="0"/>
                </a:rPr>
                <a:t>AFRICA</a:t>
              </a:r>
              <a:endParaRPr lang="en-US" sz="675" spc="225">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7" name="TextBox 526">
              <a:extLst>
                <a:ext uri="{FF2B5EF4-FFF2-40B4-BE49-F238E27FC236}">
                  <a16:creationId xmlns:a16="http://schemas.microsoft.com/office/drawing/2014/main" id="{CCEE729B-B796-7541-BF94-26FE9907B68B}"/>
                </a:ext>
              </a:extLst>
            </p:cNvPr>
            <p:cNvSpPr txBox="1"/>
            <p:nvPr/>
          </p:nvSpPr>
          <p:spPr>
            <a:xfrm>
              <a:off x="12043323" y="10067502"/>
              <a:ext cx="1877440" cy="1077219"/>
            </a:xfrm>
            <a:prstGeom prst="rect">
              <a:avLst/>
            </a:prstGeom>
            <a:noFill/>
          </p:spPr>
          <p:txBody>
            <a:bodyPr wrap="none" rtlCol="0">
              <a:spAutoFit/>
            </a:bodyPr>
            <a:lstStyle/>
            <a:p>
              <a:pPr algn="ctr"/>
              <a:r>
                <a:rPr lang="en-US" sz="2025">
                  <a:solidFill>
                    <a:schemeClr val="bg1"/>
                  </a:solidFill>
                  <a:latin typeface="Arial" panose="020B0604020202020204" pitchFamily="34" charset="0"/>
                  <a:ea typeface="Roboto" panose="02000000000000000000" pitchFamily="2" charset="0"/>
                  <a:cs typeface="Arial" panose="020B0604020202020204" pitchFamily="34" charset="0"/>
                </a:rPr>
                <a:t>73%</a:t>
              </a:r>
              <a:endParaRPr lang="en-US" sz="300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8" name="Oval 527">
              <a:extLst>
                <a:ext uri="{FF2B5EF4-FFF2-40B4-BE49-F238E27FC236}">
                  <a16:creationId xmlns:a16="http://schemas.microsoft.com/office/drawing/2014/main" id="{801C8D68-B06A-F64F-A213-60E869A0E83C}"/>
                </a:ext>
              </a:extLst>
            </p:cNvPr>
            <p:cNvSpPr/>
            <p:nvPr/>
          </p:nvSpPr>
          <p:spPr>
            <a:xfrm>
              <a:off x="19236376" y="3691995"/>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a:latin typeface="Lato" panose="020F0502020204030203" pitchFamily="34" charset="0"/>
                <a:ea typeface="Lato" panose="020F0502020204030203" pitchFamily="34" charset="0"/>
                <a:cs typeface="Lato" panose="020F0502020204030203" pitchFamily="34" charset="0"/>
              </a:endParaRPr>
            </a:p>
          </p:txBody>
        </p:sp>
        <p:sp>
          <p:nvSpPr>
            <p:cNvPr id="529" name="TextBox 528">
              <a:extLst>
                <a:ext uri="{FF2B5EF4-FFF2-40B4-BE49-F238E27FC236}">
                  <a16:creationId xmlns:a16="http://schemas.microsoft.com/office/drawing/2014/main" id="{B579E663-F488-DC40-A06D-6422F03A688C}"/>
                </a:ext>
              </a:extLst>
            </p:cNvPr>
            <p:cNvSpPr txBox="1"/>
            <p:nvPr/>
          </p:nvSpPr>
          <p:spPr>
            <a:xfrm>
              <a:off x="20000125" y="6767496"/>
              <a:ext cx="1385851" cy="553997"/>
            </a:xfrm>
            <a:prstGeom prst="rect">
              <a:avLst/>
            </a:prstGeom>
            <a:noFill/>
          </p:spPr>
          <p:txBody>
            <a:bodyPr wrap="none" rtlCol="0">
              <a:spAutoFit/>
            </a:bodyPr>
            <a:lstStyle/>
            <a:p>
              <a:pPr algn="ctr"/>
              <a:r>
                <a:rPr lang="en-US" sz="750" spc="225">
                  <a:solidFill>
                    <a:schemeClr val="bg1"/>
                  </a:solidFill>
                  <a:latin typeface="Arial" panose="020B0604020202020204" pitchFamily="34" charset="0"/>
                  <a:ea typeface="Roboto" panose="02000000000000000000" pitchFamily="2" charset="0"/>
                  <a:cs typeface="Arial" panose="020B0604020202020204" pitchFamily="34" charset="0"/>
                </a:rPr>
                <a:t>ASIA</a:t>
              </a:r>
              <a:endParaRPr lang="en-US" sz="675" spc="225">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0" name="TextBox 529">
              <a:extLst>
                <a:ext uri="{FF2B5EF4-FFF2-40B4-BE49-F238E27FC236}">
                  <a16:creationId xmlns:a16="http://schemas.microsoft.com/office/drawing/2014/main" id="{6F39781D-1F6D-4742-BBE0-12BFBCA3A377}"/>
                </a:ext>
              </a:extLst>
            </p:cNvPr>
            <p:cNvSpPr txBox="1"/>
            <p:nvPr/>
          </p:nvSpPr>
          <p:spPr>
            <a:xfrm>
              <a:off x="19848405" y="4597126"/>
              <a:ext cx="1877440" cy="1077219"/>
            </a:xfrm>
            <a:prstGeom prst="rect">
              <a:avLst/>
            </a:prstGeom>
            <a:noFill/>
          </p:spPr>
          <p:txBody>
            <a:bodyPr wrap="none" rtlCol="0">
              <a:spAutoFit/>
            </a:bodyPr>
            <a:lstStyle/>
            <a:p>
              <a:pPr algn="ctr"/>
              <a:r>
                <a:rPr lang="en-US" sz="2025">
                  <a:solidFill>
                    <a:schemeClr val="bg1"/>
                  </a:solidFill>
                  <a:latin typeface="Arial" panose="020B0604020202020204" pitchFamily="34" charset="0"/>
                  <a:ea typeface="Roboto" panose="02000000000000000000" pitchFamily="2" charset="0"/>
                  <a:cs typeface="Arial" panose="020B0604020202020204" pitchFamily="34" charset="0"/>
                </a:rPr>
                <a:t>95%</a:t>
              </a:r>
              <a:endParaRPr lang="en-US" sz="300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1" name="Oval 530">
              <a:extLst>
                <a:ext uri="{FF2B5EF4-FFF2-40B4-BE49-F238E27FC236}">
                  <a16:creationId xmlns:a16="http://schemas.microsoft.com/office/drawing/2014/main" id="{21DFCB7C-E4EB-7243-BC10-152035D58135}"/>
                </a:ext>
              </a:extLst>
            </p:cNvPr>
            <p:cNvSpPr/>
            <p:nvPr/>
          </p:nvSpPr>
          <p:spPr>
            <a:xfrm>
              <a:off x="3421139" y="7539860"/>
              <a:ext cx="1362502" cy="1362502"/>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a:latin typeface="Lato" panose="020F0502020204030203" pitchFamily="34" charset="0"/>
                <a:ea typeface="Lato" panose="020F0502020204030203" pitchFamily="34" charset="0"/>
                <a:cs typeface="Lato" panose="020F0502020204030203" pitchFamily="34" charset="0"/>
              </a:endParaRPr>
            </a:p>
          </p:txBody>
        </p:sp>
        <p:sp>
          <p:nvSpPr>
            <p:cNvPr id="532" name="TextBox 531">
              <a:extLst>
                <a:ext uri="{FF2B5EF4-FFF2-40B4-BE49-F238E27FC236}">
                  <a16:creationId xmlns:a16="http://schemas.microsoft.com/office/drawing/2014/main" id="{11A0F894-45D3-524E-BA79-408D134834AD}"/>
                </a:ext>
              </a:extLst>
            </p:cNvPr>
            <p:cNvSpPr txBox="1"/>
            <p:nvPr/>
          </p:nvSpPr>
          <p:spPr>
            <a:xfrm>
              <a:off x="3468740" y="7928723"/>
              <a:ext cx="1308907" cy="738664"/>
            </a:xfrm>
            <a:prstGeom prst="rect">
              <a:avLst/>
            </a:prstGeom>
            <a:noFill/>
          </p:spPr>
          <p:txBody>
            <a:bodyPr wrap="none" rtlCol="0">
              <a:spAutoFit/>
            </a:bodyPr>
            <a:lstStyle/>
            <a:p>
              <a:pPr algn="ctr"/>
              <a:r>
                <a:rPr lang="en-US" sz="1200">
                  <a:solidFill>
                    <a:schemeClr val="bg1"/>
                  </a:solidFill>
                  <a:latin typeface="Arial" panose="020B0604020202020204" pitchFamily="34" charset="0"/>
                  <a:ea typeface="Roboto" panose="02000000000000000000" pitchFamily="2" charset="0"/>
                  <a:cs typeface="Arial" panose="020B0604020202020204" pitchFamily="34" charset="0"/>
                </a:rPr>
                <a:t>15%</a:t>
              </a:r>
              <a:endParaRPr lang="en-US">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3" name="Oval 532">
              <a:extLst>
                <a:ext uri="{FF2B5EF4-FFF2-40B4-BE49-F238E27FC236}">
                  <a16:creationId xmlns:a16="http://schemas.microsoft.com/office/drawing/2014/main" id="{93372CC7-CC9F-CC40-B28B-E81186532D21}"/>
                </a:ext>
              </a:extLst>
            </p:cNvPr>
            <p:cNvSpPr/>
            <p:nvPr/>
          </p:nvSpPr>
          <p:spPr>
            <a:xfrm>
              <a:off x="10828397" y="10400860"/>
              <a:ext cx="1362502" cy="1362502"/>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a:latin typeface="Lato" panose="020F0502020204030203" pitchFamily="34" charset="0"/>
                <a:ea typeface="Lato" panose="020F0502020204030203" pitchFamily="34" charset="0"/>
                <a:cs typeface="Lato" panose="020F0502020204030203" pitchFamily="34" charset="0"/>
              </a:endParaRPr>
            </a:p>
          </p:txBody>
        </p:sp>
        <p:sp>
          <p:nvSpPr>
            <p:cNvPr id="534" name="TextBox 533">
              <a:extLst>
                <a:ext uri="{FF2B5EF4-FFF2-40B4-BE49-F238E27FC236}">
                  <a16:creationId xmlns:a16="http://schemas.microsoft.com/office/drawing/2014/main" id="{825D6761-6FF3-A749-8008-C29A4A9CC228}"/>
                </a:ext>
              </a:extLst>
            </p:cNvPr>
            <p:cNvSpPr txBox="1"/>
            <p:nvPr/>
          </p:nvSpPr>
          <p:spPr>
            <a:xfrm>
              <a:off x="10875998" y="10823528"/>
              <a:ext cx="1308907" cy="738664"/>
            </a:xfrm>
            <a:prstGeom prst="rect">
              <a:avLst/>
            </a:prstGeom>
            <a:noFill/>
          </p:spPr>
          <p:txBody>
            <a:bodyPr wrap="none" rtlCol="0">
              <a:spAutoFit/>
            </a:bodyPr>
            <a:lstStyle/>
            <a:p>
              <a:pPr algn="ctr"/>
              <a:r>
                <a:rPr lang="en-US" sz="1200">
                  <a:solidFill>
                    <a:schemeClr val="bg1"/>
                  </a:solidFill>
                  <a:latin typeface="Arial" panose="020B0604020202020204" pitchFamily="34" charset="0"/>
                  <a:ea typeface="Roboto" panose="02000000000000000000" pitchFamily="2" charset="0"/>
                  <a:cs typeface="Arial" panose="020B0604020202020204" pitchFamily="34" charset="0"/>
                </a:rPr>
                <a:t>50%</a:t>
              </a:r>
              <a:endParaRPr lang="en-US">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5" name="Oval 534">
              <a:extLst>
                <a:ext uri="{FF2B5EF4-FFF2-40B4-BE49-F238E27FC236}">
                  <a16:creationId xmlns:a16="http://schemas.microsoft.com/office/drawing/2014/main" id="{3A70577E-0F53-5B42-A095-1A52DBE4E99E}"/>
                </a:ext>
              </a:extLst>
            </p:cNvPr>
            <p:cNvSpPr/>
            <p:nvPr/>
          </p:nvSpPr>
          <p:spPr>
            <a:xfrm>
              <a:off x="18633479" y="4930485"/>
              <a:ext cx="1362502" cy="1362502"/>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a:latin typeface="Lato" panose="020F0502020204030203" pitchFamily="34" charset="0"/>
                <a:ea typeface="Lato" panose="020F0502020204030203" pitchFamily="34" charset="0"/>
                <a:cs typeface="Lato" panose="020F0502020204030203" pitchFamily="34" charset="0"/>
              </a:endParaRPr>
            </a:p>
          </p:txBody>
        </p:sp>
        <p:sp>
          <p:nvSpPr>
            <p:cNvPr id="536" name="TextBox 535">
              <a:extLst>
                <a:ext uri="{FF2B5EF4-FFF2-40B4-BE49-F238E27FC236}">
                  <a16:creationId xmlns:a16="http://schemas.microsoft.com/office/drawing/2014/main" id="{ABF2CFD8-A073-7948-AC57-81D0A587D66F}"/>
                </a:ext>
              </a:extLst>
            </p:cNvPr>
            <p:cNvSpPr txBox="1"/>
            <p:nvPr/>
          </p:nvSpPr>
          <p:spPr>
            <a:xfrm>
              <a:off x="18681080" y="5336219"/>
              <a:ext cx="1308907" cy="738664"/>
            </a:xfrm>
            <a:prstGeom prst="rect">
              <a:avLst/>
            </a:prstGeom>
            <a:noFill/>
          </p:spPr>
          <p:txBody>
            <a:bodyPr wrap="none" rtlCol="0">
              <a:spAutoFit/>
            </a:bodyPr>
            <a:lstStyle/>
            <a:p>
              <a:pPr algn="ctr"/>
              <a:r>
                <a:rPr lang="en-US" sz="1200">
                  <a:solidFill>
                    <a:schemeClr val="bg1"/>
                  </a:solidFill>
                  <a:latin typeface="Arial" panose="020B0604020202020204" pitchFamily="34" charset="0"/>
                  <a:ea typeface="Roboto" panose="02000000000000000000" pitchFamily="2" charset="0"/>
                  <a:cs typeface="Arial" panose="020B0604020202020204" pitchFamily="34" charset="0"/>
                </a:rPr>
                <a:t>28%</a:t>
              </a:r>
              <a:endParaRPr lang="en-US">
                <a:solidFill>
                  <a:schemeClr val="bg1"/>
                </a:solidFill>
                <a:latin typeface="Arial" panose="020B0604020202020204" pitchFamily="34" charset="0"/>
                <a:ea typeface="Roboto" panose="02000000000000000000" pitchFamily="2" charset="0"/>
                <a:cs typeface="Arial" panose="020B0604020202020204" pitchFamily="34" charset="0"/>
              </a:endParaRPr>
            </a:p>
          </p:txBody>
        </p:sp>
      </p:grpSp>
      <p:sp>
        <p:nvSpPr>
          <p:cNvPr id="4" name="Text Placeholder 5">
            <a:extLst>
              <a:ext uri="{FF2B5EF4-FFF2-40B4-BE49-F238E27FC236}">
                <a16:creationId xmlns:a16="http://schemas.microsoft.com/office/drawing/2014/main" id="{14444EF2-747C-90FA-A288-4840A621EA57}"/>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a:solidFill>
                  <a:schemeClr val="bg1"/>
                </a:solidFill>
              </a:rPr>
              <a:t>World Editable Map</a:t>
            </a:r>
          </a:p>
        </p:txBody>
      </p:sp>
    </p:spTree>
    <p:extLst>
      <p:ext uri="{BB962C8B-B14F-4D97-AF65-F5344CB8AC3E}">
        <p14:creationId xmlns:p14="http://schemas.microsoft.com/office/powerpoint/2010/main" val="1374377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0EB5A86-D3BF-D20F-C9E7-E0BD532D6E4F}"/>
              </a:ext>
            </a:extLst>
          </p:cNvPr>
          <p:cNvSpPr>
            <a:spLocks noGrp="1"/>
          </p:cNvSpPr>
          <p:nvPr>
            <p:ph type="body" sz="quarter" idx="16"/>
          </p:nvPr>
        </p:nvSpPr>
        <p:spPr/>
        <p:txBody>
          <a:bodyPr/>
          <a:lstStyle/>
          <a:p>
            <a:endParaRPr lang="en-FR"/>
          </a:p>
        </p:txBody>
      </p:sp>
      <p:sp>
        <p:nvSpPr>
          <p:cNvPr id="8" name="Title 1">
            <a:extLst>
              <a:ext uri="{FF2B5EF4-FFF2-40B4-BE49-F238E27FC236}">
                <a16:creationId xmlns:a16="http://schemas.microsoft.com/office/drawing/2014/main" id="{D9976265-7EDF-C930-016E-516B20492F94}"/>
              </a:ext>
            </a:extLst>
          </p:cNvPr>
          <p:cNvSpPr>
            <a:spLocks noGrp="1"/>
          </p:cNvSpPr>
          <p:nvPr>
            <p:ph type="title"/>
          </p:nvPr>
        </p:nvSpPr>
        <p:spPr>
          <a:xfrm>
            <a:off x="457200" y="438150"/>
            <a:ext cx="3858768" cy="2413299"/>
          </a:xfrm>
        </p:spPr>
        <p:txBody>
          <a:bodyPr/>
          <a:lstStyle/>
          <a:p>
            <a:r>
              <a:rPr lang="en-FR"/>
              <a:t>Here’s another color.</a:t>
            </a:r>
          </a:p>
        </p:txBody>
      </p:sp>
      <p:sp>
        <p:nvSpPr>
          <p:cNvPr id="9" name="Text Placeholder 2">
            <a:extLst>
              <a:ext uri="{FF2B5EF4-FFF2-40B4-BE49-F238E27FC236}">
                <a16:creationId xmlns:a16="http://schemas.microsoft.com/office/drawing/2014/main" id="{41CD0A5A-4071-93CB-1595-AACEF929638C}"/>
              </a:ext>
            </a:extLst>
          </p:cNvPr>
          <p:cNvSpPr>
            <a:spLocks noGrp="1"/>
          </p:cNvSpPr>
          <p:nvPr>
            <p:ph type="body" sz="quarter" idx="4294967295"/>
          </p:nvPr>
        </p:nvSpPr>
        <p:spPr>
          <a:xfrm>
            <a:off x="457200" y="2963121"/>
            <a:ext cx="4114800" cy="1132629"/>
          </a:xfrm>
        </p:spPr>
        <p:txBody>
          <a:bodyPr/>
          <a:lstStyle/>
          <a:p>
            <a:pPr marL="0" indent="0">
              <a:buClr>
                <a:schemeClr val="tx1"/>
              </a:buClr>
              <a:buNone/>
            </a:pPr>
            <a:r>
              <a:rPr lang="en-FR">
                <a:solidFill>
                  <a:schemeClr val="tx1"/>
                </a:solidFill>
              </a:rPr>
              <a:t>Insert subtitle.</a:t>
            </a:r>
          </a:p>
        </p:txBody>
      </p:sp>
      <p:sp>
        <p:nvSpPr>
          <p:cNvPr id="10" name="Text Placeholder 4">
            <a:extLst>
              <a:ext uri="{FF2B5EF4-FFF2-40B4-BE49-F238E27FC236}">
                <a16:creationId xmlns:a16="http://schemas.microsoft.com/office/drawing/2014/main" id="{B8D43583-EF37-0DAE-1DCB-FB4A83061CA4}"/>
              </a:ext>
            </a:extLst>
          </p:cNvPr>
          <p:cNvSpPr>
            <a:spLocks noGrp="1"/>
          </p:cNvSpPr>
          <p:nvPr>
            <p:ph type="body" sz="quarter" idx="17"/>
          </p:nvPr>
        </p:nvSpPr>
        <p:spPr>
          <a:xfrm>
            <a:off x="5050825" y="1339599"/>
            <a:ext cx="3703210" cy="123441"/>
          </a:xfrm>
        </p:spPr>
        <p:txBody>
          <a:bodyPr/>
          <a:lstStyle/>
          <a:p>
            <a:r>
              <a:rPr lang="en-FR"/>
              <a:t>Insert text here.</a:t>
            </a:r>
          </a:p>
        </p:txBody>
      </p:sp>
    </p:spTree>
    <p:extLst>
      <p:ext uri="{BB962C8B-B14F-4D97-AF65-F5344CB8AC3E}">
        <p14:creationId xmlns:p14="http://schemas.microsoft.com/office/powerpoint/2010/main" val="1761397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C9CBA-62C8-3D56-57B5-717CE7750EB3}"/>
              </a:ext>
            </a:extLst>
          </p:cNvPr>
          <p:cNvSpPr>
            <a:spLocks noGrp="1"/>
          </p:cNvSpPr>
          <p:nvPr>
            <p:ph type="title"/>
          </p:nvPr>
        </p:nvSpPr>
        <p:spPr>
          <a:xfrm>
            <a:off x="457200" y="438150"/>
            <a:ext cx="3877056" cy="2413299"/>
          </a:xfrm>
        </p:spPr>
        <p:txBody>
          <a:bodyPr/>
          <a:lstStyle/>
          <a:p>
            <a:r>
              <a:rPr lang="en-FR"/>
              <a:t>Here’s another color.</a:t>
            </a:r>
          </a:p>
        </p:txBody>
      </p:sp>
      <p:sp>
        <p:nvSpPr>
          <p:cNvPr id="3" name="Text Placeholder 2">
            <a:extLst>
              <a:ext uri="{FF2B5EF4-FFF2-40B4-BE49-F238E27FC236}">
                <a16:creationId xmlns:a16="http://schemas.microsoft.com/office/drawing/2014/main" id="{763456F3-C417-937A-F532-3B19FB194D60}"/>
              </a:ext>
            </a:extLst>
          </p:cNvPr>
          <p:cNvSpPr>
            <a:spLocks noGrp="1"/>
          </p:cNvSpPr>
          <p:nvPr>
            <p:ph type="body" sz="quarter" idx="15"/>
          </p:nvPr>
        </p:nvSpPr>
        <p:spPr>
          <a:xfrm>
            <a:off x="457200" y="2975233"/>
            <a:ext cx="3877056" cy="1132629"/>
          </a:xfrm>
        </p:spPr>
        <p:txBody>
          <a:bodyPr/>
          <a:lstStyle/>
          <a:p>
            <a:r>
              <a:rPr lang="en-GB" sz="1200"/>
              <a:t>I</a:t>
            </a:r>
            <a:r>
              <a:rPr lang="en-FR" sz="1200"/>
              <a:t>nsert subtitle.</a:t>
            </a:r>
          </a:p>
        </p:txBody>
      </p:sp>
      <p:sp>
        <p:nvSpPr>
          <p:cNvPr id="4" name="Text Placeholder 3">
            <a:extLst>
              <a:ext uri="{FF2B5EF4-FFF2-40B4-BE49-F238E27FC236}">
                <a16:creationId xmlns:a16="http://schemas.microsoft.com/office/drawing/2014/main" id="{6331A37C-601D-B4B1-5CDE-79ACBF4810F1}"/>
              </a:ext>
            </a:extLst>
          </p:cNvPr>
          <p:cNvSpPr>
            <a:spLocks noGrp="1"/>
          </p:cNvSpPr>
          <p:nvPr>
            <p:ph type="body" sz="quarter" idx="16"/>
          </p:nvPr>
        </p:nvSpPr>
        <p:spPr/>
        <p:txBody>
          <a:bodyPr/>
          <a:lstStyle/>
          <a:p>
            <a:endParaRPr lang="en-FR"/>
          </a:p>
        </p:txBody>
      </p:sp>
      <p:sp>
        <p:nvSpPr>
          <p:cNvPr id="5" name="Text Placeholder 4">
            <a:extLst>
              <a:ext uri="{FF2B5EF4-FFF2-40B4-BE49-F238E27FC236}">
                <a16:creationId xmlns:a16="http://schemas.microsoft.com/office/drawing/2014/main" id="{038DC838-64F1-2E30-BBD0-B34EF58AB4E1}"/>
              </a:ext>
            </a:extLst>
          </p:cNvPr>
          <p:cNvSpPr>
            <a:spLocks noGrp="1"/>
          </p:cNvSpPr>
          <p:nvPr>
            <p:ph type="body" sz="quarter" idx="17"/>
          </p:nvPr>
        </p:nvSpPr>
        <p:spPr/>
        <p:txBody>
          <a:bodyPr/>
          <a:lstStyle/>
          <a:p>
            <a:r>
              <a:rPr lang="en-FR"/>
              <a:t>Insert text here.</a:t>
            </a:r>
          </a:p>
        </p:txBody>
      </p:sp>
    </p:spTree>
    <p:extLst>
      <p:ext uri="{BB962C8B-B14F-4D97-AF65-F5344CB8AC3E}">
        <p14:creationId xmlns:p14="http://schemas.microsoft.com/office/powerpoint/2010/main" val="211143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Hands holding a glowing light&#10;&#10;Description automatically generated">
            <a:extLst>
              <a:ext uri="{FF2B5EF4-FFF2-40B4-BE49-F238E27FC236}">
                <a16:creationId xmlns:a16="http://schemas.microsoft.com/office/drawing/2014/main" id="{1004AC40-841A-EA54-0A87-6FDE12690552}"/>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t="2598" b="2598"/>
          <a:stretch>
            <a:fillRect/>
          </a:stretch>
        </p:blipFill>
        <p:spPr>
          <a:xfrm>
            <a:off x="0" y="0"/>
            <a:ext cx="9144000" cy="5143500"/>
          </a:xfrm>
        </p:spPr>
      </p:pic>
      <p:sp>
        <p:nvSpPr>
          <p:cNvPr id="7" name="Title 6"/>
          <p:cNvSpPr>
            <a:spLocks noGrp="1"/>
          </p:cNvSpPr>
          <p:nvPr>
            <p:ph type="title"/>
          </p:nvPr>
        </p:nvSpPr>
        <p:spPr>
          <a:xfrm>
            <a:off x="466852" y="665375"/>
            <a:ext cx="4369308" cy="2312253"/>
          </a:xfrm>
        </p:spPr>
        <p:txBody>
          <a:bodyPr wrap="square" anchor="t">
            <a:normAutofit/>
          </a:bodyPr>
          <a:lstStyle/>
          <a:p>
            <a:r>
              <a:rPr lang="en-US" spc="0"/>
              <a:t>This could </a:t>
            </a:r>
            <a:br>
              <a:rPr lang="en-US" spc="0"/>
            </a:br>
            <a:r>
              <a:rPr lang="en-US" spc="0"/>
              <a:t>be a section divider</a:t>
            </a:r>
            <a:endParaRPr lang="en-GB" spc="0"/>
          </a:p>
        </p:txBody>
      </p:sp>
      <p:sp>
        <p:nvSpPr>
          <p:cNvPr id="4" name="TextBox 3">
            <a:extLst>
              <a:ext uri="{FF2B5EF4-FFF2-40B4-BE49-F238E27FC236}">
                <a16:creationId xmlns:a16="http://schemas.microsoft.com/office/drawing/2014/main" id="{6C61F60F-591E-C55D-9D6F-C7B4D48E5A5F}"/>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err="1">
                <a:solidFill>
                  <a:schemeClr val="bg1"/>
                </a:solidFill>
                <a:latin typeface="Arial" panose="020B0604020202020204" pitchFamily="34" charset="0"/>
                <a:cs typeface="Arial" panose="020B0604020202020204" pitchFamily="34" charset="0"/>
              </a:rPr>
              <a:t>incose.org</a:t>
            </a:r>
            <a:r>
              <a:rPr lang="en-GB" sz="800" spc="0" baseline="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8</a:t>
            </a:fld>
            <a:endParaRPr lang="en-GB" sz="800" spc="0" baseline="0">
              <a:solidFill>
                <a:schemeClr val="bg1"/>
              </a:solidFill>
              <a:latin typeface="Arial" panose="020B0604020202020204" pitchFamily="34" charset="0"/>
              <a:cs typeface="Arial" panose="020B0604020202020204" pitchFamily="34" charset="0"/>
            </a:endParaRPr>
          </a:p>
        </p:txBody>
      </p:sp>
      <p:pic>
        <p:nvPicPr>
          <p:cNvPr id="12" name="Picture 11" descr="A logo of a globe&#10;&#10;Description automatically generated">
            <a:extLst>
              <a:ext uri="{FF2B5EF4-FFF2-40B4-BE49-F238E27FC236}">
                <a16:creationId xmlns:a16="http://schemas.microsoft.com/office/drawing/2014/main" id="{3FFB397D-051E-B9EA-C0DD-7A4A2F13F6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pic>
        <p:nvPicPr>
          <p:cNvPr id="5" name="Picture 4">
            <a:extLst>
              <a:ext uri="{FF2B5EF4-FFF2-40B4-BE49-F238E27FC236}">
                <a16:creationId xmlns:a16="http://schemas.microsoft.com/office/drawing/2014/main" id="{79570552-6664-331B-71C6-E8C139E471C3}"/>
              </a:ext>
            </a:extLst>
          </p:cNvPr>
          <p:cNvPicPr>
            <a:picLocks noChangeAspect="1"/>
          </p:cNvPicPr>
          <p:nvPr/>
        </p:nvPicPr>
        <p:blipFill>
          <a:blip r:embed="rId5"/>
          <a:srcRect r="58852"/>
          <a:stretch/>
        </p:blipFill>
        <p:spPr>
          <a:xfrm>
            <a:off x="8477546" y="18441"/>
            <a:ext cx="567977" cy="456793"/>
          </a:xfrm>
          <a:prstGeom prst="rect">
            <a:avLst/>
          </a:prstGeom>
        </p:spPr>
      </p:pic>
    </p:spTree>
    <p:extLst>
      <p:ext uri="{BB962C8B-B14F-4D97-AF65-F5344CB8AC3E}">
        <p14:creationId xmlns:p14="http://schemas.microsoft.com/office/powerpoint/2010/main" val="3755190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27515" y="742857"/>
            <a:ext cx="3225038" cy="2312253"/>
          </a:xfrm>
        </p:spPr>
        <p:txBody>
          <a:bodyPr/>
          <a:lstStyle/>
          <a:p>
            <a:r>
              <a:rPr lang="en-US" spc="0">
                <a:solidFill>
                  <a:schemeClr val="accent1"/>
                </a:solidFill>
              </a:rPr>
              <a:t>Today’s </a:t>
            </a:r>
            <a:br>
              <a:rPr lang="en-US" spc="0">
                <a:solidFill>
                  <a:schemeClr val="accent1"/>
                </a:solidFill>
              </a:rPr>
            </a:br>
            <a:r>
              <a:rPr lang="en-US" spc="0">
                <a:solidFill>
                  <a:schemeClr val="accent1"/>
                </a:solidFill>
              </a:rPr>
              <a:t>Agenda</a:t>
            </a:r>
          </a:p>
        </p:txBody>
      </p:sp>
      <p:sp>
        <p:nvSpPr>
          <p:cNvPr id="12" name="Text Placeholder 11"/>
          <p:cNvSpPr>
            <a:spLocks noGrp="1"/>
          </p:cNvSpPr>
          <p:nvPr>
            <p:ph type="body" sz="quarter" idx="13"/>
          </p:nvPr>
        </p:nvSpPr>
        <p:spPr>
          <a:xfrm>
            <a:off x="4586747" y="857974"/>
            <a:ext cx="3493627" cy="2506435"/>
          </a:xfrm>
        </p:spPr>
        <p:txBody>
          <a:bodyPr/>
          <a:lstStyle/>
          <a:p>
            <a:pPr marL="285750" indent="-285750">
              <a:buClr>
                <a:schemeClr val="accent1"/>
              </a:buClr>
              <a:buFont typeface="Arial" panose="020B0604020202020204" pitchFamily="34" charset="0"/>
              <a:buChar char="•"/>
            </a:pPr>
            <a:r>
              <a:rPr lang="en-US"/>
              <a:t>First agenda point</a:t>
            </a:r>
          </a:p>
          <a:p>
            <a:pPr marL="285750" indent="-285750">
              <a:buClr>
                <a:schemeClr val="accent1"/>
              </a:buClr>
              <a:buFont typeface="Arial" panose="020B0604020202020204" pitchFamily="34" charset="0"/>
              <a:buChar char="•"/>
            </a:pPr>
            <a:r>
              <a:rPr lang="en-US"/>
              <a:t>Click enter to go to the next bullet</a:t>
            </a:r>
          </a:p>
          <a:p>
            <a:pPr marL="285750" indent="-285750">
              <a:buClr>
                <a:schemeClr val="accent1"/>
              </a:buClr>
              <a:buFont typeface="Arial" panose="020B0604020202020204" pitchFamily="34" charset="0"/>
              <a:buChar char="•"/>
            </a:pPr>
            <a:r>
              <a:rPr lang="en-US"/>
              <a:t>Here’s another bullet</a:t>
            </a:r>
          </a:p>
          <a:p>
            <a:pPr marL="285750" indent="-285750">
              <a:buClr>
                <a:schemeClr val="accent1"/>
              </a:buClr>
              <a:buFont typeface="Arial" panose="020B0604020202020204" pitchFamily="34" charset="0"/>
              <a:buChar char="•"/>
            </a:pPr>
            <a:r>
              <a:rPr lang="en-US"/>
              <a:t>This is a great list</a:t>
            </a:r>
          </a:p>
          <a:p>
            <a:pPr marL="285750" indent="-285750">
              <a:buClr>
                <a:schemeClr val="accent1"/>
              </a:buClr>
              <a:buFont typeface="Arial" panose="020B0604020202020204" pitchFamily="34" charset="0"/>
              <a:buChar char="•"/>
            </a:pPr>
            <a:r>
              <a:rPr lang="en-US"/>
              <a:t>Keep adding bullets</a:t>
            </a:r>
          </a:p>
          <a:p>
            <a:pPr marL="285750" indent="-285750">
              <a:buClr>
                <a:schemeClr val="accent1"/>
              </a:buClr>
              <a:buFont typeface="Arial" panose="020B0604020202020204" pitchFamily="34" charset="0"/>
              <a:buChar char="•"/>
            </a:pPr>
            <a:r>
              <a:rPr lang="en-US"/>
              <a:t>Just keep going</a:t>
            </a:r>
          </a:p>
          <a:p>
            <a:pPr marL="285750" indent="-285750">
              <a:buClr>
                <a:schemeClr val="accent1"/>
              </a:buClr>
              <a:buFont typeface="Arial" panose="020B0604020202020204" pitchFamily="34" charset="0"/>
              <a:buChar char="•"/>
            </a:pPr>
            <a:r>
              <a:rPr lang="en-US"/>
              <a:t>As many as you want</a:t>
            </a:r>
          </a:p>
        </p:txBody>
      </p:sp>
    </p:spTree>
    <p:extLst>
      <p:ext uri="{BB962C8B-B14F-4D97-AF65-F5344CB8AC3E}">
        <p14:creationId xmlns:p14="http://schemas.microsoft.com/office/powerpoint/2010/main" val="2642957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INCOSE Template 2024">
  <a:themeElements>
    <a:clrScheme name="INCOSE 3">
      <a:dk1>
        <a:srgbClr val="000000"/>
      </a:dk1>
      <a:lt1>
        <a:srgbClr val="FFFFFF"/>
      </a:lt1>
      <a:dk2>
        <a:srgbClr val="44546A"/>
      </a:dk2>
      <a:lt2>
        <a:srgbClr val="E7E6E6"/>
      </a:lt2>
      <a:accent1>
        <a:srgbClr val="2B6FAB"/>
      </a:accent1>
      <a:accent2>
        <a:srgbClr val="EE5B20"/>
      </a:accent2>
      <a:accent3>
        <a:srgbClr val="A5A5A5"/>
      </a:accent3>
      <a:accent4>
        <a:srgbClr val="FFC90E"/>
      </a:accent4>
      <a:accent5>
        <a:srgbClr val="61A1D7"/>
      </a:accent5>
      <a:accent6>
        <a:srgbClr val="417F65"/>
      </a:accent6>
      <a:hlink>
        <a:srgbClr val="2B6FAB"/>
      </a:hlink>
      <a:folHlink>
        <a:srgbClr val="EE5B2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91440" tIns="91440" rIns="91440" bIns="91440" rtlCol="0" anchor="ctr" anchorCtr="0"/>
      <a:lstStyle>
        <a:defPPr algn="ctr">
          <a:defRPr sz="1400" dirty="0" smtClean="0">
            <a:solidFill>
              <a:schemeClr val="bg1"/>
            </a:solidFill>
            <a:ea typeface="Segoe UI Black" panose="020B0A02040204020203" pitchFamily="34" charset="0"/>
            <a:cs typeface="Segoe UI Black" panose="020B0A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spcBef>
            <a:spcPts val="750"/>
          </a:spcBef>
          <a:buClr>
            <a:schemeClr val="accent2"/>
          </a:buClr>
          <a:buSzPct val="100000"/>
          <a:defRPr sz="1400" dirty="0" err="1" smtClean="0">
            <a:solidFill>
              <a:schemeClr val="accent4"/>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TALENT" id="{42DDE431-62AA-4CFE-9B81-CB19337157E0}" vid="{4B43CFC9-863A-4E99-B289-EA56B68882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331E02EE2E30438AB3DBB24381C83E" ma:contentTypeVersion="12" ma:contentTypeDescription="Create a new document." ma:contentTypeScope="" ma:versionID="5e0865879534a2f709c279e237e298af">
  <xsd:schema xmlns:xsd="http://www.w3.org/2001/XMLSchema" xmlns:xs="http://www.w3.org/2001/XMLSchema" xmlns:p="http://schemas.microsoft.com/office/2006/metadata/properties" xmlns:ns2="c326c758-1c37-4ea1-8e3f-2b47b57f4e88" xmlns:ns3="51e6ca0b-c4b6-442a-8136-0810ddef1ea5" targetNamespace="http://schemas.microsoft.com/office/2006/metadata/properties" ma:root="true" ma:fieldsID="b1fef6eb457f3d5e3cda38b9de086999" ns2:_="" ns3:_="">
    <xsd:import namespace="c326c758-1c37-4ea1-8e3f-2b47b57f4e88"/>
    <xsd:import namespace="51e6ca0b-c4b6-442a-8136-0810ddef1ea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26c758-1c37-4ea1-8e3f-2b47b57f4e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05bfa5e-0804-4ef2-ba09-c663ae3aebb6"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e6ca0b-c4b6-442a-8136-0810ddef1ea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782e5b1-03da-4738-90c0-987e16353cec}" ma:internalName="TaxCatchAll" ma:showField="CatchAllData" ma:web="51e6ca0b-c4b6-442a-8136-0810ddef1e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1e6ca0b-c4b6-442a-8136-0810ddef1ea5" xsi:nil="true"/>
    <lcf76f155ced4ddcb4097134ff3c332f xmlns="c326c758-1c37-4ea1-8e3f-2b47b57f4e8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AB351A0-BE53-4727-B6C6-BC6377DC3465}">
  <ds:schemaRefs>
    <ds:schemaRef ds:uri="51e6ca0b-c4b6-442a-8136-0810ddef1ea5"/>
    <ds:schemaRef ds:uri="c326c758-1c37-4ea1-8e3f-2b47b57f4e8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974DEA9-D70C-4D76-8253-0021E052568A}">
  <ds:schemaRefs>
    <ds:schemaRef ds:uri="http://schemas.microsoft.com/sharepoint/v3/contenttype/forms"/>
  </ds:schemaRefs>
</ds:datastoreItem>
</file>

<file path=customXml/itemProps3.xml><?xml version="1.0" encoding="utf-8"?>
<ds:datastoreItem xmlns:ds="http://schemas.openxmlformats.org/officeDocument/2006/customXml" ds:itemID="{2651A2D2-DAB1-42F6-BF0C-260AF2394DD4}">
  <ds:schemaRefs>
    <ds:schemaRef ds:uri="51e6ca0b-c4b6-442a-8136-0810ddef1ea5"/>
    <ds:schemaRef ds:uri="c326c758-1c37-4ea1-8e3f-2b47b57f4e8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16:9)</PresentationFormat>
  <Slides>53</Slides>
  <Notes>13</Notes>
  <HiddenSlides>0</HiddenSlides>
  <ScaleCrop>false</ScaleCrop>
  <HeadingPairs>
    <vt:vector size="4" baseType="variant">
      <vt:variant>
        <vt:lpstr>Theme</vt:lpstr>
      </vt:variant>
      <vt:variant>
        <vt:i4>1</vt:i4>
      </vt:variant>
      <vt:variant>
        <vt:lpstr>Slide Titles</vt:lpstr>
      </vt:variant>
      <vt:variant>
        <vt:i4>53</vt:i4>
      </vt:variant>
    </vt:vector>
  </HeadingPairs>
  <TitlesOfParts>
    <vt:vector size="54" baseType="lpstr">
      <vt:lpstr>INCOSE Template 2024</vt:lpstr>
      <vt:lpstr>Subject</vt:lpstr>
      <vt:lpstr>Here’s a  section divider</vt:lpstr>
      <vt:lpstr>Here’s another  section divider</vt:lpstr>
      <vt:lpstr>Here’s another  section divider</vt:lpstr>
      <vt:lpstr>Insert your title.</vt:lpstr>
      <vt:lpstr>Here’s another color.</vt:lpstr>
      <vt:lpstr>Here’s another color.</vt:lpstr>
      <vt:lpstr>This could  be a section divider</vt:lpstr>
      <vt:lpstr>Today’s  Agenda</vt:lpstr>
      <vt:lpstr>Summarize your agenda. Keep it focused.</vt:lpstr>
      <vt:lpstr>Agenda slide that doubles as a divider slide</vt:lpstr>
      <vt:lpstr>Here’s another col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cp:lastPrinted>2022-11-04T21:20:16Z</cp:lastPrinted>
  <dcterms:created xsi:type="dcterms:W3CDTF">2016-02-04T17:41:01Z</dcterms:created>
  <dcterms:modified xsi:type="dcterms:W3CDTF">2025-04-16T14:1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331E02EE2E30438AB3DBB24381C83E</vt:lpwstr>
  </property>
  <property fmtid="{D5CDD505-2E9C-101B-9397-08002B2CF9AE}" pid="3" name="MediaServiceImageTags">
    <vt:lpwstr/>
  </property>
</Properties>
</file>